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04E0C1-AE20-49F6-A82E-0B7D7ED40DCA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6746F-D8A2-4205-A030-FA6F395F648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242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512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41390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76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64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66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46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174898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B76BE2-323C-E66D-4885-CB35D19AE1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B76BE2-323C-E66D-4885-CB35D19AE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421536" y="142276"/>
            <a:ext cx="3580167" cy="5945453"/>
            <a:chOff x="3338296" y="1084264"/>
            <a:chExt cx="5625733" cy="9342436"/>
          </a:xfrm>
          <a:solidFill>
            <a:schemeClr val="bg2"/>
          </a:solidFill>
        </p:grpSpPr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6651192" y="3397250"/>
              <a:ext cx="160328" cy="173038"/>
            </a:xfrm>
            <a:custGeom>
              <a:avLst/>
              <a:gdLst>
                <a:gd name="T0" fmla="*/ 404 w 444"/>
                <a:gd name="T1" fmla="*/ 420 h 482"/>
                <a:gd name="T2" fmla="*/ 404 w 444"/>
                <a:gd name="T3" fmla="*/ 420 h 482"/>
                <a:gd name="T4" fmla="*/ 404 w 444"/>
                <a:gd name="T5" fmla="*/ 413 h 482"/>
                <a:gd name="T6" fmla="*/ 389 w 444"/>
                <a:gd name="T7" fmla="*/ 260 h 482"/>
                <a:gd name="T8" fmla="*/ 427 w 444"/>
                <a:gd name="T9" fmla="*/ 46 h 482"/>
                <a:gd name="T10" fmla="*/ 427 w 444"/>
                <a:gd name="T11" fmla="*/ 46 h 482"/>
                <a:gd name="T12" fmla="*/ 366 w 444"/>
                <a:gd name="T13" fmla="*/ 39 h 482"/>
                <a:gd name="T14" fmla="*/ 298 w 444"/>
                <a:gd name="T15" fmla="*/ 84 h 482"/>
                <a:gd name="T16" fmla="*/ 237 w 444"/>
                <a:gd name="T17" fmla="*/ 23 h 482"/>
                <a:gd name="T18" fmla="*/ 152 w 444"/>
                <a:gd name="T19" fmla="*/ 16 h 482"/>
                <a:gd name="T20" fmla="*/ 114 w 444"/>
                <a:gd name="T21" fmla="*/ 107 h 482"/>
                <a:gd name="T22" fmla="*/ 183 w 444"/>
                <a:gd name="T23" fmla="*/ 229 h 482"/>
                <a:gd name="T24" fmla="*/ 152 w 444"/>
                <a:gd name="T25" fmla="*/ 306 h 482"/>
                <a:gd name="T26" fmla="*/ 38 w 444"/>
                <a:gd name="T27" fmla="*/ 298 h 482"/>
                <a:gd name="T28" fmla="*/ 23 w 444"/>
                <a:gd name="T29" fmla="*/ 420 h 482"/>
                <a:gd name="T30" fmla="*/ 137 w 444"/>
                <a:gd name="T31" fmla="*/ 413 h 482"/>
                <a:gd name="T32" fmla="*/ 122 w 444"/>
                <a:gd name="T33" fmla="*/ 466 h 482"/>
                <a:gd name="T34" fmla="*/ 168 w 444"/>
                <a:gd name="T35" fmla="*/ 466 h 482"/>
                <a:gd name="T36" fmla="*/ 229 w 444"/>
                <a:gd name="T37" fmla="*/ 420 h 482"/>
                <a:gd name="T38" fmla="*/ 366 w 444"/>
                <a:gd name="T39" fmla="*/ 359 h 482"/>
                <a:gd name="T40" fmla="*/ 404 w 444"/>
                <a:gd name="T41" fmla="*/ 42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4" h="482">
                  <a:moveTo>
                    <a:pt x="404" y="420"/>
                  </a:moveTo>
                  <a:lnTo>
                    <a:pt x="404" y="420"/>
                  </a:lnTo>
                  <a:lnTo>
                    <a:pt x="404" y="413"/>
                  </a:lnTo>
                  <a:cubicBezTo>
                    <a:pt x="443" y="306"/>
                    <a:pt x="389" y="336"/>
                    <a:pt x="389" y="260"/>
                  </a:cubicBezTo>
                  <a:cubicBezTo>
                    <a:pt x="389" y="191"/>
                    <a:pt x="404" y="115"/>
                    <a:pt x="427" y="46"/>
                  </a:cubicBezTo>
                  <a:lnTo>
                    <a:pt x="427" y="46"/>
                  </a:lnTo>
                  <a:cubicBezTo>
                    <a:pt x="404" y="39"/>
                    <a:pt x="389" y="31"/>
                    <a:pt x="366" y="39"/>
                  </a:cubicBezTo>
                  <a:cubicBezTo>
                    <a:pt x="343" y="39"/>
                    <a:pt x="328" y="84"/>
                    <a:pt x="298" y="84"/>
                  </a:cubicBezTo>
                  <a:cubicBezTo>
                    <a:pt x="267" y="77"/>
                    <a:pt x="259" y="39"/>
                    <a:pt x="237" y="23"/>
                  </a:cubicBezTo>
                  <a:cubicBezTo>
                    <a:pt x="206" y="16"/>
                    <a:pt x="175" y="0"/>
                    <a:pt x="152" y="16"/>
                  </a:cubicBezTo>
                  <a:cubicBezTo>
                    <a:pt x="130" y="31"/>
                    <a:pt x="107" y="69"/>
                    <a:pt x="114" y="107"/>
                  </a:cubicBezTo>
                  <a:cubicBezTo>
                    <a:pt x="122" y="153"/>
                    <a:pt x="175" y="184"/>
                    <a:pt x="183" y="229"/>
                  </a:cubicBezTo>
                  <a:cubicBezTo>
                    <a:pt x="183" y="260"/>
                    <a:pt x="175" y="291"/>
                    <a:pt x="152" y="306"/>
                  </a:cubicBezTo>
                  <a:cubicBezTo>
                    <a:pt x="114" y="321"/>
                    <a:pt x="68" y="275"/>
                    <a:pt x="38" y="298"/>
                  </a:cubicBezTo>
                  <a:cubicBezTo>
                    <a:pt x="7" y="329"/>
                    <a:pt x="0" y="390"/>
                    <a:pt x="23" y="420"/>
                  </a:cubicBezTo>
                  <a:cubicBezTo>
                    <a:pt x="45" y="451"/>
                    <a:pt x="99" y="390"/>
                    <a:pt x="137" y="413"/>
                  </a:cubicBezTo>
                  <a:cubicBezTo>
                    <a:pt x="152" y="420"/>
                    <a:pt x="107" y="451"/>
                    <a:pt x="122" y="466"/>
                  </a:cubicBezTo>
                  <a:cubicBezTo>
                    <a:pt x="130" y="481"/>
                    <a:pt x="152" y="474"/>
                    <a:pt x="168" y="466"/>
                  </a:cubicBezTo>
                  <a:cubicBezTo>
                    <a:pt x="191" y="458"/>
                    <a:pt x="206" y="436"/>
                    <a:pt x="229" y="420"/>
                  </a:cubicBezTo>
                  <a:cubicBezTo>
                    <a:pt x="275" y="397"/>
                    <a:pt x="313" y="352"/>
                    <a:pt x="366" y="359"/>
                  </a:cubicBezTo>
                  <a:cubicBezTo>
                    <a:pt x="397" y="359"/>
                    <a:pt x="389" y="397"/>
                    <a:pt x="404" y="4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6257518" y="7145339"/>
              <a:ext cx="119055" cy="153987"/>
            </a:xfrm>
            <a:custGeom>
              <a:avLst/>
              <a:gdLst>
                <a:gd name="T0" fmla="*/ 306 w 330"/>
                <a:gd name="T1" fmla="*/ 428 h 429"/>
                <a:gd name="T2" fmla="*/ 306 w 330"/>
                <a:gd name="T3" fmla="*/ 428 h 429"/>
                <a:gd name="T4" fmla="*/ 314 w 330"/>
                <a:gd name="T5" fmla="*/ 367 h 429"/>
                <a:gd name="T6" fmla="*/ 314 w 330"/>
                <a:gd name="T7" fmla="*/ 367 h 429"/>
                <a:gd name="T8" fmla="*/ 260 w 330"/>
                <a:gd name="T9" fmla="*/ 275 h 429"/>
                <a:gd name="T10" fmla="*/ 321 w 330"/>
                <a:gd name="T11" fmla="*/ 245 h 429"/>
                <a:gd name="T12" fmla="*/ 230 w 330"/>
                <a:gd name="T13" fmla="*/ 176 h 429"/>
                <a:gd name="T14" fmla="*/ 260 w 330"/>
                <a:gd name="T15" fmla="*/ 138 h 429"/>
                <a:gd name="T16" fmla="*/ 230 w 330"/>
                <a:gd name="T17" fmla="*/ 54 h 429"/>
                <a:gd name="T18" fmla="*/ 169 w 330"/>
                <a:gd name="T19" fmla="*/ 16 h 429"/>
                <a:gd name="T20" fmla="*/ 169 w 330"/>
                <a:gd name="T21" fmla="*/ 16 h 429"/>
                <a:gd name="T22" fmla="*/ 100 w 330"/>
                <a:gd name="T23" fmla="*/ 16 h 429"/>
                <a:gd name="T24" fmla="*/ 92 w 330"/>
                <a:gd name="T25" fmla="*/ 107 h 429"/>
                <a:gd name="T26" fmla="*/ 0 w 330"/>
                <a:gd name="T27" fmla="*/ 130 h 429"/>
                <a:gd name="T28" fmla="*/ 0 w 330"/>
                <a:gd name="T29" fmla="*/ 130 h 429"/>
                <a:gd name="T30" fmla="*/ 69 w 330"/>
                <a:gd name="T31" fmla="*/ 291 h 429"/>
                <a:gd name="T32" fmla="*/ 306 w 330"/>
                <a:gd name="T33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0" h="429">
                  <a:moveTo>
                    <a:pt x="306" y="428"/>
                  </a:moveTo>
                  <a:lnTo>
                    <a:pt x="306" y="428"/>
                  </a:lnTo>
                  <a:cubicBezTo>
                    <a:pt x="314" y="367"/>
                    <a:pt x="314" y="367"/>
                    <a:pt x="314" y="367"/>
                  </a:cubicBezTo>
                  <a:lnTo>
                    <a:pt x="314" y="367"/>
                  </a:lnTo>
                  <a:cubicBezTo>
                    <a:pt x="298" y="336"/>
                    <a:pt x="260" y="313"/>
                    <a:pt x="260" y="275"/>
                  </a:cubicBezTo>
                  <a:cubicBezTo>
                    <a:pt x="268" y="252"/>
                    <a:pt x="329" y="268"/>
                    <a:pt x="321" y="245"/>
                  </a:cubicBezTo>
                  <a:cubicBezTo>
                    <a:pt x="314" y="207"/>
                    <a:pt x="252" y="207"/>
                    <a:pt x="230" y="176"/>
                  </a:cubicBezTo>
                  <a:cubicBezTo>
                    <a:pt x="222" y="161"/>
                    <a:pt x="260" y="153"/>
                    <a:pt x="260" y="138"/>
                  </a:cubicBezTo>
                  <a:cubicBezTo>
                    <a:pt x="260" y="107"/>
                    <a:pt x="245" y="77"/>
                    <a:pt x="230" y="54"/>
                  </a:cubicBezTo>
                  <a:cubicBezTo>
                    <a:pt x="214" y="38"/>
                    <a:pt x="191" y="31"/>
                    <a:pt x="169" y="16"/>
                  </a:cubicBezTo>
                  <a:lnTo>
                    <a:pt x="169" y="16"/>
                  </a:lnTo>
                  <a:cubicBezTo>
                    <a:pt x="146" y="16"/>
                    <a:pt x="115" y="0"/>
                    <a:pt x="100" y="16"/>
                  </a:cubicBezTo>
                  <a:cubicBezTo>
                    <a:pt x="77" y="38"/>
                    <a:pt x="107" y="84"/>
                    <a:pt x="92" y="107"/>
                  </a:cubicBezTo>
                  <a:cubicBezTo>
                    <a:pt x="77" y="130"/>
                    <a:pt x="23" y="123"/>
                    <a:pt x="0" y="130"/>
                  </a:cubicBezTo>
                  <a:lnTo>
                    <a:pt x="0" y="130"/>
                  </a:lnTo>
                  <a:cubicBezTo>
                    <a:pt x="16" y="184"/>
                    <a:pt x="39" y="245"/>
                    <a:pt x="69" y="291"/>
                  </a:cubicBezTo>
                  <a:cubicBezTo>
                    <a:pt x="130" y="375"/>
                    <a:pt x="214" y="428"/>
                    <a:pt x="306" y="4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6367048" y="7219950"/>
              <a:ext cx="131753" cy="90488"/>
            </a:xfrm>
            <a:custGeom>
              <a:avLst/>
              <a:gdLst>
                <a:gd name="T0" fmla="*/ 0 w 368"/>
                <a:gd name="T1" fmla="*/ 221 h 253"/>
                <a:gd name="T2" fmla="*/ 0 w 368"/>
                <a:gd name="T3" fmla="*/ 221 h 253"/>
                <a:gd name="T4" fmla="*/ 8 w 368"/>
                <a:gd name="T5" fmla="*/ 160 h 253"/>
                <a:gd name="T6" fmla="*/ 8 w 368"/>
                <a:gd name="T7" fmla="*/ 160 h 253"/>
                <a:gd name="T8" fmla="*/ 76 w 368"/>
                <a:gd name="T9" fmla="*/ 114 h 253"/>
                <a:gd name="T10" fmla="*/ 84 w 368"/>
                <a:gd name="T11" fmla="*/ 68 h 253"/>
                <a:gd name="T12" fmla="*/ 122 w 368"/>
                <a:gd name="T13" fmla="*/ 68 h 253"/>
                <a:gd name="T14" fmla="*/ 130 w 368"/>
                <a:gd name="T15" fmla="*/ 15 h 253"/>
                <a:gd name="T16" fmla="*/ 130 w 368"/>
                <a:gd name="T17" fmla="*/ 15 h 253"/>
                <a:gd name="T18" fmla="*/ 183 w 368"/>
                <a:gd name="T19" fmla="*/ 7 h 253"/>
                <a:gd name="T20" fmla="*/ 214 w 368"/>
                <a:gd name="T21" fmla="*/ 53 h 253"/>
                <a:gd name="T22" fmla="*/ 214 w 368"/>
                <a:gd name="T23" fmla="*/ 53 h 253"/>
                <a:gd name="T24" fmla="*/ 221 w 368"/>
                <a:gd name="T25" fmla="*/ 129 h 253"/>
                <a:gd name="T26" fmla="*/ 313 w 368"/>
                <a:gd name="T27" fmla="*/ 106 h 253"/>
                <a:gd name="T28" fmla="*/ 298 w 368"/>
                <a:gd name="T29" fmla="*/ 145 h 253"/>
                <a:gd name="T30" fmla="*/ 336 w 368"/>
                <a:gd name="T31" fmla="*/ 160 h 253"/>
                <a:gd name="T32" fmla="*/ 336 w 368"/>
                <a:gd name="T33" fmla="*/ 183 h 253"/>
                <a:gd name="T34" fmla="*/ 367 w 368"/>
                <a:gd name="T35" fmla="*/ 221 h 253"/>
                <a:gd name="T36" fmla="*/ 367 w 368"/>
                <a:gd name="T37" fmla="*/ 221 h 253"/>
                <a:gd name="T38" fmla="*/ 298 w 368"/>
                <a:gd name="T39" fmla="*/ 244 h 253"/>
                <a:gd name="T40" fmla="*/ 229 w 368"/>
                <a:gd name="T41" fmla="*/ 252 h 253"/>
                <a:gd name="T42" fmla="*/ 160 w 368"/>
                <a:gd name="T43" fmla="*/ 244 h 253"/>
                <a:gd name="T44" fmla="*/ 122 w 368"/>
                <a:gd name="T45" fmla="*/ 229 h 253"/>
                <a:gd name="T46" fmla="*/ 122 w 368"/>
                <a:gd name="T47" fmla="*/ 229 h 253"/>
                <a:gd name="T48" fmla="*/ 130 w 368"/>
                <a:gd name="T49" fmla="*/ 168 h 253"/>
                <a:gd name="T50" fmla="*/ 0 w 368"/>
                <a:gd name="T51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8" h="253">
                  <a:moveTo>
                    <a:pt x="0" y="221"/>
                  </a:moveTo>
                  <a:lnTo>
                    <a:pt x="0" y="221"/>
                  </a:lnTo>
                  <a:cubicBezTo>
                    <a:pt x="8" y="160"/>
                    <a:pt x="8" y="160"/>
                    <a:pt x="8" y="160"/>
                  </a:cubicBezTo>
                  <a:lnTo>
                    <a:pt x="8" y="160"/>
                  </a:lnTo>
                  <a:cubicBezTo>
                    <a:pt x="30" y="145"/>
                    <a:pt x="53" y="137"/>
                    <a:pt x="76" y="114"/>
                  </a:cubicBezTo>
                  <a:cubicBezTo>
                    <a:pt x="84" y="106"/>
                    <a:pt x="76" y="84"/>
                    <a:pt x="84" y="68"/>
                  </a:cubicBezTo>
                  <a:cubicBezTo>
                    <a:pt x="92" y="61"/>
                    <a:pt x="115" y="76"/>
                    <a:pt x="122" y="68"/>
                  </a:cubicBezTo>
                  <a:cubicBezTo>
                    <a:pt x="138" y="53"/>
                    <a:pt x="130" y="30"/>
                    <a:pt x="130" y="15"/>
                  </a:cubicBezTo>
                  <a:lnTo>
                    <a:pt x="130" y="15"/>
                  </a:lnTo>
                  <a:cubicBezTo>
                    <a:pt x="153" y="15"/>
                    <a:pt x="168" y="0"/>
                    <a:pt x="183" y="7"/>
                  </a:cubicBezTo>
                  <a:cubicBezTo>
                    <a:pt x="199" y="15"/>
                    <a:pt x="206" y="38"/>
                    <a:pt x="214" y="53"/>
                  </a:cubicBezTo>
                  <a:lnTo>
                    <a:pt x="214" y="53"/>
                  </a:lnTo>
                  <a:cubicBezTo>
                    <a:pt x="221" y="76"/>
                    <a:pt x="199" y="114"/>
                    <a:pt x="221" y="129"/>
                  </a:cubicBezTo>
                  <a:cubicBezTo>
                    <a:pt x="252" y="145"/>
                    <a:pt x="282" y="99"/>
                    <a:pt x="313" y="106"/>
                  </a:cubicBezTo>
                  <a:cubicBezTo>
                    <a:pt x="328" y="114"/>
                    <a:pt x="298" y="137"/>
                    <a:pt x="298" y="145"/>
                  </a:cubicBezTo>
                  <a:cubicBezTo>
                    <a:pt x="305" y="160"/>
                    <a:pt x="328" y="145"/>
                    <a:pt x="336" y="160"/>
                  </a:cubicBezTo>
                  <a:cubicBezTo>
                    <a:pt x="344" y="160"/>
                    <a:pt x="328" y="175"/>
                    <a:pt x="336" y="183"/>
                  </a:cubicBezTo>
                  <a:cubicBezTo>
                    <a:pt x="344" y="198"/>
                    <a:pt x="351" y="206"/>
                    <a:pt x="367" y="221"/>
                  </a:cubicBezTo>
                  <a:lnTo>
                    <a:pt x="367" y="221"/>
                  </a:lnTo>
                  <a:cubicBezTo>
                    <a:pt x="344" y="229"/>
                    <a:pt x="321" y="244"/>
                    <a:pt x="298" y="244"/>
                  </a:cubicBezTo>
                  <a:cubicBezTo>
                    <a:pt x="275" y="252"/>
                    <a:pt x="252" y="252"/>
                    <a:pt x="229" y="252"/>
                  </a:cubicBezTo>
                  <a:cubicBezTo>
                    <a:pt x="206" y="252"/>
                    <a:pt x="183" y="252"/>
                    <a:pt x="160" y="244"/>
                  </a:cubicBezTo>
                  <a:cubicBezTo>
                    <a:pt x="138" y="244"/>
                    <a:pt x="138" y="236"/>
                    <a:pt x="122" y="229"/>
                  </a:cubicBezTo>
                  <a:lnTo>
                    <a:pt x="122" y="229"/>
                  </a:lnTo>
                  <a:cubicBezTo>
                    <a:pt x="138" y="206"/>
                    <a:pt x="138" y="183"/>
                    <a:pt x="130" y="168"/>
                  </a:cubicBezTo>
                  <a:cubicBezTo>
                    <a:pt x="84" y="206"/>
                    <a:pt x="38" y="221"/>
                    <a:pt x="0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6317839" y="7123114"/>
              <a:ext cx="100006" cy="153987"/>
            </a:xfrm>
            <a:custGeom>
              <a:avLst/>
              <a:gdLst>
                <a:gd name="T0" fmla="*/ 0 w 276"/>
                <a:gd name="T1" fmla="*/ 77 h 429"/>
                <a:gd name="T2" fmla="*/ 0 w 276"/>
                <a:gd name="T3" fmla="*/ 77 h 429"/>
                <a:gd name="T4" fmla="*/ 61 w 276"/>
                <a:gd name="T5" fmla="*/ 115 h 429"/>
                <a:gd name="T6" fmla="*/ 91 w 276"/>
                <a:gd name="T7" fmla="*/ 199 h 429"/>
                <a:gd name="T8" fmla="*/ 61 w 276"/>
                <a:gd name="T9" fmla="*/ 237 h 429"/>
                <a:gd name="T10" fmla="*/ 152 w 276"/>
                <a:gd name="T11" fmla="*/ 306 h 429"/>
                <a:gd name="T12" fmla="*/ 91 w 276"/>
                <a:gd name="T13" fmla="*/ 336 h 429"/>
                <a:gd name="T14" fmla="*/ 145 w 276"/>
                <a:gd name="T15" fmla="*/ 428 h 429"/>
                <a:gd name="T16" fmla="*/ 145 w 276"/>
                <a:gd name="T17" fmla="*/ 428 h 429"/>
                <a:gd name="T18" fmla="*/ 213 w 276"/>
                <a:gd name="T19" fmla="*/ 382 h 429"/>
                <a:gd name="T20" fmla="*/ 221 w 276"/>
                <a:gd name="T21" fmla="*/ 336 h 429"/>
                <a:gd name="T22" fmla="*/ 259 w 276"/>
                <a:gd name="T23" fmla="*/ 336 h 429"/>
                <a:gd name="T24" fmla="*/ 267 w 276"/>
                <a:gd name="T25" fmla="*/ 283 h 429"/>
                <a:gd name="T26" fmla="*/ 267 w 276"/>
                <a:gd name="T27" fmla="*/ 283 h 429"/>
                <a:gd name="T28" fmla="*/ 236 w 276"/>
                <a:gd name="T29" fmla="*/ 260 h 429"/>
                <a:gd name="T30" fmla="*/ 213 w 276"/>
                <a:gd name="T31" fmla="*/ 222 h 429"/>
                <a:gd name="T32" fmla="*/ 190 w 276"/>
                <a:gd name="T33" fmla="*/ 168 h 429"/>
                <a:gd name="T34" fmla="*/ 167 w 276"/>
                <a:gd name="T35" fmla="*/ 46 h 429"/>
                <a:gd name="T36" fmla="*/ 167 w 276"/>
                <a:gd name="T37" fmla="*/ 46 h 429"/>
                <a:gd name="T38" fmla="*/ 53 w 276"/>
                <a:gd name="T39" fmla="*/ 0 h 429"/>
                <a:gd name="T40" fmla="*/ 53 w 276"/>
                <a:gd name="T41" fmla="*/ 0 h 429"/>
                <a:gd name="T42" fmla="*/ 0 w 276"/>
                <a:gd name="T43" fmla="*/ 7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6" h="429">
                  <a:moveTo>
                    <a:pt x="0" y="77"/>
                  </a:moveTo>
                  <a:lnTo>
                    <a:pt x="0" y="77"/>
                  </a:lnTo>
                  <a:cubicBezTo>
                    <a:pt x="22" y="92"/>
                    <a:pt x="45" y="99"/>
                    <a:pt x="61" y="115"/>
                  </a:cubicBezTo>
                  <a:cubicBezTo>
                    <a:pt x="76" y="138"/>
                    <a:pt x="91" y="168"/>
                    <a:pt x="91" y="199"/>
                  </a:cubicBezTo>
                  <a:cubicBezTo>
                    <a:pt x="91" y="214"/>
                    <a:pt x="53" y="222"/>
                    <a:pt x="61" y="237"/>
                  </a:cubicBezTo>
                  <a:cubicBezTo>
                    <a:pt x="83" y="268"/>
                    <a:pt x="145" y="268"/>
                    <a:pt x="152" y="306"/>
                  </a:cubicBezTo>
                  <a:cubicBezTo>
                    <a:pt x="160" y="329"/>
                    <a:pt x="99" y="313"/>
                    <a:pt x="91" y="336"/>
                  </a:cubicBezTo>
                  <a:cubicBezTo>
                    <a:pt x="91" y="374"/>
                    <a:pt x="129" y="397"/>
                    <a:pt x="145" y="428"/>
                  </a:cubicBezTo>
                  <a:lnTo>
                    <a:pt x="145" y="428"/>
                  </a:lnTo>
                  <a:cubicBezTo>
                    <a:pt x="167" y="413"/>
                    <a:pt x="190" y="405"/>
                    <a:pt x="213" y="382"/>
                  </a:cubicBezTo>
                  <a:cubicBezTo>
                    <a:pt x="221" y="374"/>
                    <a:pt x="213" y="352"/>
                    <a:pt x="221" y="336"/>
                  </a:cubicBezTo>
                  <a:cubicBezTo>
                    <a:pt x="229" y="329"/>
                    <a:pt x="252" y="344"/>
                    <a:pt x="259" y="336"/>
                  </a:cubicBezTo>
                  <a:cubicBezTo>
                    <a:pt x="275" y="321"/>
                    <a:pt x="267" y="298"/>
                    <a:pt x="267" y="283"/>
                  </a:cubicBezTo>
                  <a:lnTo>
                    <a:pt x="267" y="283"/>
                  </a:lnTo>
                  <a:cubicBezTo>
                    <a:pt x="259" y="275"/>
                    <a:pt x="244" y="268"/>
                    <a:pt x="236" y="260"/>
                  </a:cubicBezTo>
                  <a:cubicBezTo>
                    <a:pt x="221" y="252"/>
                    <a:pt x="221" y="237"/>
                    <a:pt x="213" y="222"/>
                  </a:cubicBezTo>
                  <a:cubicBezTo>
                    <a:pt x="206" y="206"/>
                    <a:pt x="190" y="184"/>
                    <a:pt x="190" y="168"/>
                  </a:cubicBezTo>
                  <a:cubicBezTo>
                    <a:pt x="175" y="130"/>
                    <a:pt x="175" y="84"/>
                    <a:pt x="167" y="46"/>
                  </a:cubicBezTo>
                  <a:lnTo>
                    <a:pt x="167" y="46"/>
                  </a:lnTo>
                  <a:cubicBezTo>
                    <a:pt x="53" y="0"/>
                    <a:pt x="53" y="0"/>
                    <a:pt x="53" y="0"/>
                  </a:cubicBezTo>
                  <a:lnTo>
                    <a:pt x="53" y="0"/>
                  </a:lnTo>
                  <a:cubicBezTo>
                    <a:pt x="0" y="77"/>
                    <a:pt x="0" y="77"/>
                    <a:pt x="0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6181322" y="6946901"/>
              <a:ext cx="165089" cy="244475"/>
            </a:xfrm>
            <a:custGeom>
              <a:avLst/>
              <a:gdLst>
                <a:gd name="T0" fmla="*/ 359 w 459"/>
                <a:gd name="T1" fmla="*/ 0 h 681"/>
                <a:gd name="T2" fmla="*/ 359 w 459"/>
                <a:gd name="T3" fmla="*/ 0 h 681"/>
                <a:gd name="T4" fmla="*/ 374 w 459"/>
                <a:gd name="T5" fmla="*/ 61 h 681"/>
                <a:gd name="T6" fmla="*/ 320 w 459"/>
                <a:gd name="T7" fmla="*/ 176 h 681"/>
                <a:gd name="T8" fmla="*/ 275 w 459"/>
                <a:gd name="T9" fmla="*/ 176 h 681"/>
                <a:gd name="T10" fmla="*/ 213 w 459"/>
                <a:gd name="T11" fmla="*/ 260 h 681"/>
                <a:gd name="T12" fmla="*/ 244 w 459"/>
                <a:gd name="T13" fmla="*/ 298 h 681"/>
                <a:gd name="T14" fmla="*/ 213 w 459"/>
                <a:gd name="T15" fmla="*/ 336 h 681"/>
                <a:gd name="T16" fmla="*/ 206 w 459"/>
                <a:gd name="T17" fmla="*/ 390 h 681"/>
                <a:gd name="T18" fmla="*/ 290 w 459"/>
                <a:gd name="T19" fmla="*/ 451 h 681"/>
                <a:gd name="T20" fmla="*/ 336 w 459"/>
                <a:gd name="T21" fmla="*/ 451 h 681"/>
                <a:gd name="T22" fmla="*/ 305 w 459"/>
                <a:gd name="T23" fmla="*/ 352 h 681"/>
                <a:gd name="T24" fmla="*/ 382 w 459"/>
                <a:gd name="T25" fmla="*/ 421 h 681"/>
                <a:gd name="T26" fmla="*/ 443 w 459"/>
                <a:gd name="T27" fmla="*/ 436 h 681"/>
                <a:gd name="T28" fmla="*/ 435 w 459"/>
                <a:gd name="T29" fmla="*/ 489 h 681"/>
                <a:gd name="T30" fmla="*/ 435 w 459"/>
                <a:gd name="T31" fmla="*/ 489 h 681"/>
                <a:gd name="T32" fmla="*/ 382 w 459"/>
                <a:gd name="T33" fmla="*/ 566 h 681"/>
                <a:gd name="T34" fmla="*/ 382 w 459"/>
                <a:gd name="T35" fmla="*/ 566 h 681"/>
                <a:gd name="T36" fmla="*/ 313 w 459"/>
                <a:gd name="T37" fmla="*/ 566 h 681"/>
                <a:gd name="T38" fmla="*/ 305 w 459"/>
                <a:gd name="T39" fmla="*/ 657 h 681"/>
                <a:gd name="T40" fmla="*/ 213 w 459"/>
                <a:gd name="T41" fmla="*/ 680 h 681"/>
                <a:gd name="T42" fmla="*/ 213 w 459"/>
                <a:gd name="T43" fmla="*/ 680 h 681"/>
                <a:gd name="T44" fmla="*/ 137 w 459"/>
                <a:gd name="T45" fmla="*/ 466 h 681"/>
                <a:gd name="T46" fmla="*/ 221 w 459"/>
                <a:gd name="T47" fmla="*/ 115 h 681"/>
                <a:gd name="T48" fmla="*/ 351 w 459"/>
                <a:gd name="T49" fmla="*/ 16 h 681"/>
                <a:gd name="T50" fmla="*/ 359 w 459"/>
                <a:gd name="T51" fmla="*/ 0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9" h="681">
                  <a:moveTo>
                    <a:pt x="359" y="0"/>
                  </a:moveTo>
                  <a:lnTo>
                    <a:pt x="359" y="0"/>
                  </a:lnTo>
                  <a:cubicBezTo>
                    <a:pt x="366" y="16"/>
                    <a:pt x="374" y="38"/>
                    <a:pt x="374" y="61"/>
                  </a:cubicBezTo>
                  <a:cubicBezTo>
                    <a:pt x="366" y="100"/>
                    <a:pt x="351" y="146"/>
                    <a:pt x="320" y="176"/>
                  </a:cubicBezTo>
                  <a:cubicBezTo>
                    <a:pt x="313" y="184"/>
                    <a:pt x="290" y="168"/>
                    <a:pt x="275" y="176"/>
                  </a:cubicBezTo>
                  <a:cubicBezTo>
                    <a:pt x="252" y="199"/>
                    <a:pt x="221" y="222"/>
                    <a:pt x="213" y="260"/>
                  </a:cubicBezTo>
                  <a:cubicBezTo>
                    <a:pt x="213" y="275"/>
                    <a:pt x="252" y="283"/>
                    <a:pt x="244" y="298"/>
                  </a:cubicBezTo>
                  <a:cubicBezTo>
                    <a:pt x="244" y="313"/>
                    <a:pt x="221" y="321"/>
                    <a:pt x="213" y="336"/>
                  </a:cubicBezTo>
                  <a:cubicBezTo>
                    <a:pt x="206" y="352"/>
                    <a:pt x="198" y="375"/>
                    <a:pt x="206" y="390"/>
                  </a:cubicBezTo>
                  <a:cubicBezTo>
                    <a:pt x="229" y="421"/>
                    <a:pt x="259" y="436"/>
                    <a:pt x="290" y="451"/>
                  </a:cubicBezTo>
                  <a:cubicBezTo>
                    <a:pt x="305" y="459"/>
                    <a:pt x="336" y="466"/>
                    <a:pt x="336" y="451"/>
                  </a:cubicBezTo>
                  <a:cubicBezTo>
                    <a:pt x="336" y="421"/>
                    <a:pt x="275" y="375"/>
                    <a:pt x="305" y="352"/>
                  </a:cubicBezTo>
                  <a:cubicBezTo>
                    <a:pt x="336" y="336"/>
                    <a:pt x="351" y="405"/>
                    <a:pt x="382" y="421"/>
                  </a:cubicBezTo>
                  <a:cubicBezTo>
                    <a:pt x="397" y="428"/>
                    <a:pt x="427" y="421"/>
                    <a:pt x="443" y="436"/>
                  </a:cubicBezTo>
                  <a:cubicBezTo>
                    <a:pt x="458" y="451"/>
                    <a:pt x="443" y="474"/>
                    <a:pt x="435" y="489"/>
                  </a:cubicBezTo>
                  <a:lnTo>
                    <a:pt x="435" y="489"/>
                  </a:lnTo>
                  <a:cubicBezTo>
                    <a:pt x="382" y="566"/>
                    <a:pt x="382" y="566"/>
                    <a:pt x="382" y="566"/>
                  </a:cubicBezTo>
                  <a:lnTo>
                    <a:pt x="382" y="566"/>
                  </a:lnTo>
                  <a:cubicBezTo>
                    <a:pt x="359" y="566"/>
                    <a:pt x="328" y="550"/>
                    <a:pt x="313" y="566"/>
                  </a:cubicBezTo>
                  <a:cubicBezTo>
                    <a:pt x="290" y="588"/>
                    <a:pt x="320" y="634"/>
                    <a:pt x="305" y="657"/>
                  </a:cubicBezTo>
                  <a:cubicBezTo>
                    <a:pt x="290" y="680"/>
                    <a:pt x="236" y="673"/>
                    <a:pt x="213" y="680"/>
                  </a:cubicBezTo>
                  <a:lnTo>
                    <a:pt x="213" y="680"/>
                  </a:lnTo>
                  <a:cubicBezTo>
                    <a:pt x="190" y="604"/>
                    <a:pt x="183" y="527"/>
                    <a:pt x="137" y="466"/>
                  </a:cubicBezTo>
                  <a:cubicBezTo>
                    <a:pt x="0" y="329"/>
                    <a:pt x="168" y="237"/>
                    <a:pt x="221" y="115"/>
                  </a:cubicBezTo>
                  <a:cubicBezTo>
                    <a:pt x="244" y="54"/>
                    <a:pt x="313" y="54"/>
                    <a:pt x="351" y="16"/>
                  </a:cubicBezTo>
                  <a:cubicBezTo>
                    <a:pt x="351" y="8"/>
                    <a:pt x="359" y="8"/>
                    <a:pt x="35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6376573" y="7100888"/>
              <a:ext cx="138103" cy="138112"/>
            </a:xfrm>
            <a:custGeom>
              <a:avLst/>
              <a:gdLst>
                <a:gd name="T0" fmla="*/ 7 w 383"/>
                <a:gd name="T1" fmla="*/ 107 h 383"/>
                <a:gd name="T2" fmla="*/ 7 w 383"/>
                <a:gd name="T3" fmla="*/ 107 h 383"/>
                <a:gd name="T4" fmla="*/ 30 w 383"/>
                <a:gd name="T5" fmla="*/ 229 h 383"/>
                <a:gd name="T6" fmla="*/ 53 w 383"/>
                <a:gd name="T7" fmla="*/ 283 h 383"/>
                <a:gd name="T8" fmla="*/ 76 w 383"/>
                <a:gd name="T9" fmla="*/ 321 h 383"/>
                <a:gd name="T10" fmla="*/ 107 w 383"/>
                <a:gd name="T11" fmla="*/ 344 h 383"/>
                <a:gd name="T12" fmla="*/ 107 w 383"/>
                <a:gd name="T13" fmla="*/ 344 h 383"/>
                <a:gd name="T14" fmla="*/ 160 w 383"/>
                <a:gd name="T15" fmla="*/ 336 h 383"/>
                <a:gd name="T16" fmla="*/ 191 w 383"/>
                <a:gd name="T17" fmla="*/ 382 h 383"/>
                <a:gd name="T18" fmla="*/ 191 w 383"/>
                <a:gd name="T19" fmla="*/ 382 h 383"/>
                <a:gd name="T20" fmla="*/ 229 w 383"/>
                <a:gd name="T21" fmla="*/ 359 h 383"/>
                <a:gd name="T22" fmla="*/ 237 w 383"/>
                <a:gd name="T23" fmla="*/ 290 h 383"/>
                <a:gd name="T24" fmla="*/ 229 w 383"/>
                <a:gd name="T25" fmla="*/ 214 h 383"/>
                <a:gd name="T26" fmla="*/ 305 w 383"/>
                <a:gd name="T27" fmla="*/ 245 h 383"/>
                <a:gd name="T28" fmla="*/ 382 w 383"/>
                <a:gd name="T29" fmla="*/ 222 h 383"/>
                <a:gd name="T30" fmla="*/ 382 w 383"/>
                <a:gd name="T31" fmla="*/ 222 h 383"/>
                <a:gd name="T32" fmla="*/ 321 w 383"/>
                <a:gd name="T33" fmla="*/ 168 h 383"/>
                <a:gd name="T34" fmla="*/ 313 w 383"/>
                <a:gd name="T35" fmla="*/ 130 h 383"/>
                <a:gd name="T36" fmla="*/ 237 w 383"/>
                <a:gd name="T37" fmla="*/ 84 h 383"/>
                <a:gd name="T38" fmla="*/ 153 w 383"/>
                <a:gd name="T39" fmla="*/ 23 h 383"/>
                <a:gd name="T40" fmla="*/ 153 w 383"/>
                <a:gd name="T41" fmla="*/ 23 h 383"/>
                <a:gd name="T42" fmla="*/ 92 w 383"/>
                <a:gd name="T43" fmla="*/ 46 h 383"/>
                <a:gd name="T44" fmla="*/ 61 w 383"/>
                <a:gd name="T45" fmla="*/ 0 h 383"/>
                <a:gd name="T46" fmla="*/ 7 w 383"/>
                <a:gd name="T47" fmla="*/ 46 h 383"/>
                <a:gd name="T48" fmla="*/ 7 w 383"/>
                <a:gd name="T49" fmla="*/ 10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" h="383">
                  <a:moveTo>
                    <a:pt x="7" y="107"/>
                  </a:moveTo>
                  <a:lnTo>
                    <a:pt x="7" y="107"/>
                  </a:lnTo>
                  <a:cubicBezTo>
                    <a:pt x="15" y="145"/>
                    <a:pt x="15" y="191"/>
                    <a:pt x="30" y="229"/>
                  </a:cubicBezTo>
                  <a:cubicBezTo>
                    <a:pt x="30" y="245"/>
                    <a:pt x="46" y="267"/>
                    <a:pt x="53" y="283"/>
                  </a:cubicBezTo>
                  <a:cubicBezTo>
                    <a:pt x="61" y="298"/>
                    <a:pt x="61" y="313"/>
                    <a:pt x="76" y="321"/>
                  </a:cubicBezTo>
                  <a:cubicBezTo>
                    <a:pt x="84" y="329"/>
                    <a:pt x="99" y="336"/>
                    <a:pt x="107" y="344"/>
                  </a:cubicBezTo>
                  <a:lnTo>
                    <a:pt x="107" y="344"/>
                  </a:lnTo>
                  <a:cubicBezTo>
                    <a:pt x="130" y="344"/>
                    <a:pt x="145" y="329"/>
                    <a:pt x="160" y="336"/>
                  </a:cubicBezTo>
                  <a:cubicBezTo>
                    <a:pt x="176" y="344"/>
                    <a:pt x="183" y="367"/>
                    <a:pt x="191" y="382"/>
                  </a:cubicBezTo>
                  <a:lnTo>
                    <a:pt x="191" y="382"/>
                  </a:lnTo>
                  <a:cubicBezTo>
                    <a:pt x="206" y="374"/>
                    <a:pt x="221" y="367"/>
                    <a:pt x="229" y="359"/>
                  </a:cubicBezTo>
                  <a:cubicBezTo>
                    <a:pt x="237" y="336"/>
                    <a:pt x="237" y="313"/>
                    <a:pt x="237" y="290"/>
                  </a:cubicBezTo>
                  <a:cubicBezTo>
                    <a:pt x="237" y="267"/>
                    <a:pt x="214" y="229"/>
                    <a:pt x="229" y="214"/>
                  </a:cubicBezTo>
                  <a:cubicBezTo>
                    <a:pt x="252" y="199"/>
                    <a:pt x="275" y="245"/>
                    <a:pt x="305" y="245"/>
                  </a:cubicBezTo>
                  <a:cubicBezTo>
                    <a:pt x="328" y="252"/>
                    <a:pt x="359" y="229"/>
                    <a:pt x="382" y="222"/>
                  </a:cubicBezTo>
                  <a:lnTo>
                    <a:pt x="382" y="222"/>
                  </a:lnTo>
                  <a:lnTo>
                    <a:pt x="321" y="168"/>
                  </a:lnTo>
                  <a:cubicBezTo>
                    <a:pt x="321" y="160"/>
                    <a:pt x="313" y="130"/>
                    <a:pt x="313" y="130"/>
                  </a:cubicBezTo>
                  <a:cubicBezTo>
                    <a:pt x="290" y="115"/>
                    <a:pt x="259" y="99"/>
                    <a:pt x="237" y="84"/>
                  </a:cubicBezTo>
                  <a:cubicBezTo>
                    <a:pt x="206" y="69"/>
                    <a:pt x="176" y="46"/>
                    <a:pt x="153" y="23"/>
                  </a:cubicBezTo>
                  <a:lnTo>
                    <a:pt x="153" y="23"/>
                  </a:lnTo>
                  <a:cubicBezTo>
                    <a:pt x="130" y="31"/>
                    <a:pt x="115" y="46"/>
                    <a:pt x="92" y="46"/>
                  </a:cubicBezTo>
                  <a:cubicBezTo>
                    <a:pt x="76" y="38"/>
                    <a:pt x="76" y="0"/>
                    <a:pt x="61" y="0"/>
                  </a:cubicBezTo>
                  <a:cubicBezTo>
                    <a:pt x="38" y="8"/>
                    <a:pt x="23" y="31"/>
                    <a:pt x="7" y="46"/>
                  </a:cubicBezTo>
                  <a:cubicBezTo>
                    <a:pt x="0" y="69"/>
                    <a:pt x="7" y="92"/>
                    <a:pt x="7" y="10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7"/>
            <p:cNvSpPr>
              <a:spLocks noChangeArrowheads="1"/>
            </p:cNvSpPr>
            <p:nvPr/>
          </p:nvSpPr>
          <p:spPr bwMode="auto">
            <a:xfrm>
              <a:off x="6430544" y="7026275"/>
              <a:ext cx="176201" cy="153988"/>
            </a:xfrm>
            <a:custGeom>
              <a:avLst/>
              <a:gdLst>
                <a:gd name="T0" fmla="*/ 229 w 490"/>
                <a:gd name="T1" fmla="*/ 428 h 429"/>
                <a:gd name="T2" fmla="*/ 229 w 490"/>
                <a:gd name="T3" fmla="*/ 428 h 429"/>
                <a:gd name="T4" fmla="*/ 290 w 490"/>
                <a:gd name="T5" fmla="*/ 359 h 429"/>
                <a:gd name="T6" fmla="*/ 336 w 490"/>
                <a:gd name="T7" fmla="*/ 344 h 429"/>
                <a:gd name="T8" fmla="*/ 359 w 490"/>
                <a:gd name="T9" fmla="*/ 389 h 429"/>
                <a:gd name="T10" fmla="*/ 359 w 490"/>
                <a:gd name="T11" fmla="*/ 389 h 429"/>
                <a:gd name="T12" fmla="*/ 443 w 490"/>
                <a:gd name="T13" fmla="*/ 382 h 429"/>
                <a:gd name="T14" fmla="*/ 481 w 490"/>
                <a:gd name="T15" fmla="*/ 252 h 429"/>
                <a:gd name="T16" fmla="*/ 420 w 490"/>
                <a:gd name="T17" fmla="*/ 214 h 429"/>
                <a:gd name="T18" fmla="*/ 420 w 490"/>
                <a:gd name="T19" fmla="*/ 214 h 429"/>
                <a:gd name="T20" fmla="*/ 359 w 490"/>
                <a:gd name="T21" fmla="*/ 199 h 429"/>
                <a:gd name="T22" fmla="*/ 290 w 490"/>
                <a:gd name="T23" fmla="*/ 229 h 429"/>
                <a:gd name="T24" fmla="*/ 252 w 490"/>
                <a:gd name="T25" fmla="*/ 176 h 429"/>
                <a:gd name="T26" fmla="*/ 237 w 490"/>
                <a:gd name="T27" fmla="*/ 91 h 429"/>
                <a:gd name="T28" fmla="*/ 160 w 490"/>
                <a:gd name="T29" fmla="*/ 53 h 429"/>
                <a:gd name="T30" fmla="*/ 160 w 490"/>
                <a:gd name="T31" fmla="*/ 53 h 429"/>
                <a:gd name="T32" fmla="*/ 129 w 490"/>
                <a:gd name="T33" fmla="*/ 0 h 429"/>
                <a:gd name="T34" fmla="*/ 45 w 490"/>
                <a:gd name="T35" fmla="*/ 30 h 429"/>
                <a:gd name="T36" fmla="*/ 23 w 490"/>
                <a:gd name="T37" fmla="*/ 76 h 429"/>
                <a:gd name="T38" fmla="*/ 30 w 490"/>
                <a:gd name="T39" fmla="*/ 130 h 429"/>
                <a:gd name="T40" fmla="*/ 0 w 490"/>
                <a:gd name="T41" fmla="*/ 229 h 429"/>
                <a:gd name="T42" fmla="*/ 0 w 490"/>
                <a:gd name="T43" fmla="*/ 229 h 429"/>
                <a:gd name="T44" fmla="*/ 84 w 490"/>
                <a:gd name="T45" fmla="*/ 290 h 429"/>
                <a:gd name="T46" fmla="*/ 160 w 490"/>
                <a:gd name="T47" fmla="*/ 336 h 429"/>
                <a:gd name="T48" fmla="*/ 168 w 490"/>
                <a:gd name="T49" fmla="*/ 374 h 429"/>
                <a:gd name="T50" fmla="*/ 229 w 490"/>
                <a:gd name="T51" fmla="*/ 42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0" h="429">
                  <a:moveTo>
                    <a:pt x="229" y="428"/>
                  </a:moveTo>
                  <a:lnTo>
                    <a:pt x="229" y="428"/>
                  </a:lnTo>
                  <a:cubicBezTo>
                    <a:pt x="252" y="405"/>
                    <a:pt x="267" y="382"/>
                    <a:pt x="290" y="359"/>
                  </a:cubicBezTo>
                  <a:cubicBezTo>
                    <a:pt x="298" y="351"/>
                    <a:pt x="320" y="336"/>
                    <a:pt x="336" y="344"/>
                  </a:cubicBezTo>
                  <a:cubicBezTo>
                    <a:pt x="351" y="351"/>
                    <a:pt x="351" y="374"/>
                    <a:pt x="359" y="389"/>
                  </a:cubicBezTo>
                  <a:lnTo>
                    <a:pt x="359" y="389"/>
                  </a:lnTo>
                  <a:cubicBezTo>
                    <a:pt x="389" y="389"/>
                    <a:pt x="420" y="405"/>
                    <a:pt x="443" y="382"/>
                  </a:cubicBezTo>
                  <a:cubicBezTo>
                    <a:pt x="473" y="351"/>
                    <a:pt x="489" y="298"/>
                    <a:pt x="481" y="252"/>
                  </a:cubicBezTo>
                  <a:cubicBezTo>
                    <a:pt x="481" y="229"/>
                    <a:pt x="443" y="229"/>
                    <a:pt x="420" y="214"/>
                  </a:cubicBezTo>
                  <a:lnTo>
                    <a:pt x="420" y="214"/>
                  </a:lnTo>
                  <a:cubicBezTo>
                    <a:pt x="404" y="214"/>
                    <a:pt x="381" y="191"/>
                    <a:pt x="359" y="199"/>
                  </a:cubicBezTo>
                  <a:cubicBezTo>
                    <a:pt x="336" y="199"/>
                    <a:pt x="313" y="237"/>
                    <a:pt x="290" y="229"/>
                  </a:cubicBezTo>
                  <a:cubicBezTo>
                    <a:pt x="267" y="229"/>
                    <a:pt x="259" y="199"/>
                    <a:pt x="252" y="176"/>
                  </a:cubicBezTo>
                  <a:cubicBezTo>
                    <a:pt x="237" y="145"/>
                    <a:pt x="252" y="114"/>
                    <a:pt x="237" y="91"/>
                  </a:cubicBezTo>
                  <a:cubicBezTo>
                    <a:pt x="221" y="69"/>
                    <a:pt x="183" y="61"/>
                    <a:pt x="160" y="53"/>
                  </a:cubicBezTo>
                  <a:lnTo>
                    <a:pt x="160" y="53"/>
                  </a:lnTo>
                  <a:cubicBezTo>
                    <a:pt x="145" y="30"/>
                    <a:pt x="137" y="15"/>
                    <a:pt x="129" y="0"/>
                  </a:cubicBezTo>
                  <a:lnTo>
                    <a:pt x="45" y="30"/>
                  </a:lnTo>
                  <a:lnTo>
                    <a:pt x="23" y="76"/>
                  </a:lnTo>
                  <a:cubicBezTo>
                    <a:pt x="23" y="91"/>
                    <a:pt x="38" y="114"/>
                    <a:pt x="30" y="130"/>
                  </a:cubicBezTo>
                  <a:cubicBezTo>
                    <a:pt x="30" y="168"/>
                    <a:pt x="7" y="199"/>
                    <a:pt x="0" y="229"/>
                  </a:cubicBezTo>
                  <a:lnTo>
                    <a:pt x="0" y="229"/>
                  </a:lnTo>
                  <a:cubicBezTo>
                    <a:pt x="23" y="252"/>
                    <a:pt x="53" y="275"/>
                    <a:pt x="84" y="290"/>
                  </a:cubicBezTo>
                  <a:cubicBezTo>
                    <a:pt x="106" y="305"/>
                    <a:pt x="137" y="321"/>
                    <a:pt x="160" y="336"/>
                  </a:cubicBezTo>
                  <a:cubicBezTo>
                    <a:pt x="160" y="336"/>
                    <a:pt x="168" y="366"/>
                    <a:pt x="168" y="374"/>
                  </a:cubicBezTo>
                  <a:lnTo>
                    <a:pt x="229" y="4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8"/>
            <p:cNvSpPr>
              <a:spLocks noChangeArrowheads="1"/>
            </p:cNvSpPr>
            <p:nvPr/>
          </p:nvSpPr>
          <p:spPr bwMode="auto">
            <a:xfrm>
              <a:off x="6438480" y="7148513"/>
              <a:ext cx="160328" cy="150812"/>
            </a:xfrm>
            <a:custGeom>
              <a:avLst/>
              <a:gdLst>
                <a:gd name="T0" fmla="*/ 129 w 444"/>
                <a:gd name="T1" fmla="*/ 115 h 421"/>
                <a:gd name="T2" fmla="*/ 129 w 444"/>
                <a:gd name="T3" fmla="*/ 115 h 421"/>
                <a:gd name="T4" fmla="*/ 53 w 444"/>
                <a:gd name="T5" fmla="*/ 84 h 421"/>
                <a:gd name="T6" fmla="*/ 61 w 444"/>
                <a:gd name="T7" fmla="*/ 160 h 421"/>
                <a:gd name="T8" fmla="*/ 53 w 444"/>
                <a:gd name="T9" fmla="*/ 229 h 421"/>
                <a:gd name="T10" fmla="*/ 15 w 444"/>
                <a:gd name="T11" fmla="*/ 252 h 421"/>
                <a:gd name="T12" fmla="*/ 15 w 444"/>
                <a:gd name="T13" fmla="*/ 252 h 421"/>
                <a:gd name="T14" fmla="*/ 22 w 444"/>
                <a:gd name="T15" fmla="*/ 328 h 421"/>
                <a:gd name="T16" fmla="*/ 114 w 444"/>
                <a:gd name="T17" fmla="*/ 305 h 421"/>
                <a:gd name="T18" fmla="*/ 99 w 444"/>
                <a:gd name="T19" fmla="*/ 344 h 421"/>
                <a:gd name="T20" fmla="*/ 137 w 444"/>
                <a:gd name="T21" fmla="*/ 359 h 421"/>
                <a:gd name="T22" fmla="*/ 137 w 444"/>
                <a:gd name="T23" fmla="*/ 382 h 421"/>
                <a:gd name="T24" fmla="*/ 168 w 444"/>
                <a:gd name="T25" fmla="*/ 420 h 421"/>
                <a:gd name="T26" fmla="*/ 168 w 444"/>
                <a:gd name="T27" fmla="*/ 420 h 421"/>
                <a:gd name="T28" fmla="*/ 191 w 444"/>
                <a:gd name="T29" fmla="*/ 405 h 421"/>
                <a:gd name="T30" fmla="*/ 229 w 444"/>
                <a:gd name="T31" fmla="*/ 412 h 421"/>
                <a:gd name="T32" fmla="*/ 290 w 444"/>
                <a:gd name="T33" fmla="*/ 367 h 421"/>
                <a:gd name="T34" fmla="*/ 336 w 444"/>
                <a:gd name="T35" fmla="*/ 305 h 421"/>
                <a:gd name="T36" fmla="*/ 404 w 444"/>
                <a:gd name="T37" fmla="*/ 298 h 421"/>
                <a:gd name="T38" fmla="*/ 443 w 444"/>
                <a:gd name="T39" fmla="*/ 252 h 421"/>
                <a:gd name="T40" fmla="*/ 443 w 444"/>
                <a:gd name="T41" fmla="*/ 252 h 421"/>
                <a:gd name="T42" fmla="*/ 381 w 444"/>
                <a:gd name="T43" fmla="*/ 222 h 421"/>
                <a:gd name="T44" fmla="*/ 397 w 444"/>
                <a:gd name="T45" fmla="*/ 168 h 421"/>
                <a:gd name="T46" fmla="*/ 397 w 444"/>
                <a:gd name="T47" fmla="*/ 168 h 421"/>
                <a:gd name="T48" fmla="*/ 336 w 444"/>
                <a:gd name="T49" fmla="*/ 53 h 421"/>
                <a:gd name="T50" fmla="*/ 336 w 444"/>
                <a:gd name="T51" fmla="*/ 53 h 421"/>
                <a:gd name="T52" fmla="*/ 313 w 444"/>
                <a:gd name="T53" fmla="*/ 8 h 421"/>
                <a:gd name="T54" fmla="*/ 267 w 444"/>
                <a:gd name="T55" fmla="*/ 23 h 421"/>
                <a:gd name="T56" fmla="*/ 206 w 444"/>
                <a:gd name="T57" fmla="*/ 92 h 421"/>
                <a:gd name="T58" fmla="*/ 191 w 444"/>
                <a:gd name="T59" fmla="*/ 99 h 421"/>
                <a:gd name="T60" fmla="*/ 152 w 444"/>
                <a:gd name="T61" fmla="*/ 115 h 421"/>
                <a:gd name="T62" fmla="*/ 129 w 444"/>
                <a:gd name="T63" fmla="*/ 115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421">
                  <a:moveTo>
                    <a:pt x="129" y="115"/>
                  </a:moveTo>
                  <a:lnTo>
                    <a:pt x="129" y="115"/>
                  </a:lnTo>
                  <a:cubicBezTo>
                    <a:pt x="99" y="115"/>
                    <a:pt x="76" y="69"/>
                    <a:pt x="53" y="84"/>
                  </a:cubicBezTo>
                  <a:cubicBezTo>
                    <a:pt x="38" y="99"/>
                    <a:pt x="61" y="137"/>
                    <a:pt x="61" y="160"/>
                  </a:cubicBezTo>
                  <a:cubicBezTo>
                    <a:pt x="61" y="183"/>
                    <a:pt x="61" y="206"/>
                    <a:pt x="53" y="229"/>
                  </a:cubicBezTo>
                  <a:cubicBezTo>
                    <a:pt x="45" y="237"/>
                    <a:pt x="30" y="244"/>
                    <a:pt x="15" y="252"/>
                  </a:cubicBezTo>
                  <a:lnTo>
                    <a:pt x="15" y="252"/>
                  </a:lnTo>
                  <a:cubicBezTo>
                    <a:pt x="22" y="275"/>
                    <a:pt x="0" y="313"/>
                    <a:pt x="22" y="328"/>
                  </a:cubicBezTo>
                  <a:cubicBezTo>
                    <a:pt x="53" y="344"/>
                    <a:pt x="83" y="298"/>
                    <a:pt x="114" y="305"/>
                  </a:cubicBezTo>
                  <a:cubicBezTo>
                    <a:pt x="129" y="313"/>
                    <a:pt x="99" y="336"/>
                    <a:pt x="99" y="344"/>
                  </a:cubicBezTo>
                  <a:cubicBezTo>
                    <a:pt x="106" y="359"/>
                    <a:pt x="129" y="344"/>
                    <a:pt x="137" y="359"/>
                  </a:cubicBezTo>
                  <a:cubicBezTo>
                    <a:pt x="145" y="359"/>
                    <a:pt x="129" y="374"/>
                    <a:pt x="137" y="382"/>
                  </a:cubicBezTo>
                  <a:cubicBezTo>
                    <a:pt x="145" y="397"/>
                    <a:pt x="152" y="405"/>
                    <a:pt x="168" y="420"/>
                  </a:cubicBezTo>
                  <a:lnTo>
                    <a:pt x="168" y="420"/>
                  </a:lnTo>
                  <a:cubicBezTo>
                    <a:pt x="175" y="412"/>
                    <a:pt x="183" y="405"/>
                    <a:pt x="191" y="405"/>
                  </a:cubicBezTo>
                  <a:cubicBezTo>
                    <a:pt x="206" y="405"/>
                    <a:pt x="221" y="412"/>
                    <a:pt x="229" y="412"/>
                  </a:cubicBezTo>
                  <a:cubicBezTo>
                    <a:pt x="252" y="397"/>
                    <a:pt x="267" y="382"/>
                    <a:pt x="290" y="367"/>
                  </a:cubicBezTo>
                  <a:cubicBezTo>
                    <a:pt x="305" y="344"/>
                    <a:pt x="313" y="313"/>
                    <a:pt x="336" y="305"/>
                  </a:cubicBezTo>
                  <a:cubicBezTo>
                    <a:pt x="358" y="290"/>
                    <a:pt x="381" y="313"/>
                    <a:pt x="404" y="298"/>
                  </a:cubicBezTo>
                  <a:cubicBezTo>
                    <a:pt x="420" y="290"/>
                    <a:pt x="427" y="267"/>
                    <a:pt x="443" y="252"/>
                  </a:cubicBezTo>
                  <a:lnTo>
                    <a:pt x="443" y="252"/>
                  </a:lnTo>
                  <a:cubicBezTo>
                    <a:pt x="420" y="244"/>
                    <a:pt x="397" y="244"/>
                    <a:pt x="381" y="222"/>
                  </a:cubicBezTo>
                  <a:cubicBezTo>
                    <a:pt x="374" y="206"/>
                    <a:pt x="397" y="183"/>
                    <a:pt x="397" y="168"/>
                  </a:cubicBezTo>
                  <a:lnTo>
                    <a:pt x="397" y="168"/>
                  </a:lnTo>
                  <a:cubicBezTo>
                    <a:pt x="336" y="53"/>
                    <a:pt x="336" y="53"/>
                    <a:pt x="336" y="53"/>
                  </a:cubicBezTo>
                  <a:lnTo>
                    <a:pt x="336" y="53"/>
                  </a:lnTo>
                  <a:cubicBezTo>
                    <a:pt x="328" y="38"/>
                    <a:pt x="328" y="15"/>
                    <a:pt x="313" y="8"/>
                  </a:cubicBezTo>
                  <a:cubicBezTo>
                    <a:pt x="297" y="0"/>
                    <a:pt x="275" y="15"/>
                    <a:pt x="267" y="23"/>
                  </a:cubicBezTo>
                  <a:cubicBezTo>
                    <a:pt x="244" y="46"/>
                    <a:pt x="229" y="69"/>
                    <a:pt x="206" y="92"/>
                  </a:cubicBezTo>
                  <a:cubicBezTo>
                    <a:pt x="206" y="92"/>
                    <a:pt x="198" y="99"/>
                    <a:pt x="191" y="99"/>
                  </a:cubicBezTo>
                  <a:cubicBezTo>
                    <a:pt x="183" y="107"/>
                    <a:pt x="168" y="115"/>
                    <a:pt x="152" y="115"/>
                  </a:cubicBezTo>
                  <a:cubicBezTo>
                    <a:pt x="137" y="115"/>
                    <a:pt x="129" y="115"/>
                    <a:pt x="129" y="1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9"/>
            <p:cNvSpPr>
              <a:spLocks noChangeArrowheads="1"/>
            </p:cNvSpPr>
            <p:nvPr/>
          </p:nvSpPr>
          <p:spPr bwMode="auto">
            <a:xfrm>
              <a:off x="6560711" y="7092950"/>
              <a:ext cx="149215" cy="115888"/>
            </a:xfrm>
            <a:custGeom>
              <a:avLst/>
              <a:gdLst>
                <a:gd name="T0" fmla="*/ 61 w 413"/>
                <a:gd name="T1" fmla="*/ 321 h 322"/>
                <a:gd name="T2" fmla="*/ 61 w 413"/>
                <a:gd name="T3" fmla="*/ 321 h 322"/>
                <a:gd name="T4" fmla="*/ 0 w 413"/>
                <a:gd name="T5" fmla="*/ 206 h 322"/>
                <a:gd name="T6" fmla="*/ 0 w 413"/>
                <a:gd name="T7" fmla="*/ 206 h 322"/>
                <a:gd name="T8" fmla="*/ 84 w 413"/>
                <a:gd name="T9" fmla="*/ 199 h 322"/>
                <a:gd name="T10" fmla="*/ 122 w 413"/>
                <a:gd name="T11" fmla="*/ 69 h 322"/>
                <a:gd name="T12" fmla="*/ 61 w 413"/>
                <a:gd name="T13" fmla="*/ 31 h 322"/>
                <a:gd name="T14" fmla="*/ 61 w 413"/>
                <a:gd name="T15" fmla="*/ 31 h 322"/>
                <a:gd name="T16" fmla="*/ 91 w 413"/>
                <a:gd name="T17" fmla="*/ 0 h 322"/>
                <a:gd name="T18" fmla="*/ 152 w 413"/>
                <a:gd name="T19" fmla="*/ 16 h 322"/>
                <a:gd name="T20" fmla="*/ 206 w 413"/>
                <a:gd name="T21" fmla="*/ 46 h 322"/>
                <a:gd name="T22" fmla="*/ 236 w 413"/>
                <a:gd name="T23" fmla="*/ 23 h 322"/>
                <a:gd name="T24" fmla="*/ 236 w 413"/>
                <a:gd name="T25" fmla="*/ 23 h 322"/>
                <a:gd name="T26" fmla="*/ 290 w 413"/>
                <a:gd name="T27" fmla="*/ 54 h 322"/>
                <a:gd name="T28" fmla="*/ 305 w 413"/>
                <a:gd name="T29" fmla="*/ 69 h 322"/>
                <a:gd name="T30" fmla="*/ 374 w 413"/>
                <a:gd name="T31" fmla="*/ 69 h 322"/>
                <a:gd name="T32" fmla="*/ 374 w 413"/>
                <a:gd name="T33" fmla="*/ 69 h 322"/>
                <a:gd name="T34" fmla="*/ 404 w 413"/>
                <a:gd name="T35" fmla="*/ 145 h 322"/>
                <a:gd name="T36" fmla="*/ 343 w 413"/>
                <a:gd name="T37" fmla="*/ 183 h 322"/>
                <a:gd name="T38" fmla="*/ 343 w 413"/>
                <a:gd name="T39" fmla="*/ 183 h 322"/>
                <a:gd name="T40" fmla="*/ 297 w 413"/>
                <a:gd name="T41" fmla="*/ 168 h 322"/>
                <a:gd name="T42" fmla="*/ 259 w 413"/>
                <a:gd name="T43" fmla="*/ 168 h 322"/>
                <a:gd name="T44" fmla="*/ 168 w 413"/>
                <a:gd name="T45" fmla="*/ 206 h 322"/>
                <a:gd name="T46" fmla="*/ 130 w 413"/>
                <a:gd name="T47" fmla="*/ 268 h 322"/>
                <a:gd name="T48" fmla="*/ 61 w 413"/>
                <a:gd name="T49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3" h="322">
                  <a:moveTo>
                    <a:pt x="61" y="321"/>
                  </a:moveTo>
                  <a:lnTo>
                    <a:pt x="61" y="321"/>
                  </a:lnTo>
                  <a:cubicBezTo>
                    <a:pt x="0" y="206"/>
                    <a:pt x="0" y="206"/>
                    <a:pt x="0" y="206"/>
                  </a:cubicBezTo>
                  <a:lnTo>
                    <a:pt x="0" y="206"/>
                  </a:lnTo>
                  <a:cubicBezTo>
                    <a:pt x="30" y="206"/>
                    <a:pt x="61" y="222"/>
                    <a:pt x="84" y="199"/>
                  </a:cubicBezTo>
                  <a:cubicBezTo>
                    <a:pt x="114" y="168"/>
                    <a:pt x="130" y="115"/>
                    <a:pt x="122" y="69"/>
                  </a:cubicBezTo>
                  <a:cubicBezTo>
                    <a:pt x="122" y="46"/>
                    <a:pt x="84" y="46"/>
                    <a:pt x="61" y="31"/>
                  </a:cubicBezTo>
                  <a:lnTo>
                    <a:pt x="61" y="31"/>
                  </a:lnTo>
                  <a:cubicBezTo>
                    <a:pt x="76" y="23"/>
                    <a:pt x="76" y="8"/>
                    <a:pt x="91" y="0"/>
                  </a:cubicBezTo>
                  <a:cubicBezTo>
                    <a:pt x="114" y="0"/>
                    <a:pt x="137" y="8"/>
                    <a:pt x="152" y="16"/>
                  </a:cubicBezTo>
                  <a:cubicBezTo>
                    <a:pt x="175" y="23"/>
                    <a:pt x="183" y="46"/>
                    <a:pt x="206" y="46"/>
                  </a:cubicBezTo>
                  <a:cubicBezTo>
                    <a:pt x="214" y="46"/>
                    <a:pt x="221" y="31"/>
                    <a:pt x="236" y="23"/>
                  </a:cubicBezTo>
                  <a:lnTo>
                    <a:pt x="236" y="23"/>
                  </a:lnTo>
                  <a:cubicBezTo>
                    <a:pt x="252" y="31"/>
                    <a:pt x="267" y="46"/>
                    <a:pt x="290" y="54"/>
                  </a:cubicBezTo>
                  <a:cubicBezTo>
                    <a:pt x="290" y="61"/>
                    <a:pt x="297" y="69"/>
                    <a:pt x="305" y="69"/>
                  </a:cubicBezTo>
                  <a:cubicBezTo>
                    <a:pt x="328" y="77"/>
                    <a:pt x="351" y="69"/>
                    <a:pt x="374" y="69"/>
                  </a:cubicBezTo>
                  <a:lnTo>
                    <a:pt x="374" y="69"/>
                  </a:lnTo>
                  <a:cubicBezTo>
                    <a:pt x="382" y="92"/>
                    <a:pt x="412" y="115"/>
                    <a:pt x="404" y="145"/>
                  </a:cubicBezTo>
                  <a:cubicBezTo>
                    <a:pt x="397" y="168"/>
                    <a:pt x="366" y="168"/>
                    <a:pt x="343" y="183"/>
                  </a:cubicBezTo>
                  <a:lnTo>
                    <a:pt x="343" y="183"/>
                  </a:lnTo>
                  <a:cubicBezTo>
                    <a:pt x="328" y="176"/>
                    <a:pt x="313" y="168"/>
                    <a:pt x="297" y="168"/>
                  </a:cubicBezTo>
                  <a:cubicBezTo>
                    <a:pt x="282" y="161"/>
                    <a:pt x="275" y="161"/>
                    <a:pt x="259" y="168"/>
                  </a:cubicBezTo>
                  <a:cubicBezTo>
                    <a:pt x="229" y="176"/>
                    <a:pt x="191" y="183"/>
                    <a:pt x="168" y="206"/>
                  </a:cubicBezTo>
                  <a:cubicBezTo>
                    <a:pt x="145" y="214"/>
                    <a:pt x="145" y="245"/>
                    <a:pt x="130" y="268"/>
                  </a:cubicBezTo>
                  <a:cubicBezTo>
                    <a:pt x="107" y="290"/>
                    <a:pt x="84" y="306"/>
                    <a:pt x="61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0"/>
            <p:cNvSpPr>
              <a:spLocks noChangeArrowheads="1"/>
            </p:cNvSpPr>
            <p:nvPr/>
          </p:nvSpPr>
          <p:spPr bwMode="auto">
            <a:xfrm>
              <a:off x="6573410" y="7150101"/>
              <a:ext cx="123817" cy="119063"/>
            </a:xfrm>
            <a:custGeom>
              <a:avLst/>
              <a:gdLst>
                <a:gd name="T0" fmla="*/ 23 w 345"/>
                <a:gd name="T1" fmla="*/ 160 h 329"/>
                <a:gd name="T2" fmla="*/ 23 w 345"/>
                <a:gd name="T3" fmla="*/ 160 h 329"/>
                <a:gd name="T4" fmla="*/ 92 w 345"/>
                <a:gd name="T5" fmla="*/ 107 h 329"/>
                <a:gd name="T6" fmla="*/ 130 w 345"/>
                <a:gd name="T7" fmla="*/ 45 h 329"/>
                <a:gd name="T8" fmla="*/ 221 w 345"/>
                <a:gd name="T9" fmla="*/ 7 h 329"/>
                <a:gd name="T10" fmla="*/ 259 w 345"/>
                <a:gd name="T11" fmla="*/ 7 h 329"/>
                <a:gd name="T12" fmla="*/ 305 w 345"/>
                <a:gd name="T13" fmla="*/ 22 h 329"/>
                <a:gd name="T14" fmla="*/ 305 w 345"/>
                <a:gd name="T15" fmla="*/ 22 h 329"/>
                <a:gd name="T16" fmla="*/ 344 w 345"/>
                <a:gd name="T17" fmla="*/ 61 h 329"/>
                <a:gd name="T18" fmla="*/ 305 w 345"/>
                <a:gd name="T19" fmla="*/ 76 h 329"/>
                <a:gd name="T20" fmla="*/ 267 w 345"/>
                <a:gd name="T21" fmla="*/ 114 h 329"/>
                <a:gd name="T22" fmla="*/ 290 w 345"/>
                <a:gd name="T23" fmla="*/ 168 h 329"/>
                <a:gd name="T24" fmla="*/ 221 w 345"/>
                <a:gd name="T25" fmla="*/ 198 h 329"/>
                <a:gd name="T26" fmla="*/ 275 w 345"/>
                <a:gd name="T27" fmla="*/ 267 h 329"/>
                <a:gd name="T28" fmla="*/ 244 w 345"/>
                <a:gd name="T29" fmla="*/ 320 h 329"/>
                <a:gd name="T30" fmla="*/ 244 w 345"/>
                <a:gd name="T31" fmla="*/ 320 h 329"/>
                <a:gd name="T32" fmla="*/ 183 w 345"/>
                <a:gd name="T33" fmla="*/ 297 h 329"/>
                <a:gd name="T34" fmla="*/ 145 w 345"/>
                <a:gd name="T35" fmla="*/ 305 h 329"/>
                <a:gd name="T36" fmla="*/ 69 w 345"/>
                <a:gd name="T37" fmla="*/ 244 h 329"/>
                <a:gd name="T38" fmla="*/ 69 w 345"/>
                <a:gd name="T39" fmla="*/ 244 h 329"/>
                <a:gd name="T40" fmla="*/ 7 w 345"/>
                <a:gd name="T41" fmla="*/ 214 h 329"/>
                <a:gd name="T42" fmla="*/ 23 w 345"/>
                <a:gd name="T43" fmla="*/ 16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5" h="329">
                  <a:moveTo>
                    <a:pt x="23" y="160"/>
                  </a:moveTo>
                  <a:lnTo>
                    <a:pt x="23" y="160"/>
                  </a:lnTo>
                  <a:cubicBezTo>
                    <a:pt x="46" y="145"/>
                    <a:pt x="69" y="129"/>
                    <a:pt x="92" y="107"/>
                  </a:cubicBezTo>
                  <a:cubicBezTo>
                    <a:pt x="107" y="84"/>
                    <a:pt x="107" y="53"/>
                    <a:pt x="130" y="45"/>
                  </a:cubicBezTo>
                  <a:cubicBezTo>
                    <a:pt x="153" y="22"/>
                    <a:pt x="191" y="15"/>
                    <a:pt x="221" y="7"/>
                  </a:cubicBezTo>
                  <a:cubicBezTo>
                    <a:pt x="237" y="0"/>
                    <a:pt x="244" y="0"/>
                    <a:pt x="259" y="7"/>
                  </a:cubicBezTo>
                  <a:cubicBezTo>
                    <a:pt x="275" y="7"/>
                    <a:pt x="290" y="15"/>
                    <a:pt x="305" y="22"/>
                  </a:cubicBezTo>
                  <a:lnTo>
                    <a:pt x="305" y="22"/>
                  </a:lnTo>
                  <a:cubicBezTo>
                    <a:pt x="313" y="38"/>
                    <a:pt x="344" y="45"/>
                    <a:pt x="344" y="61"/>
                  </a:cubicBezTo>
                  <a:cubicBezTo>
                    <a:pt x="344" y="76"/>
                    <a:pt x="313" y="68"/>
                    <a:pt x="305" y="76"/>
                  </a:cubicBezTo>
                  <a:cubicBezTo>
                    <a:pt x="290" y="91"/>
                    <a:pt x="267" y="99"/>
                    <a:pt x="267" y="114"/>
                  </a:cubicBezTo>
                  <a:cubicBezTo>
                    <a:pt x="259" y="137"/>
                    <a:pt x="298" y="152"/>
                    <a:pt x="290" y="168"/>
                  </a:cubicBezTo>
                  <a:cubicBezTo>
                    <a:pt x="282" y="191"/>
                    <a:pt x="229" y="175"/>
                    <a:pt x="221" y="198"/>
                  </a:cubicBezTo>
                  <a:cubicBezTo>
                    <a:pt x="214" y="229"/>
                    <a:pt x="267" y="236"/>
                    <a:pt x="275" y="267"/>
                  </a:cubicBezTo>
                  <a:cubicBezTo>
                    <a:pt x="275" y="290"/>
                    <a:pt x="267" y="320"/>
                    <a:pt x="244" y="320"/>
                  </a:cubicBezTo>
                  <a:lnTo>
                    <a:pt x="244" y="320"/>
                  </a:lnTo>
                  <a:cubicBezTo>
                    <a:pt x="221" y="328"/>
                    <a:pt x="206" y="305"/>
                    <a:pt x="183" y="297"/>
                  </a:cubicBezTo>
                  <a:cubicBezTo>
                    <a:pt x="176" y="297"/>
                    <a:pt x="160" y="313"/>
                    <a:pt x="145" y="305"/>
                  </a:cubicBezTo>
                  <a:cubicBezTo>
                    <a:pt x="114" y="290"/>
                    <a:pt x="92" y="267"/>
                    <a:pt x="69" y="244"/>
                  </a:cubicBezTo>
                  <a:lnTo>
                    <a:pt x="69" y="244"/>
                  </a:lnTo>
                  <a:cubicBezTo>
                    <a:pt x="46" y="236"/>
                    <a:pt x="23" y="236"/>
                    <a:pt x="7" y="214"/>
                  </a:cubicBezTo>
                  <a:cubicBezTo>
                    <a:pt x="0" y="198"/>
                    <a:pt x="23" y="175"/>
                    <a:pt x="23" y="1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1"/>
            <p:cNvSpPr>
              <a:spLocks noChangeArrowheads="1"/>
            </p:cNvSpPr>
            <p:nvPr/>
          </p:nvSpPr>
          <p:spPr bwMode="auto">
            <a:xfrm>
              <a:off x="6651192" y="7096125"/>
              <a:ext cx="101593" cy="173038"/>
            </a:xfrm>
            <a:custGeom>
              <a:avLst/>
              <a:gdLst>
                <a:gd name="T0" fmla="*/ 91 w 283"/>
                <a:gd name="T1" fmla="*/ 175 h 482"/>
                <a:gd name="T2" fmla="*/ 91 w 283"/>
                <a:gd name="T3" fmla="*/ 175 h 482"/>
                <a:gd name="T4" fmla="*/ 152 w 283"/>
                <a:gd name="T5" fmla="*/ 137 h 482"/>
                <a:gd name="T6" fmla="*/ 122 w 283"/>
                <a:gd name="T7" fmla="*/ 61 h 482"/>
                <a:gd name="T8" fmla="*/ 122 w 283"/>
                <a:gd name="T9" fmla="*/ 61 h 482"/>
                <a:gd name="T10" fmla="*/ 99 w 283"/>
                <a:gd name="T11" fmla="*/ 15 h 482"/>
                <a:gd name="T12" fmla="*/ 145 w 283"/>
                <a:gd name="T13" fmla="*/ 0 h 482"/>
                <a:gd name="T14" fmla="*/ 145 w 283"/>
                <a:gd name="T15" fmla="*/ 0 h 482"/>
                <a:gd name="T16" fmla="*/ 229 w 283"/>
                <a:gd name="T17" fmla="*/ 30 h 482"/>
                <a:gd name="T18" fmla="*/ 229 w 283"/>
                <a:gd name="T19" fmla="*/ 30 h 482"/>
                <a:gd name="T20" fmla="*/ 259 w 283"/>
                <a:gd name="T21" fmla="*/ 69 h 482"/>
                <a:gd name="T22" fmla="*/ 244 w 283"/>
                <a:gd name="T23" fmla="*/ 99 h 482"/>
                <a:gd name="T24" fmla="*/ 237 w 283"/>
                <a:gd name="T25" fmla="*/ 114 h 482"/>
                <a:gd name="T26" fmla="*/ 237 w 283"/>
                <a:gd name="T27" fmla="*/ 114 h 482"/>
                <a:gd name="T28" fmla="*/ 244 w 283"/>
                <a:gd name="T29" fmla="*/ 160 h 482"/>
                <a:gd name="T30" fmla="*/ 275 w 283"/>
                <a:gd name="T31" fmla="*/ 175 h 482"/>
                <a:gd name="T32" fmla="*/ 267 w 283"/>
                <a:gd name="T33" fmla="*/ 229 h 482"/>
                <a:gd name="T34" fmla="*/ 267 w 283"/>
                <a:gd name="T35" fmla="*/ 229 h 482"/>
                <a:gd name="T36" fmla="*/ 229 w 283"/>
                <a:gd name="T37" fmla="*/ 275 h 482"/>
                <a:gd name="T38" fmla="*/ 206 w 283"/>
                <a:gd name="T39" fmla="*/ 282 h 482"/>
                <a:gd name="T40" fmla="*/ 168 w 283"/>
                <a:gd name="T41" fmla="*/ 359 h 482"/>
                <a:gd name="T42" fmla="*/ 130 w 283"/>
                <a:gd name="T43" fmla="*/ 367 h 482"/>
                <a:gd name="T44" fmla="*/ 137 w 283"/>
                <a:gd name="T45" fmla="*/ 466 h 482"/>
                <a:gd name="T46" fmla="*/ 137 w 283"/>
                <a:gd name="T47" fmla="*/ 466 h 482"/>
                <a:gd name="T48" fmla="*/ 99 w 283"/>
                <a:gd name="T49" fmla="*/ 481 h 482"/>
                <a:gd name="T50" fmla="*/ 99 w 283"/>
                <a:gd name="T51" fmla="*/ 481 h 482"/>
                <a:gd name="T52" fmla="*/ 30 w 283"/>
                <a:gd name="T53" fmla="*/ 473 h 482"/>
                <a:gd name="T54" fmla="*/ 30 w 283"/>
                <a:gd name="T55" fmla="*/ 473 h 482"/>
                <a:gd name="T56" fmla="*/ 61 w 283"/>
                <a:gd name="T57" fmla="*/ 420 h 482"/>
                <a:gd name="T58" fmla="*/ 7 w 283"/>
                <a:gd name="T59" fmla="*/ 351 h 482"/>
                <a:gd name="T60" fmla="*/ 76 w 283"/>
                <a:gd name="T61" fmla="*/ 321 h 482"/>
                <a:gd name="T62" fmla="*/ 53 w 283"/>
                <a:gd name="T63" fmla="*/ 267 h 482"/>
                <a:gd name="T64" fmla="*/ 91 w 283"/>
                <a:gd name="T65" fmla="*/ 229 h 482"/>
                <a:gd name="T66" fmla="*/ 130 w 283"/>
                <a:gd name="T67" fmla="*/ 214 h 482"/>
                <a:gd name="T68" fmla="*/ 91 w 283"/>
                <a:gd name="T69" fmla="*/ 17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3" h="482">
                  <a:moveTo>
                    <a:pt x="91" y="175"/>
                  </a:moveTo>
                  <a:lnTo>
                    <a:pt x="91" y="175"/>
                  </a:lnTo>
                  <a:cubicBezTo>
                    <a:pt x="114" y="160"/>
                    <a:pt x="145" y="160"/>
                    <a:pt x="152" y="137"/>
                  </a:cubicBezTo>
                  <a:cubicBezTo>
                    <a:pt x="160" y="107"/>
                    <a:pt x="130" y="84"/>
                    <a:pt x="122" y="61"/>
                  </a:cubicBezTo>
                  <a:lnTo>
                    <a:pt x="122" y="61"/>
                  </a:lnTo>
                  <a:cubicBezTo>
                    <a:pt x="114" y="46"/>
                    <a:pt x="91" y="30"/>
                    <a:pt x="99" y="15"/>
                  </a:cubicBezTo>
                  <a:cubicBezTo>
                    <a:pt x="99" y="0"/>
                    <a:pt x="130" y="0"/>
                    <a:pt x="145" y="0"/>
                  </a:cubicBezTo>
                  <a:lnTo>
                    <a:pt x="145" y="0"/>
                  </a:lnTo>
                  <a:cubicBezTo>
                    <a:pt x="229" y="30"/>
                    <a:pt x="229" y="30"/>
                    <a:pt x="229" y="30"/>
                  </a:cubicBezTo>
                  <a:lnTo>
                    <a:pt x="229" y="30"/>
                  </a:lnTo>
                  <a:cubicBezTo>
                    <a:pt x="244" y="46"/>
                    <a:pt x="259" y="53"/>
                    <a:pt x="259" y="69"/>
                  </a:cubicBezTo>
                  <a:cubicBezTo>
                    <a:pt x="259" y="84"/>
                    <a:pt x="244" y="84"/>
                    <a:pt x="244" y="99"/>
                  </a:cubicBezTo>
                  <a:cubicBezTo>
                    <a:pt x="244" y="107"/>
                    <a:pt x="237" y="107"/>
                    <a:pt x="237" y="114"/>
                  </a:cubicBezTo>
                  <a:lnTo>
                    <a:pt x="237" y="114"/>
                  </a:lnTo>
                  <a:cubicBezTo>
                    <a:pt x="237" y="130"/>
                    <a:pt x="244" y="145"/>
                    <a:pt x="244" y="160"/>
                  </a:cubicBezTo>
                  <a:cubicBezTo>
                    <a:pt x="252" y="168"/>
                    <a:pt x="275" y="168"/>
                    <a:pt x="275" y="175"/>
                  </a:cubicBezTo>
                  <a:cubicBezTo>
                    <a:pt x="282" y="191"/>
                    <a:pt x="267" y="214"/>
                    <a:pt x="267" y="229"/>
                  </a:cubicBezTo>
                  <a:lnTo>
                    <a:pt x="267" y="229"/>
                  </a:lnTo>
                  <a:cubicBezTo>
                    <a:pt x="252" y="244"/>
                    <a:pt x="244" y="260"/>
                    <a:pt x="229" y="275"/>
                  </a:cubicBezTo>
                  <a:cubicBezTo>
                    <a:pt x="221" y="282"/>
                    <a:pt x="206" y="275"/>
                    <a:pt x="206" y="282"/>
                  </a:cubicBezTo>
                  <a:cubicBezTo>
                    <a:pt x="191" y="305"/>
                    <a:pt x="191" y="336"/>
                    <a:pt x="168" y="359"/>
                  </a:cubicBezTo>
                  <a:cubicBezTo>
                    <a:pt x="160" y="367"/>
                    <a:pt x="130" y="351"/>
                    <a:pt x="130" y="367"/>
                  </a:cubicBezTo>
                  <a:cubicBezTo>
                    <a:pt x="122" y="397"/>
                    <a:pt x="137" y="435"/>
                    <a:pt x="137" y="466"/>
                  </a:cubicBezTo>
                  <a:lnTo>
                    <a:pt x="137" y="466"/>
                  </a:lnTo>
                  <a:cubicBezTo>
                    <a:pt x="99" y="481"/>
                    <a:pt x="99" y="481"/>
                    <a:pt x="99" y="481"/>
                  </a:cubicBezTo>
                  <a:lnTo>
                    <a:pt x="99" y="481"/>
                  </a:lnTo>
                  <a:cubicBezTo>
                    <a:pt x="30" y="473"/>
                    <a:pt x="30" y="473"/>
                    <a:pt x="30" y="473"/>
                  </a:cubicBezTo>
                  <a:lnTo>
                    <a:pt x="30" y="473"/>
                  </a:lnTo>
                  <a:cubicBezTo>
                    <a:pt x="53" y="473"/>
                    <a:pt x="61" y="443"/>
                    <a:pt x="61" y="420"/>
                  </a:cubicBezTo>
                  <a:cubicBezTo>
                    <a:pt x="53" y="389"/>
                    <a:pt x="0" y="382"/>
                    <a:pt x="7" y="351"/>
                  </a:cubicBezTo>
                  <a:cubicBezTo>
                    <a:pt x="15" y="328"/>
                    <a:pt x="68" y="344"/>
                    <a:pt x="76" y="321"/>
                  </a:cubicBezTo>
                  <a:cubicBezTo>
                    <a:pt x="84" y="305"/>
                    <a:pt x="45" y="290"/>
                    <a:pt x="53" y="267"/>
                  </a:cubicBezTo>
                  <a:cubicBezTo>
                    <a:pt x="53" y="252"/>
                    <a:pt x="76" y="244"/>
                    <a:pt x="91" y="229"/>
                  </a:cubicBezTo>
                  <a:cubicBezTo>
                    <a:pt x="99" y="221"/>
                    <a:pt x="130" y="229"/>
                    <a:pt x="130" y="214"/>
                  </a:cubicBezTo>
                  <a:cubicBezTo>
                    <a:pt x="130" y="198"/>
                    <a:pt x="99" y="191"/>
                    <a:pt x="91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2"/>
            <p:cNvSpPr>
              <a:spLocks noChangeArrowheads="1"/>
            </p:cNvSpPr>
            <p:nvPr/>
          </p:nvSpPr>
          <p:spPr bwMode="auto">
            <a:xfrm>
              <a:off x="6736912" y="7104063"/>
              <a:ext cx="119055" cy="100012"/>
            </a:xfrm>
            <a:custGeom>
              <a:avLst/>
              <a:gdLst>
                <a:gd name="T0" fmla="*/ 0 w 329"/>
                <a:gd name="T1" fmla="*/ 91 h 276"/>
                <a:gd name="T2" fmla="*/ 0 w 329"/>
                <a:gd name="T3" fmla="*/ 91 h 276"/>
                <a:gd name="T4" fmla="*/ 7 w 329"/>
                <a:gd name="T5" fmla="*/ 137 h 276"/>
                <a:gd name="T6" fmla="*/ 38 w 329"/>
                <a:gd name="T7" fmla="*/ 152 h 276"/>
                <a:gd name="T8" fmla="*/ 30 w 329"/>
                <a:gd name="T9" fmla="*/ 206 h 276"/>
                <a:gd name="T10" fmla="*/ 30 w 329"/>
                <a:gd name="T11" fmla="*/ 206 h 276"/>
                <a:gd name="T12" fmla="*/ 91 w 329"/>
                <a:gd name="T13" fmla="*/ 252 h 276"/>
                <a:gd name="T14" fmla="*/ 122 w 329"/>
                <a:gd name="T15" fmla="*/ 252 h 276"/>
                <a:gd name="T16" fmla="*/ 160 w 329"/>
                <a:gd name="T17" fmla="*/ 275 h 276"/>
                <a:gd name="T18" fmla="*/ 236 w 329"/>
                <a:gd name="T19" fmla="*/ 275 h 276"/>
                <a:gd name="T20" fmla="*/ 236 w 329"/>
                <a:gd name="T21" fmla="*/ 275 h 276"/>
                <a:gd name="T22" fmla="*/ 290 w 329"/>
                <a:gd name="T23" fmla="*/ 206 h 276"/>
                <a:gd name="T24" fmla="*/ 305 w 329"/>
                <a:gd name="T25" fmla="*/ 114 h 276"/>
                <a:gd name="T26" fmla="*/ 328 w 329"/>
                <a:gd name="T27" fmla="*/ 61 h 276"/>
                <a:gd name="T28" fmla="*/ 328 w 329"/>
                <a:gd name="T29" fmla="*/ 61 h 276"/>
                <a:gd name="T30" fmla="*/ 290 w 329"/>
                <a:gd name="T31" fmla="*/ 23 h 276"/>
                <a:gd name="T32" fmla="*/ 190 w 329"/>
                <a:gd name="T33" fmla="*/ 0 h 276"/>
                <a:gd name="T34" fmla="*/ 167 w 329"/>
                <a:gd name="T35" fmla="*/ 30 h 276"/>
                <a:gd name="T36" fmla="*/ 114 w 329"/>
                <a:gd name="T37" fmla="*/ 38 h 276"/>
                <a:gd name="T38" fmla="*/ 83 w 329"/>
                <a:gd name="T39" fmla="*/ 91 h 276"/>
                <a:gd name="T40" fmla="*/ 0 w 329"/>
                <a:gd name="T41" fmla="*/ 9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9" h="276">
                  <a:moveTo>
                    <a:pt x="0" y="91"/>
                  </a:moveTo>
                  <a:lnTo>
                    <a:pt x="0" y="91"/>
                  </a:lnTo>
                  <a:cubicBezTo>
                    <a:pt x="0" y="107"/>
                    <a:pt x="7" y="122"/>
                    <a:pt x="7" y="137"/>
                  </a:cubicBezTo>
                  <a:cubicBezTo>
                    <a:pt x="15" y="145"/>
                    <a:pt x="38" y="145"/>
                    <a:pt x="38" y="152"/>
                  </a:cubicBezTo>
                  <a:cubicBezTo>
                    <a:pt x="45" y="168"/>
                    <a:pt x="30" y="191"/>
                    <a:pt x="30" y="206"/>
                  </a:cubicBezTo>
                  <a:lnTo>
                    <a:pt x="30" y="206"/>
                  </a:lnTo>
                  <a:cubicBezTo>
                    <a:pt x="53" y="221"/>
                    <a:pt x="68" y="244"/>
                    <a:pt x="91" y="252"/>
                  </a:cubicBezTo>
                  <a:cubicBezTo>
                    <a:pt x="106" y="259"/>
                    <a:pt x="114" y="252"/>
                    <a:pt x="122" y="252"/>
                  </a:cubicBezTo>
                  <a:cubicBezTo>
                    <a:pt x="137" y="259"/>
                    <a:pt x="152" y="267"/>
                    <a:pt x="160" y="275"/>
                  </a:cubicBezTo>
                  <a:cubicBezTo>
                    <a:pt x="183" y="275"/>
                    <a:pt x="213" y="275"/>
                    <a:pt x="236" y="275"/>
                  </a:cubicBezTo>
                  <a:lnTo>
                    <a:pt x="236" y="275"/>
                  </a:lnTo>
                  <a:cubicBezTo>
                    <a:pt x="252" y="252"/>
                    <a:pt x="282" y="229"/>
                    <a:pt x="290" y="206"/>
                  </a:cubicBezTo>
                  <a:cubicBezTo>
                    <a:pt x="305" y="175"/>
                    <a:pt x="297" y="145"/>
                    <a:pt x="305" y="114"/>
                  </a:cubicBezTo>
                  <a:cubicBezTo>
                    <a:pt x="305" y="99"/>
                    <a:pt x="320" y="84"/>
                    <a:pt x="328" y="61"/>
                  </a:cubicBezTo>
                  <a:lnTo>
                    <a:pt x="328" y="61"/>
                  </a:lnTo>
                  <a:cubicBezTo>
                    <a:pt x="313" y="53"/>
                    <a:pt x="305" y="30"/>
                    <a:pt x="290" y="23"/>
                  </a:cubicBezTo>
                  <a:cubicBezTo>
                    <a:pt x="259" y="7"/>
                    <a:pt x="221" y="0"/>
                    <a:pt x="190" y="0"/>
                  </a:cubicBezTo>
                  <a:cubicBezTo>
                    <a:pt x="175" y="7"/>
                    <a:pt x="183" y="30"/>
                    <a:pt x="167" y="30"/>
                  </a:cubicBezTo>
                  <a:cubicBezTo>
                    <a:pt x="152" y="38"/>
                    <a:pt x="129" y="30"/>
                    <a:pt x="114" y="38"/>
                  </a:cubicBezTo>
                  <a:cubicBezTo>
                    <a:pt x="99" y="53"/>
                    <a:pt x="99" y="84"/>
                    <a:pt x="83" y="91"/>
                  </a:cubicBezTo>
                  <a:cubicBezTo>
                    <a:pt x="61" y="99"/>
                    <a:pt x="30" y="91"/>
                    <a:pt x="0" y="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13"/>
            <p:cNvSpPr>
              <a:spLocks noChangeArrowheads="1"/>
            </p:cNvSpPr>
            <p:nvPr/>
          </p:nvSpPr>
          <p:spPr bwMode="auto">
            <a:xfrm>
              <a:off x="6694052" y="7178676"/>
              <a:ext cx="146040" cy="119063"/>
            </a:xfrm>
            <a:custGeom>
              <a:avLst/>
              <a:gdLst>
                <a:gd name="T0" fmla="*/ 145 w 406"/>
                <a:gd name="T1" fmla="*/ 0 h 329"/>
                <a:gd name="T2" fmla="*/ 145 w 406"/>
                <a:gd name="T3" fmla="*/ 0 h 329"/>
                <a:gd name="T4" fmla="*/ 206 w 406"/>
                <a:gd name="T5" fmla="*/ 46 h 329"/>
                <a:gd name="T6" fmla="*/ 237 w 406"/>
                <a:gd name="T7" fmla="*/ 46 h 329"/>
                <a:gd name="T8" fmla="*/ 275 w 406"/>
                <a:gd name="T9" fmla="*/ 69 h 329"/>
                <a:gd name="T10" fmla="*/ 351 w 406"/>
                <a:gd name="T11" fmla="*/ 69 h 329"/>
                <a:gd name="T12" fmla="*/ 351 w 406"/>
                <a:gd name="T13" fmla="*/ 69 h 329"/>
                <a:gd name="T14" fmla="*/ 405 w 406"/>
                <a:gd name="T15" fmla="*/ 115 h 329"/>
                <a:gd name="T16" fmla="*/ 367 w 406"/>
                <a:gd name="T17" fmla="*/ 191 h 329"/>
                <a:gd name="T18" fmla="*/ 344 w 406"/>
                <a:gd name="T19" fmla="*/ 214 h 329"/>
                <a:gd name="T20" fmla="*/ 344 w 406"/>
                <a:gd name="T21" fmla="*/ 214 h 329"/>
                <a:gd name="T22" fmla="*/ 290 w 406"/>
                <a:gd name="T23" fmla="*/ 252 h 329"/>
                <a:gd name="T24" fmla="*/ 244 w 406"/>
                <a:gd name="T25" fmla="*/ 237 h 329"/>
                <a:gd name="T26" fmla="*/ 176 w 406"/>
                <a:gd name="T27" fmla="*/ 237 h 329"/>
                <a:gd name="T28" fmla="*/ 153 w 406"/>
                <a:gd name="T29" fmla="*/ 328 h 329"/>
                <a:gd name="T30" fmla="*/ 99 w 406"/>
                <a:gd name="T31" fmla="*/ 305 h 329"/>
                <a:gd name="T32" fmla="*/ 99 w 406"/>
                <a:gd name="T33" fmla="*/ 267 h 329"/>
                <a:gd name="T34" fmla="*/ 15 w 406"/>
                <a:gd name="T35" fmla="*/ 237 h 329"/>
                <a:gd name="T36" fmla="*/ 15 w 406"/>
                <a:gd name="T37" fmla="*/ 237 h 329"/>
                <a:gd name="T38" fmla="*/ 8 w 406"/>
                <a:gd name="T39" fmla="*/ 138 h 329"/>
                <a:gd name="T40" fmla="*/ 46 w 406"/>
                <a:gd name="T41" fmla="*/ 130 h 329"/>
                <a:gd name="T42" fmla="*/ 84 w 406"/>
                <a:gd name="T43" fmla="*/ 53 h 329"/>
                <a:gd name="T44" fmla="*/ 107 w 406"/>
                <a:gd name="T45" fmla="*/ 46 h 329"/>
                <a:gd name="T46" fmla="*/ 145 w 406"/>
                <a:gd name="T4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6" h="329">
                  <a:moveTo>
                    <a:pt x="145" y="0"/>
                  </a:moveTo>
                  <a:lnTo>
                    <a:pt x="145" y="0"/>
                  </a:lnTo>
                  <a:cubicBezTo>
                    <a:pt x="168" y="15"/>
                    <a:pt x="183" y="38"/>
                    <a:pt x="206" y="46"/>
                  </a:cubicBezTo>
                  <a:cubicBezTo>
                    <a:pt x="221" y="53"/>
                    <a:pt x="229" y="46"/>
                    <a:pt x="237" y="46"/>
                  </a:cubicBezTo>
                  <a:cubicBezTo>
                    <a:pt x="252" y="53"/>
                    <a:pt x="267" y="61"/>
                    <a:pt x="275" y="69"/>
                  </a:cubicBezTo>
                  <a:cubicBezTo>
                    <a:pt x="298" y="69"/>
                    <a:pt x="328" y="69"/>
                    <a:pt x="351" y="69"/>
                  </a:cubicBezTo>
                  <a:lnTo>
                    <a:pt x="351" y="69"/>
                  </a:lnTo>
                  <a:cubicBezTo>
                    <a:pt x="367" y="84"/>
                    <a:pt x="397" y="92"/>
                    <a:pt x="405" y="115"/>
                  </a:cubicBezTo>
                  <a:cubicBezTo>
                    <a:pt x="405" y="145"/>
                    <a:pt x="382" y="168"/>
                    <a:pt x="367" y="191"/>
                  </a:cubicBezTo>
                  <a:cubicBezTo>
                    <a:pt x="367" y="199"/>
                    <a:pt x="351" y="206"/>
                    <a:pt x="344" y="214"/>
                  </a:cubicBezTo>
                  <a:lnTo>
                    <a:pt x="344" y="214"/>
                  </a:lnTo>
                  <a:cubicBezTo>
                    <a:pt x="321" y="229"/>
                    <a:pt x="313" y="252"/>
                    <a:pt x="290" y="252"/>
                  </a:cubicBezTo>
                  <a:cubicBezTo>
                    <a:pt x="275" y="260"/>
                    <a:pt x="260" y="237"/>
                    <a:pt x="244" y="237"/>
                  </a:cubicBezTo>
                  <a:cubicBezTo>
                    <a:pt x="221" y="229"/>
                    <a:pt x="198" y="237"/>
                    <a:pt x="176" y="237"/>
                  </a:cubicBezTo>
                  <a:cubicBezTo>
                    <a:pt x="176" y="237"/>
                    <a:pt x="153" y="321"/>
                    <a:pt x="153" y="328"/>
                  </a:cubicBezTo>
                  <a:cubicBezTo>
                    <a:pt x="145" y="328"/>
                    <a:pt x="99" y="305"/>
                    <a:pt x="99" y="305"/>
                  </a:cubicBezTo>
                  <a:cubicBezTo>
                    <a:pt x="92" y="305"/>
                    <a:pt x="99" y="267"/>
                    <a:pt x="99" y="267"/>
                  </a:cubicBezTo>
                  <a:cubicBezTo>
                    <a:pt x="69" y="260"/>
                    <a:pt x="46" y="252"/>
                    <a:pt x="15" y="237"/>
                  </a:cubicBezTo>
                  <a:lnTo>
                    <a:pt x="15" y="237"/>
                  </a:lnTo>
                  <a:cubicBezTo>
                    <a:pt x="15" y="206"/>
                    <a:pt x="0" y="168"/>
                    <a:pt x="8" y="138"/>
                  </a:cubicBezTo>
                  <a:cubicBezTo>
                    <a:pt x="8" y="122"/>
                    <a:pt x="38" y="138"/>
                    <a:pt x="46" y="130"/>
                  </a:cubicBezTo>
                  <a:cubicBezTo>
                    <a:pt x="69" y="107"/>
                    <a:pt x="69" y="76"/>
                    <a:pt x="84" y="53"/>
                  </a:cubicBezTo>
                  <a:cubicBezTo>
                    <a:pt x="84" y="46"/>
                    <a:pt x="99" y="53"/>
                    <a:pt x="107" y="46"/>
                  </a:cubicBezTo>
                  <a:cubicBezTo>
                    <a:pt x="122" y="31"/>
                    <a:pt x="130" y="15"/>
                    <a:pt x="145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14"/>
            <p:cNvSpPr>
              <a:spLocks noChangeArrowheads="1"/>
            </p:cNvSpPr>
            <p:nvPr/>
          </p:nvSpPr>
          <p:spPr bwMode="auto">
            <a:xfrm>
              <a:off x="6203547" y="7239000"/>
              <a:ext cx="638133" cy="409575"/>
            </a:xfrm>
            <a:custGeom>
              <a:avLst/>
              <a:gdLst>
                <a:gd name="T0" fmla="*/ 580 w 1773"/>
                <a:gd name="T1" fmla="*/ 176 h 1139"/>
                <a:gd name="T2" fmla="*/ 687 w 1773"/>
                <a:gd name="T3" fmla="*/ 199 h 1139"/>
                <a:gd name="T4" fmla="*/ 825 w 1773"/>
                <a:gd name="T5" fmla="*/ 168 h 1139"/>
                <a:gd name="T6" fmla="*/ 848 w 1773"/>
                <a:gd name="T7" fmla="*/ 153 h 1139"/>
                <a:gd name="T8" fmla="*/ 947 w 1773"/>
                <a:gd name="T9" fmla="*/ 115 h 1139"/>
                <a:gd name="T10" fmla="*/ 1061 w 1773"/>
                <a:gd name="T11" fmla="*/ 46 h 1139"/>
                <a:gd name="T12" fmla="*/ 1100 w 1773"/>
                <a:gd name="T13" fmla="*/ 0 h 1139"/>
                <a:gd name="T14" fmla="*/ 1214 w 1773"/>
                <a:gd name="T15" fmla="*/ 53 h 1139"/>
                <a:gd name="T16" fmla="*/ 1275 w 1773"/>
                <a:gd name="T17" fmla="*/ 76 h 1139"/>
                <a:gd name="T18" fmla="*/ 1344 w 1773"/>
                <a:gd name="T19" fmla="*/ 84 h 1139"/>
                <a:gd name="T20" fmla="*/ 1382 w 1773"/>
                <a:gd name="T21" fmla="*/ 69 h 1139"/>
                <a:gd name="T22" fmla="*/ 1466 w 1773"/>
                <a:gd name="T23" fmla="*/ 137 h 1139"/>
                <a:gd name="T24" fmla="*/ 1543 w 1773"/>
                <a:gd name="T25" fmla="*/ 69 h 1139"/>
                <a:gd name="T26" fmla="*/ 1657 w 1773"/>
                <a:gd name="T27" fmla="*/ 84 h 1139"/>
                <a:gd name="T28" fmla="*/ 1711 w 1773"/>
                <a:gd name="T29" fmla="*/ 46 h 1139"/>
                <a:gd name="T30" fmla="*/ 1734 w 1773"/>
                <a:gd name="T31" fmla="*/ 176 h 1139"/>
                <a:gd name="T32" fmla="*/ 1772 w 1773"/>
                <a:gd name="T33" fmla="*/ 389 h 1139"/>
                <a:gd name="T34" fmla="*/ 1764 w 1773"/>
                <a:gd name="T35" fmla="*/ 466 h 1139"/>
                <a:gd name="T36" fmla="*/ 1718 w 1773"/>
                <a:gd name="T37" fmla="*/ 520 h 1139"/>
                <a:gd name="T38" fmla="*/ 1634 w 1773"/>
                <a:gd name="T39" fmla="*/ 588 h 1139"/>
                <a:gd name="T40" fmla="*/ 1482 w 1773"/>
                <a:gd name="T41" fmla="*/ 626 h 1139"/>
                <a:gd name="T42" fmla="*/ 1214 w 1773"/>
                <a:gd name="T43" fmla="*/ 779 h 1139"/>
                <a:gd name="T44" fmla="*/ 1107 w 1773"/>
                <a:gd name="T45" fmla="*/ 909 h 1139"/>
                <a:gd name="T46" fmla="*/ 1100 w 1773"/>
                <a:gd name="T47" fmla="*/ 1001 h 1139"/>
                <a:gd name="T48" fmla="*/ 993 w 1773"/>
                <a:gd name="T49" fmla="*/ 1085 h 1139"/>
                <a:gd name="T50" fmla="*/ 848 w 1773"/>
                <a:gd name="T51" fmla="*/ 1131 h 1139"/>
                <a:gd name="T52" fmla="*/ 756 w 1773"/>
                <a:gd name="T53" fmla="*/ 1031 h 1139"/>
                <a:gd name="T54" fmla="*/ 596 w 1773"/>
                <a:gd name="T55" fmla="*/ 1069 h 1139"/>
                <a:gd name="T56" fmla="*/ 573 w 1773"/>
                <a:gd name="T57" fmla="*/ 1054 h 1139"/>
                <a:gd name="T58" fmla="*/ 504 w 1773"/>
                <a:gd name="T59" fmla="*/ 1031 h 1139"/>
                <a:gd name="T60" fmla="*/ 404 w 1773"/>
                <a:gd name="T61" fmla="*/ 886 h 1139"/>
                <a:gd name="T62" fmla="*/ 290 w 1773"/>
                <a:gd name="T63" fmla="*/ 703 h 1139"/>
                <a:gd name="T64" fmla="*/ 236 w 1773"/>
                <a:gd name="T65" fmla="*/ 634 h 1139"/>
                <a:gd name="T66" fmla="*/ 206 w 1773"/>
                <a:gd name="T67" fmla="*/ 603 h 1139"/>
                <a:gd name="T68" fmla="*/ 114 w 1773"/>
                <a:gd name="T69" fmla="*/ 351 h 1139"/>
                <a:gd name="T70" fmla="*/ 46 w 1773"/>
                <a:gd name="T71" fmla="*/ 321 h 1139"/>
                <a:gd name="T72" fmla="*/ 0 w 1773"/>
                <a:gd name="T73" fmla="*/ 237 h 1139"/>
                <a:gd name="T74" fmla="*/ 137 w 1773"/>
                <a:gd name="T75" fmla="*/ 206 h 1139"/>
                <a:gd name="T76" fmla="*/ 275 w 1773"/>
                <a:gd name="T77" fmla="*/ 206 h 1139"/>
                <a:gd name="T78" fmla="*/ 580 w 1773"/>
                <a:gd name="T79" fmla="*/ 176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3" h="1139">
                  <a:moveTo>
                    <a:pt x="580" y="176"/>
                  </a:moveTo>
                  <a:lnTo>
                    <a:pt x="580" y="176"/>
                  </a:lnTo>
                  <a:cubicBezTo>
                    <a:pt x="596" y="183"/>
                    <a:pt x="596" y="191"/>
                    <a:pt x="618" y="191"/>
                  </a:cubicBezTo>
                  <a:cubicBezTo>
                    <a:pt x="641" y="199"/>
                    <a:pt x="664" y="199"/>
                    <a:pt x="687" y="199"/>
                  </a:cubicBezTo>
                  <a:cubicBezTo>
                    <a:pt x="710" y="199"/>
                    <a:pt x="733" y="199"/>
                    <a:pt x="756" y="191"/>
                  </a:cubicBezTo>
                  <a:cubicBezTo>
                    <a:pt x="779" y="191"/>
                    <a:pt x="802" y="176"/>
                    <a:pt x="825" y="168"/>
                  </a:cubicBezTo>
                  <a:lnTo>
                    <a:pt x="825" y="168"/>
                  </a:lnTo>
                  <a:cubicBezTo>
                    <a:pt x="832" y="160"/>
                    <a:pt x="840" y="153"/>
                    <a:pt x="848" y="153"/>
                  </a:cubicBezTo>
                  <a:cubicBezTo>
                    <a:pt x="863" y="153"/>
                    <a:pt x="878" y="160"/>
                    <a:pt x="886" y="160"/>
                  </a:cubicBezTo>
                  <a:cubicBezTo>
                    <a:pt x="909" y="145"/>
                    <a:pt x="924" y="130"/>
                    <a:pt x="947" y="115"/>
                  </a:cubicBezTo>
                  <a:cubicBezTo>
                    <a:pt x="962" y="92"/>
                    <a:pt x="970" y="61"/>
                    <a:pt x="993" y="53"/>
                  </a:cubicBezTo>
                  <a:cubicBezTo>
                    <a:pt x="1015" y="38"/>
                    <a:pt x="1038" y="61"/>
                    <a:pt x="1061" y="46"/>
                  </a:cubicBezTo>
                  <a:cubicBezTo>
                    <a:pt x="1077" y="38"/>
                    <a:pt x="1084" y="15"/>
                    <a:pt x="1100" y="0"/>
                  </a:cubicBezTo>
                  <a:lnTo>
                    <a:pt x="1100" y="0"/>
                  </a:lnTo>
                  <a:cubicBezTo>
                    <a:pt x="1123" y="23"/>
                    <a:pt x="1145" y="46"/>
                    <a:pt x="1176" y="61"/>
                  </a:cubicBezTo>
                  <a:cubicBezTo>
                    <a:pt x="1191" y="69"/>
                    <a:pt x="1207" y="53"/>
                    <a:pt x="1214" y="53"/>
                  </a:cubicBezTo>
                  <a:cubicBezTo>
                    <a:pt x="1237" y="61"/>
                    <a:pt x="1252" y="84"/>
                    <a:pt x="1275" y="76"/>
                  </a:cubicBezTo>
                  <a:lnTo>
                    <a:pt x="1275" y="76"/>
                  </a:lnTo>
                  <a:cubicBezTo>
                    <a:pt x="1344" y="84"/>
                    <a:pt x="1344" y="84"/>
                    <a:pt x="1344" y="84"/>
                  </a:cubicBezTo>
                  <a:lnTo>
                    <a:pt x="1344" y="84"/>
                  </a:lnTo>
                  <a:cubicBezTo>
                    <a:pt x="1382" y="69"/>
                    <a:pt x="1382" y="69"/>
                    <a:pt x="1382" y="69"/>
                  </a:cubicBezTo>
                  <a:lnTo>
                    <a:pt x="1382" y="69"/>
                  </a:lnTo>
                  <a:cubicBezTo>
                    <a:pt x="1413" y="84"/>
                    <a:pt x="1436" y="92"/>
                    <a:pt x="1466" y="99"/>
                  </a:cubicBezTo>
                  <a:cubicBezTo>
                    <a:pt x="1466" y="99"/>
                    <a:pt x="1459" y="137"/>
                    <a:pt x="1466" y="137"/>
                  </a:cubicBezTo>
                  <a:cubicBezTo>
                    <a:pt x="1466" y="137"/>
                    <a:pt x="1512" y="160"/>
                    <a:pt x="1520" y="160"/>
                  </a:cubicBezTo>
                  <a:cubicBezTo>
                    <a:pt x="1520" y="153"/>
                    <a:pt x="1543" y="69"/>
                    <a:pt x="1543" y="69"/>
                  </a:cubicBezTo>
                  <a:cubicBezTo>
                    <a:pt x="1565" y="69"/>
                    <a:pt x="1588" y="61"/>
                    <a:pt x="1611" y="69"/>
                  </a:cubicBezTo>
                  <a:cubicBezTo>
                    <a:pt x="1627" y="69"/>
                    <a:pt x="1642" y="92"/>
                    <a:pt x="1657" y="84"/>
                  </a:cubicBezTo>
                  <a:cubicBezTo>
                    <a:pt x="1680" y="84"/>
                    <a:pt x="1688" y="61"/>
                    <a:pt x="1711" y="46"/>
                  </a:cubicBezTo>
                  <a:lnTo>
                    <a:pt x="1711" y="46"/>
                  </a:lnTo>
                  <a:cubicBezTo>
                    <a:pt x="1718" y="61"/>
                    <a:pt x="1734" y="76"/>
                    <a:pt x="1734" y="99"/>
                  </a:cubicBezTo>
                  <a:cubicBezTo>
                    <a:pt x="1741" y="122"/>
                    <a:pt x="1734" y="153"/>
                    <a:pt x="1734" y="176"/>
                  </a:cubicBezTo>
                  <a:cubicBezTo>
                    <a:pt x="1734" y="222"/>
                    <a:pt x="1726" y="260"/>
                    <a:pt x="1734" y="298"/>
                  </a:cubicBezTo>
                  <a:cubicBezTo>
                    <a:pt x="1741" y="336"/>
                    <a:pt x="1764" y="359"/>
                    <a:pt x="1772" y="389"/>
                  </a:cubicBezTo>
                  <a:cubicBezTo>
                    <a:pt x="1772" y="405"/>
                    <a:pt x="1764" y="412"/>
                    <a:pt x="1764" y="420"/>
                  </a:cubicBezTo>
                  <a:cubicBezTo>
                    <a:pt x="1764" y="435"/>
                    <a:pt x="1764" y="451"/>
                    <a:pt x="1764" y="466"/>
                  </a:cubicBezTo>
                  <a:lnTo>
                    <a:pt x="1764" y="466"/>
                  </a:lnTo>
                  <a:cubicBezTo>
                    <a:pt x="1749" y="481"/>
                    <a:pt x="1741" y="504"/>
                    <a:pt x="1718" y="520"/>
                  </a:cubicBezTo>
                  <a:cubicBezTo>
                    <a:pt x="1711" y="520"/>
                    <a:pt x="1695" y="512"/>
                    <a:pt x="1688" y="520"/>
                  </a:cubicBezTo>
                  <a:cubicBezTo>
                    <a:pt x="1657" y="535"/>
                    <a:pt x="1657" y="581"/>
                    <a:pt x="1634" y="588"/>
                  </a:cubicBezTo>
                  <a:cubicBezTo>
                    <a:pt x="1588" y="596"/>
                    <a:pt x="1558" y="535"/>
                    <a:pt x="1520" y="542"/>
                  </a:cubicBezTo>
                  <a:cubicBezTo>
                    <a:pt x="1489" y="550"/>
                    <a:pt x="1504" y="603"/>
                    <a:pt x="1482" y="626"/>
                  </a:cubicBezTo>
                  <a:cubicBezTo>
                    <a:pt x="1443" y="680"/>
                    <a:pt x="1405" y="741"/>
                    <a:pt x="1352" y="772"/>
                  </a:cubicBezTo>
                  <a:cubicBezTo>
                    <a:pt x="1313" y="795"/>
                    <a:pt x="1252" y="756"/>
                    <a:pt x="1214" y="779"/>
                  </a:cubicBezTo>
                  <a:cubicBezTo>
                    <a:pt x="1184" y="795"/>
                    <a:pt x="1176" y="833"/>
                    <a:pt x="1161" y="863"/>
                  </a:cubicBezTo>
                  <a:cubicBezTo>
                    <a:pt x="1145" y="878"/>
                    <a:pt x="1123" y="894"/>
                    <a:pt x="1107" y="909"/>
                  </a:cubicBezTo>
                  <a:cubicBezTo>
                    <a:pt x="1100" y="939"/>
                    <a:pt x="1100" y="970"/>
                    <a:pt x="1100" y="1001"/>
                  </a:cubicBezTo>
                  <a:lnTo>
                    <a:pt x="1100" y="1001"/>
                  </a:lnTo>
                  <a:cubicBezTo>
                    <a:pt x="1100" y="1001"/>
                    <a:pt x="1015" y="1039"/>
                    <a:pt x="1008" y="1039"/>
                  </a:cubicBezTo>
                  <a:cubicBezTo>
                    <a:pt x="993" y="1047"/>
                    <a:pt x="993" y="1085"/>
                    <a:pt x="993" y="1085"/>
                  </a:cubicBezTo>
                  <a:cubicBezTo>
                    <a:pt x="954" y="1077"/>
                    <a:pt x="916" y="1054"/>
                    <a:pt x="878" y="1069"/>
                  </a:cubicBezTo>
                  <a:cubicBezTo>
                    <a:pt x="855" y="1077"/>
                    <a:pt x="871" y="1131"/>
                    <a:pt x="848" y="1131"/>
                  </a:cubicBezTo>
                  <a:cubicBezTo>
                    <a:pt x="817" y="1138"/>
                    <a:pt x="786" y="1115"/>
                    <a:pt x="763" y="1092"/>
                  </a:cubicBezTo>
                  <a:cubicBezTo>
                    <a:pt x="756" y="1077"/>
                    <a:pt x="771" y="1047"/>
                    <a:pt x="756" y="1031"/>
                  </a:cubicBezTo>
                  <a:cubicBezTo>
                    <a:pt x="733" y="1008"/>
                    <a:pt x="702" y="1008"/>
                    <a:pt x="679" y="1016"/>
                  </a:cubicBezTo>
                  <a:cubicBezTo>
                    <a:pt x="649" y="1024"/>
                    <a:pt x="626" y="1054"/>
                    <a:pt x="596" y="1069"/>
                  </a:cubicBezTo>
                  <a:lnTo>
                    <a:pt x="596" y="1069"/>
                  </a:lnTo>
                  <a:cubicBezTo>
                    <a:pt x="596" y="1062"/>
                    <a:pt x="580" y="1054"/>
                    <a:pt x="573" y="1054"/>
                  </a:cubicBezTo>
                  <a:cubicBezTo>
                    <a:pt x="565" y="1047"/>
                    <a:pt x="557" y="1039"/>
                    <a:pt x="550" y="1031"/>
                  </a:cubicBezTo>
                  <a:cubicBezTo>
                    <a:pt x="527" y="1008"/>
                    <a:pt x="534" y="1016"/>
                    <a:pt x="504" y="1031"/>
                  </a:cubicBezTo>
                  <a:cubicBezTo>
                    <a:pt x="427" y="1077"/>
                    <a:pt x="466" y="985"/>
                    <a:pt x="435" y="962"/>
                  </a:cubicBezTo>
                  <a:cubicBezTo>
                    <a:pt x="404" y="932"/>
                    <a:pt x="404" y="932"/>
                    <a:pt x="404" y="886"/>
                  </a:cubicBezTo>
                  <a:cubicBezTo>
                    <a:pt x="412" y="825"/>
                    <a:pt x="359" y="795"/>
                    <a:pt x="343" y="749"/>
                  </a:cubicBezTo>
                  <a:cubicBezTo>
                    <a:pt x="336" y="741"/>
                    <a:pt x="305" y="710"/>
                    <a:pt x="290" y="703"/>
                  </a:cubicBezTo>
                  <a:cubicBezTo>
                    <a:pt x="267" y="687"/>
                    <a:pt x="252" y="657"/>
                    <a:pt x="236" y="634"/>
                  </a:cubicBezTo>
                  <a:lnTo>
                    <a:pt x="236" y="634"/>
                  </a:lnTo>
                  <a:cubicBezTo>
                    <a:pt x="229" y="626"/>
                    <a:pt x="198" y="611"/>
                    <a:pt x="206" y="603"/>
                  </a:cubicBezTo>
                  <a:lnTo>
                    <a:pt x="206" y="603"/>
                  </a:lnTo>
                  <a:cubicBezTo>
                    <a:pt x="282" y="581"/>
                    <a:pt x="336" y="573"/>
                    <a:pt x="282" y="481"/>
                  </a:cubicBezTo>
                  <a:cubicBezTo>
                    <a:pt x="244" y="428"/>
                    <a:pt x="175" y="382"/>
                    <a:pt x="114" y="351"/>
                  </a:cubicBezTo>
                  <a:cubicBezTo>
                    <a:pt x="46" y="321"/>
                    <a:pt x="46" y="321"/>
                    <a:pt x="46" y="321"/>
                  </a:cubicBezTo>
                  <a:lnTo>
                    <a:pt x="46" y="321"/>
                  </a:lnTo>
                  <a:cubicBezTo>
                    <a:pt x="30" y="290"/>
                    <a:pt x="15" y="267"/>
                    <a:pt x="0" y="237"/>
                  </a:cubicBezTo>
                  <a:lnTo>
                    <a:pt x="0" y="237"/>
                  </a:lnTo>
                  <a:cubicBezTo>
                    <a:pt x="15" y="229"/>
                    <a:pt x="61" y="183"/>
                    <a:pt x="84" y="183"/>
                  </a:cubicBezTo>
                  <a:cubicBezTo>
                    <a:pt x="107" y="176"/>
                    <a:pt x="114" y="199"/>
                    <a:pt x="137" y="206"/>
                  </a:cubicBezTo>
                  <a:cubicBezTo>
                    <a:pt x="175" y="214"/>
                    <a:pt x="236" y="214"/>
                    <a:pt x="275" y="206"/>
                  </a:cubicBezTo>
                  <a:lnTo>
                    <a:pt x="275" y="206"/>
                  </a:lnTo>
                  <a:cubicBezTo>
                    <a:pt x="343" y="290"/>
                    <a:pt x="427" y="336"/>
                    <a:pt x="511" y="275"/>
                  </a:cubicBezTo>
                  <a:cubicBezTo>
                    <a:pt x="527" y="260"/>
                    <a:pt x="565" y="214"/>
                    <a:pt x="580" y="17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15"/>
            <p:cNvSpPr>
              <a:spLocks noChangeArrowheads="1"/>
            </p:cNvSpPr>
            <p:nvPr/>
          </p:nvSpPr>
          <p:spPr bwMode="auto">
            <a:xfrm>
              <a:off x="6043220" y="7272338"/>
              <a:ext cx="280969" cy="258762"/>
            </a:xfrm>
            <a:custGeom>
              <a:avLst/>
              <a:gdLst>
                <a:gd name="T0" fmla="*/ 488 w 779"/>
                <a:gd name="T1" fmla="*/ 229 h 719"/>
                <a:gd name="T2" fmla="*/ 488 w 779"/>
                <a:gd name="T3" fmla="*/ 229 h 719"/>
                <a:gd name="T4" fmla="*/ 518 w 779"/>
                <a:gd name="T5" fmla="*/ 343 h 719"/>
                <a:gd name="T6" fmla="*/ 114 w 779"/>
                <a:gd name="T7" fmla="*/ 0 h 719"/>
                <a:gd name="T8" fmla="*/ 30 w 779"/>
                <a:gd name="T9" fmla="*/ 7 h 719"/>
                <a:gd name="T10" fmla="*/ 30 w 779"/>
                <a:gd name="T11" fmla="*/ 7 h 719"/>
                <a:gd name="T12" fmla="*/ 0 w 779"/>
                <a:gd name="T13" fmla="*/ 99 h 719"/>
                <a:gd name="T14" fmla="*/ 30 w 779"/>
                <a:gd name="T15" fmla="*/ 160 h 719"/>
                <a:gd name="T16" fmla="*/ 61 w 779"/>
                <a:gd name="T17" fmla="*/ 145 h 719"/>
                <a:gd name="T18" fmla="*/ 91 w 779"/>
                <a:gd name="T19" fmla="*/ 198 h 719"/>
                <a:gd name="T20" fmla="*/ 61 w 779"/>
                <a:gd name="T21" fmla="*/ 236 h 719"/>
                <a:gd name="T22" fmla="*/ 84 w 779"/>
                <a:gd name="T23" fmla="*/ 282 h 719"/>
                <a:gd name="T24" fmla="*/ 122 w 779"/>
                <a:gd name="T25" fmla="*/ 297 h 719"/>
                <a:gd name="T26" fmla="*/ 130 w 779"/>
                <a:gd name="T27" fmla="*/ 374 h 719"/>
                <a:gd name="T28" fmla="*/ 168 w 779"/>
                <a:gd name="T29" fmla="*/ 435 h 719"/>
                <a:gd name="T30" fmla="*/ 221 w 779"/>
                <a:gd name="T31" fmla="*/ 519 h 719"/>
                <a:gd name="T32" fmla="*/ 296 w 779"/>
                <a:gd name="T33" fmla="*/ 504 h 719"/>
                <a:gd name="T34" fmla="*/ 327 w 779"/>
                <a:gd name="T35" fmla="*/ 511 h 719"/>
                <a:gd name="T36" fmla="*/ 335 w 779"/>
                <a:gd name="T37" fmla="*/ 618 h 719"/>
                <a:gd name="T38" fmla="*/ 381 w 779"/>
                <a:gd name="T39" fmla="*/ 626 h 719"/>
                <a:gd name="T40" fmla="*/ 404 w 779"/>
                <a:gd name="T41" fmla="*/ 718 h 719"/>
                <a:gd name="T42" fmla="*/ 404 w 779"/>
                <a:gd name="T43" fmla="*/ 718 h 719"/>
                <a:gd name="T44" fmla="*/ 472 w 779"/>
                <a:gd name="T45" fmla="*/ 687 h 719"/>
                <a:gd name="T46" fmla="*/ 549 w 779"/>
                <a:gd name="T47" fmla="*/ 664 h 719"/>
                <a:gd name="T48" fmla="*/ 602 w 779"/>
                <a:gd name="T49" fmla="*/ 588 h 719"/>
                <a:gd name="T50" fmla="*/ 678 w 779"/>
                <a:gd name="T51" fmla="*/ 542 h 719"/>
                <a:gd name="T52" fmla="*/ 678 w 779"/>
                <a:gd name="T53" fmla="*/ 542 h 719"/>
                <a:gd name="T54" fmla="*/ 648 w 779"/>
                <a:gd name="T55" fmla="*/ 511 h 719"/>
                <a:gd name="T56" fmla="*/ 648 w 779"/>
                <a:gd name="T57" fmla="*/ 511 h 719"/>
                <a:gd name="T58" fmla="*/ 724 w 779"/>
                <a:gd name="T59" fmla="*/ 389 h 719"/>
                <a:gd name="T60" fmla="*/ 556 w 779"/>
                <a:gd name="T61" fmla="*/ 259 h 719"/>
                <a:gd name="T62" fmla="*/ 488 w 779"/>
                <a:gd name="T63" fmla="*/ 22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9" h="719">
                  <a:moveTo>
                    <a:pt x="488" y="229"/>
                  </a:moveTo>
                  <a:lnTo>
                    <a:pt x="488" y="229"/>
                  </a:lnTo>
                  <a:cubicBezTo>
                    <a:pt x="503" y="259"/>
                    <a:pt x="518" y="297"/>
                    <a:pt x="518" y="343"/>
                  </a:cubicBezTo>
                  <a:cubicBezTo>
                    <a:pt x="426" y="366"/>
                    <a:pt x="206" y="0"/>
                    <a:pt x="114" y="0"/>
                  </a:cubicBezTo>
                  <a:cubicBezTo>
                    <a:pt x="84" y="0"/>
                    <a:pt x="61" y="0"/>
                    <a:pt x="30" y="7"/>
                  </a:cubicBezTo>
                  <a:lnTo>
                    <a:pt x="30" y="7"/>
                  </a:lnTo>
                  <a:cubicBezTo>
                    <a:pt x="22" y="45"/>
                    <a:pt x="7" y="53"/>
                    <a:pt x="0" y="99"/>
                  </a:cubicBezTo>
                  <a:cubicBezTo>
                    <a:pt x="0" y="114"/>
                    <a:pt x="15" y="145"/>
                    <a:pt x="30" y="160"/>
                  </a:cubicBezTo>
                  <a:cubicBezTo>
                    <a:pt x="38" y="160"/>
                    <a:pt x="53" y="145"/>
                    <a:pt x="61" y="145"/>
                  </a:cubicBezTo>
                  <a:cubicBezTo>
                    <a:pt x="76" y="160"/>
                    <a:pt x="91" y="175"/>
                    <a:pt x="91" y="198"/>
                  </a:cubicBezTo>
                  <a:cubicBezTo>
                    <a:pt x="91" y="214"/>
                    <a:pt x="61" y="221"/>
                    <a:pt x="61" y="236"/>
                  </a:cubicBezTo>
                  <a:cubicBezTo>
                    <a:pt x="61" y="252"/>
                    <a:pt x="76" y="267"/>
                    <a:pt x="84" y="282"/>
                  </a:cubicBezTo>
                  <a:cubicBezTo>
                    <a:pt x="99" y="290"/>
                    <a:pt x="122" y="282"/>
                    <a:pt x="122" y="297"/>
                  </a:cubicBezTo>
                  <a:cubicBezTo>
                    <a:pt x="137" y="320"/>
                    <a:pt x="122" y="351"/>
                    <a:pt x="130" y="374"/>
                  </a:cubicBezTo>
                  <a:cubicBezTo>
                    <a:pt x="137" y="397"/>
                    <a:pt x="160" y="412"/>
                    <a:pt x="168" y="435"/>
                  </a:cubicBezTo>
                  <a:cubicBezTo>
                    <a:pt x="191" y="458"/>
                    <a:pt x="191" y="504"/>
                    <a:pt x="221" y="519"/>
                  </a:cubicBezTo>
                  <a:cubicBezTo>
                    <a:pt x="244" y="527"/>
                    <a:pt x="275" y="504"/>
                    <a:pt x="296" y="504"/>
                  </a:cubicBezTo>
                  <a:cubicBezTo>
                    <a:pt x="304" y="504"/>
                    <a:pt x="327" y="504"/>
                    <a:pt x="327" y="511"/>
                  </a:cubicBezTo>
                  <a:cubicBezTo>
                    <a:pt x="342" y="550"/>
                    <a:pt x="319" y="588"/>
                    <a:pt x="335" y="618"/>
                  </a:cubicBezTo>
                  <a:cubicBezTo>
                    <a:pt x="342" y="634"/>
                    <a:pt x="373" y="618"/>
                    <a:pt x="381" y="626"/>
                  </a:cubicBezTo>
                  <a:cubicBezTo>
                    <a:pt x="396" y="657"/>
                    <a:pt x="396" y="687"/>
                    <a:pt x="404" y="718"/>
                  </a:cubicBezTo>
                  <a:lnTo>
                    <a:pt x="404" y="718"/>
                  </a:lnTo>
                  <a:cubicBezTo>
                    <a:pt x="426" y="710"/>
                    <a:pt x="449" y="695"/>
                    <a:pt x="472" y="687"/>
                  </a:cubicBezTo>
                  <a:cubicBezTo>
                    <a:pt x="495" y="680"/>
                    <a:pt x="533" y="680"/>
                    <a:pt x="549" y="664"/>
                  </a:cubicBezTo>
                  <a:cubicBezTo>
                    <a:pt x="571" y="641"/>
                    <a:pt x="579" y="611"/>
                    <a:pt x="602" y="588"/>
                  </a:cubicBezTo>
                  <a:cubicBezTo>
                    <a:pt x="625" y="572"/>
                    <a:pt x="648" y="557"/>
                    <a:pt x="678" y="542"/>
                  </a:cubicBezTo>
                  <a:lnTo>
                    <a:pt x="678" y="542"/>
                  </a:lnTo>
                  <a:cubicBezTo>
                    <a:pt x="671" y="534"/>
                    <a:pt x="640" y="519"/>
                    <a:pt x="648" y="511"/>
                  </a:cubicBezTo>
                  <a:lnTo>
                    <a:pt x="648" y="511"/>
                  </a:lnTo>
                  <a:cubicBezTo>
                    <a:pt x="724" y="489"/>
                    <a:pt x="778" y="481"/>
                    <a:pt x="724" y="389"/>
                  </a:cubicBezTo>
                  <a:cubicBezTo>
                    <a:pt x="686" y="336"/>
                    <a:pt x="617" y="290"/>
                    <a:pt x="556" y="259"/>
                  </a:cubicBezTo>
                  <a:cubicBezTo>
                    <a:pt x="488" y="229"/>
                    <a:pt x="488" y="229"/>
                    <a:pt x="488" y="22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6054330" y="7466013"/>
              <a:ext cx="374626" cy="258762"/>
            </a:xfrm>
            <a:custGeom>
              <a:avLst/>
              <a:gdLst>
                <a:gd name="T0" fmla="*/ 1008 w 1039"/>
                <a:gd name="T1" fmla="*/ 435 h 719"/>
                <a:gd name="T2" fmla="*/ 1008 w 1039"/>
                <a:gd name="T3" fmla="*/ 435 h 719"/>
                <a:gd name="T4" fmla="*/ 985 w 1039"/>
                <a:gd name="T5" fmla="*/ 420 h 719"/>
                <a:gd name="T6" fmla="*/ 962 w 1039"/>
                <a:gd name="T7" fmla="*/ 397 h 719"/>
                <a:gd name="T8" fmla="*/ 916 w 1039"/>
                <a:gd name="T9" fmla="*/ 397 h 719"/>
                <a:gd name="T10" fmla="*/ 847 w 1039"/>
                <a:gd name="T11" fmla="*/ 328 h 719"/>
                <a:gd name="T12" fmla="*/ 816 w 1039"/>
                <a:gd name="T13" fmla="*/ 252 h 719"/>
                <a:gd name="T14" fmla="*/ 755 w 1039"/>
                <a:gd name="T15" fmla="*/ 115 h 719"/>
                <a:gd name="T16" fmla="*/ 702 w 1039"/>
                <a:gd name="T17" fmla="*/ 69 h 719"/>
                <a:gd name="T18" fmla="*/ 648 w 1039"/>
                <a:gd name="T19" fmla="*/ 0 h 719"/>
                <a:gd name="T20" fmla="*/ 648 w 1039"/>
                <a:gd name="T21" fmla="*/ 0 h 719"/>
                <a:gd name="T22" fmla="*/ 572 w 1039"/>
                <a:gd name="T23" fmla="*/ 46 h 719"/>
                <a:gd name="T24" fmla="*/ 519 w 1039"/>
                <a:gd name="T25" fmla="*/ 122 h 719"/>
                <a:gd name="T26" fmla="*/ 442 w 1039"/>
                <a:gd name="T27" fmla="*/ 145 h 719"/>
                <a:gd name="T28" fmla="*/ 374 w 1039"/>
                <a:gd name="T29" fmla="*/ 176 h 719"/>
                <a:gd name="T30" fmla="*/ 374 w 1039"/>
                <a:gd name="T31" fmla="*/ 176 h 719"/>
                <a:gd name="T32" fmla="*/ 358 w 1039"/>
                <a:gd name="T33" fmla="*/ 260 h 719"/>
                <a:gd name="T34" fmla="*/ 381 w 1039"/>
                <a:gd name="T35" fmla="*/ 290 h 719"/>
                <a:gd name="T36" fmla="*/ 358 w 1039"/>
                <a:gd name="T37" fmla="*/ 382 h 719"/>
                <a:gd name="T38" fmla="*/ 458 w 1039"/>
                <a:gd name="T39" fmla="*/ 420 h 719"/>
                <a:gd name="T40" fmla="*/ 442 w 1039"/>
                <a:gd name="T41" fmla="*/ 481 h 719"/>
                <a:gd name="T42" fmla="*/ 274 w 1039"/>
                <a:gd name="T43" fmla="*/ 497 h 719"/>
                <a:gd name="T44" fmla="*/ 100 w 1039"/>
                <a:gd name="T45" fmla="*/ 512 h 719"/>
                <a:gd name="T46" fmla="*/ 0 w 1039"/>
                <a:gd name="T47" fmla="*/ 665 h 719"/>
                <a:gd name="T48" fmla="*/ 0 w 1039"/>
                <a:gd name="T49" fmla="*/ 665 h 719"/>
                <a:gd name="T50" fmla="*/ 92 w 1039"/>
                <a:gd name="T51" fmla="*/ 687 h 719"/>
                <a:gd name="T52" fmla="*/ 206 w 1039"/>
                <a:gd name="T53" fmla="*/ 710 h 719"/>
                <a:gd name="T54" fmla="*/ 305 w 1039"/>
                <a:gd name="T55" fmla="*/ 634 h 719"/>
                <a:gd name="T56" fmla="*/ 366 w 1039"/>
                <a:gd name="T57" fmla="*/ 680 h 719"/>
                <a:gd name="T58" fmla="*/ 366 w 1039"/>
                <a:gd name="T59" fmla="*/ 680 h 719"/>
                <a:gd name="T60" fmla="*/ 419 w 1039"/>
                <a:gd name="T61" fmla="*/ 649 h 719"/>
                <a:gd name="T62" fmla="*/ 519 w 1039"/>
                <a:gd name="T63" fmla="*/ 573 h 719"/>
                <a:gd name="T64" fmla="*/ 587 w 1039"/>
                <a:gd name="T65" fmla="*/ 504 h 719"/>
                <a:gd name="T66" fmla="*/ 633 w 1039"/>
                <a:gd name="T67" fmla="*/ 474 h 719"/>
                <a:gd name="T68" fmla="*/ 763 w 1039"/>
                <a:gd name="T69" fmla="*/ 519 h 719"/>
                <a:gd name="T70" fmla="*/ 885 w 1039"/>
                <a:gd name="T71" fmla="*/ 588 h 719"/>
                <a:gd name="T72" fmla="*/ 939 w 1039"/>
                <a:gd name="T73" fmla="*/ 619 h 719"/>
                <a:gd name="T74" fmla="*/ 1023 w 1039"/>
                <a:gd name="T75" fmla="*/ 512 h 719"/>
                <a:gd name="T76" fmla="*/ 1008 w 1039"/>
                <a:gd name="T77" fmla="*/ 435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9" h="719">
                  <a:moveTo>
                    <a:pt x="1008" y="435"/>
                  </a:moveTo>
                  <a:lnTo>
                    <a:pt x="1008" y="435"/>
                  </a:lnTo>
                  <a:cubicBezTo>
                    <a:pt x="1008" y="428"/>
                    <a:pt x="992" y="420"/>
                    <a:pt x="985" y="420"/>
                  </a:cubicBezTo>
                  <a:cubicBezTo>
                    <a:pt x="977" y="413"/>
                    <a:pt x="969" y="405"/>
                    <a:pt x="962" y="397"/>
                  </a:cubicBezTo>
                  <a:cubicBezTo>
                    <a:pt x="939" y="374"/>
                    <a:pt x="946" y="382"/>
                    <a:pt x="916" y="397"/>
                  </a:cubicBezTo>
                  <a:cubicBezTo>
                    <a:pt x="839" y="443"/>
                    <a:pt x="878" y="351"/>
                    <a:pt x="847" y="328"/>
                  </a:cubicBezTo>
                  <a:cubicBezTo>
                    <a:pt x="816" y="298"/>
                    <a:pt x="816" y="298"/>
                    <a:pt x="816" y="252"/>
                  </a:cubicBezTo>
                  <a:cubicBezTo>
                    <a:pt x="824" y="191"/>
                    <a:pt x="771" y="161"/>
                    <a:pt x="755" y="115"/>
                  </a:cubicBezTo>
                  <a:cubicBezTo>
                    <a:pt x="748" y="107"/>
                    <a:pt x="717" y="76"/>
                    <a:pt x="702" y="69"/>
                  </a:cubicBezTo>
                  <a:cubicBezTo>
                    <a:pt x="679" y="53"/>
                    <a:pt x="664" y="23"/>
                    <a:pt x="648" y="0"/>
                  </a:cubicBezTo>
                  <a:lnTo>
                    <a:pt x="648" y="0"/>
                  </a:lnTo>
                  <a:cubicBezTo>
                    <a:pt x="618" y="15"/>
                    <a:pt x="595" y="30"/>
                    <a:pt x="572" y="46"/>
                  </a:cubicBezTo>
                  <a:cubicBezTo>
                    <a:pt x="549" y="69"/>
                    <a:pt x="541" y="99"/>
                    <a:pt x="519" y="122"/>
                  </a:cubicBezTo>
                  <a:cubicBezTo>
                    <a:pt x="503" y="138"/>
                    <a:pt x="465" y="138"/>
                    <a:pt x="442" y="145"/>
                  </a:cubicBezTo>
                  <a:cubicBezTo>
                    <a:pt x="419" y="153"/>
                    <a:pt x="396" y="168"/>
                    <a:pt x="374" y="176"/>
                  </a:cubicBezTo>
                  <a:lnTo>
                    <a:pt x="374" y="176"/>
                  </a:lnTo>
                  <a:cubicBezTo>
                    <a:pt x="374" y="206"/>
                    <a:pt x="358" y="229"/>
                    <a:pt x="358" y="260"/>
                  </a:cubicBezTo>
                  <a:cubicBezTo>
                    <a:pt x="358" y="275"/>
                    <a:pt x="381" y="283"/>
                    <a:pt x="381" y="290"/>
                  </a:cubicBezTo>
                  <a:cubicBezTo>
                    <a:pt x="381" y="321"/>
                    <a:pt x="343" y="351"/>
                    <a:pt x="358" y="382"/>
                  </a:cubicBezTo>
                  <a:cubicBezTo>
                    <a:pt x="374" y="413"/>
                    <a:pt x="435" y="390"/>
                    <a:pt x="458" y="420"/>
                  </a:cubicBezTo>
                  <a:cubicBezTo>
                    <a:pt x="473" y="435"/>
                    <a:pt x="465" y="474"/>
                    <a:pt x="442" y="481"/>
                  </a:cubicBezTo>
                  <a:cubicBezTo>
                    <a:pt x="389" y="504"/>
                    <a:pt x="328" y="497"/>
                    <a:pt x="274" y="497"/>
                  </a:cubicBezTo>
                  <a:cubicBezTo>
                    <a:pt x="214" y="504"/>
                    <a:pt x="145" y="481"/>
                    <a:pt x="100" y="512"/>
                  </a:cubicBezTo>
                  <a:cubicBezTo>
                    <a:pt x="46" y="542"/>
                    <a:pt x="31" y="611"/>
                    <a:pt x="0" y="665"/>
                  </a:cubicBezTo>
                  <a:lnTo>
                    <a:pt x="0" y="665"/>
                  </a:lnTo>
                  <a:cubicBezTo>
                    <a:pt x="31" y="672"/>
                    <a:pt x="61" y="680"/>
                    <a:pt x="92" y="687"/>
                  </a:cubicBezTo>
                  <a:cubicBezTo>
                    <a:pt x="130" y="695"/>
                    <a:pt x="168" y="718"/>
                    <a:pt x="206" y="710"/>
                  </a:cubicBezTo>
                  <a:cubicBezTo>
                    <a:pt x="245" y="695"/>
                    <a:pt x="260" y="642"/>
                    <a:pt x="305" y="634"/>
                  </a:cubicBezTo>
                  <a:cubicBezTo>
                    <a:pt x="328" y="626"/>
                    <a:pt x="351" y="665"/>
                    <a:pt x="366" y="680"/>
                  </a:cubicBezTo>
                  <a:lnTo>
                    <a:pt x="366" y="680"/>
                  </a:lnTo>
                  <a:cubicBezTo>
                    <a:pt x="381" y="672"/>
                    <a:pt x="412" y="657"/>
                    <a:pt x="419" y="649"/>
                  </a:cubicBezTo>
                  <a:cubicBezTo>
                    <a:pt x="473" y="611"/>
                    <a:pt x="442" y="558"/>
                    <a:pt x="519" y="573"/>
                  </a:cubicBezTo>
                  <a:cubicBezTo>
                    <a:pt x="580" y="580"/>
                    <a:pt x="557" y="519"/>
                    <a:pt x="587" y="504"/>
                  </a:cubicBezTo>
                  <a:cubicBezTo>
                    <a:pt x="603" y="497"/>
                    <a:pt x="626" y="489"/>
                    <a:pt x="633" y="474"/>
                  </a:cubicBezTo>
                  <a:cubicBezTo>
                    <a:pt x="679" y="466"/>
                    <a:pt x="710" y="558"/>
                    <a:pt x="763" y="519"/>
                  </a:cubicBezTo>
                  <a:cubicBezTo>
                    <a:pt x="816" y="481"/>
                    <a:pt x="855" y="542"/>
                    <a:pt x="885" y="588"/>
                  </a:cubicBezTo>
                  <a:cubicBezTo>
                    <a:pt x="900" y="626"/>
                    <a:pt x="908" y="657"/>
                    <a:pt x="939" y="619"/>
                  </a:cubicBezTo>
                  <a:cubicBezTo>
                    <a:pt x="977" y="573"/>
                    <a:pt x="1038" y="580"/>
                    <a:pt x="1023" y="512"/>
                  </a:cubicBezTo>
                  <a:cubicBezTo>
                    <a:pt x="1023" y="497"/>
                    <a:pt x="1015" y="435"/>
                    <a:pt x="1008" y="4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17"/>
            <p:cNvSpPr>
              <a:spLocks noChangeArrowheads="1"/>
            </p:cNvSpPr>
            <p:nvPr/>
          </p:nvSpPr>
          <p:spPr bwMode="auto">
            <a:xfrm>
              <a:off x="6132114" y="7189789"/>
              <a:ext cx="169851" cy="134937"/>
            </a:xfrm>
            <a:custGeom>
              <a:avLst/>
              <a:gdLst>
                <a:gd name="T0" fmla="*/ 198 w 474"/>
                <a:gd name="T1" fmla="*/ 374 h 375"/>
                <a:gd name="T2" fmla="*/ 198 w 474"/>
                <a:gd name="T3" fmla="*/ 374 h 375"/>
                <a:gd name="T4" fmla="*/ 282 w 474"/>
                <a:gd name="T5" fmla="*/ 320 h 375"/>
                <a:gd name="T6" fmla="*/ 335 w 474"/>
                <a:gd name="T7" fmla="*/ 343 h 375"/>
                <a:gd name="T8" fmla="*/ 473 w 474"/>
                <a:gd name="T9" fmla="*/ 343 h 375"/>
                <a:gd name="T10" fmla="*/ 473 w 474"/>
                <a:gd name="T11" fmla="*/ 343 h 375"/>
                <a:gd name="T12" fmla="*/ 297 w 474"/>
                <a:gd name="T13" fmla="*/ 0 h 375"/>
                <a:gd name="T14" fmla="*/ 114 w 474"/>
                <a:gd name="T15" fmla="*/ 99 h 375"/>
                <a:gd name="T16" fmla="*/ 175 w 474"/>
                <a:gd name="T17" fmla="*/ 328 h 375"/>
                <a:gd name="T18" fmla="*/ 198 w 474"/>
                <a:gd name="T19" fmla="*/ 37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4" h="375">
                  <a:moveTo>
                    <a:pt x="198" y="374"/>
                  </a:moveTo>
                  <a:lnTo>
                    <a:pt x="198" y="374"/>
                  </a:lnTo>
                  <a:cubicBezTo>
                    <a:pt x="213" y="366"/>
                    <a:pt x="259" y="320"/>
                    <a:pt x="282" y="320"/>
                  </a:cubicBezTo>
                  <a:cubicBezTo>
                    <a:pt x="305" y="313"/>
                    <a:pt x="312" y="336"/>
                    <a:pt x="335" y="343"/>
                  </a:cubicBezTo>
                  <a:cubicBezTo>
                    <a:pt x="373" y="351"/>
                    <a:pt x="434" y="351"/>
                    <a:pt x="473" y="343"/>
                  </a:cubicBezTo>
                  <a:lnTo>
                    <a:pt x="473" y="343"/>
                  </a:lnTo>
                  <a:cubicBezTo>
                    <a:pt x="381" y="236"/>
                    <a:pt x="312" y="68"/>
                    <a:pt x="297" y="0"/>
                  </a:cubicBezTo>
                  <a:cubicBezTo>
                    <a:pt x="266" y="0"/>
                    <a:pt x="167" y="84"/>
                    <a:pt x="114" y="99"/>
                  </a:cubicBezTo>
                  <a:cubicBezTo>
                    <a:pt x="0" y="137"/>
                    <a:pt x="137" y="259"/>
                    <a:pt x="175" y="328"/>
                  </a:cubicBezTo>
                  <a:cubicBezTo>
                    <a:pt x="182" y="343"/>
                    <a:pt x="190" y="359"/>
                    <a:pt x="198" y="3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18"/>
            <p:cNvSpPr>
              <a:spLocks noChangeArrowheads="1"/>
            </p:cNvSpPr>
            <p:nvPr/>
          </p:nvSpPr>
          <p:spPr bwMode="auto">
            <a:xfrm>
              <a:off x="5922578" y="7273926"/>
              <a:ext cx="301605" cy="454025"/>
            </a:xfrm>
            <a:custGeom>
              <a:avLst/>
              <a:gdLst>
                <a:gd name="T0" fmla="*/ 366 w 840"/>
                <a:gd name="T1" fmla="*/ 1200 h 1262"/>
                <a:gd name="T2" fmla="*/ 366 w 840"/>
                <a:gd name="T3" fmla="*/ 1200 h 1262"/>
                <a:gd name="T4" fmla="*/ 358 w 840"/>
                <a:gd name="T5" fmla="*/ 1192 h 1262"/>
                <a:gd name="T6" fmla="*/ 358 w 840"/>
                <a:gd name="T7" fmla="*/ 1192 h 1262"/>
                <a:gd name="T8" fmla="*/ 275 w 840"/>
                <a:gd name="T9" fmla="*/ 1245 h 1262"/>
                <a:gd name="T10" fmla="*/ 183 w 840"/>
                <a:gd name="T11" fmla="*/ 1261 h 1262"/>
                <a:gd name="T12" fmla="*/ 183 w 840"/>
                <a:gd name="T13" fmla="*/ 1261 h 1262"/>
                <a:gd name="T14" fmla="*/ 198 w 840"/>
                <a:gd name="T15" fmla="*/ 1177 h 1262"/>
                <a:gd name="T16" fmla="*/ 229 w 840"/>
                <a:gd name="T17" fmla="*/ 1123 h 1262"/>
                <a:gd name="T18" fmla="*/ 191 w 840"/>
                <a:gd name="T19" fmla="*/ 1077 h 1262"/>
                <a:gd name="T20" fmla="*/ 259 w 840"/>
                <a:gd name="T21" fmla="*/ 1009 h 1262"/>
                <a:gd name="T22" fmla="*/ 236 w 840"/>
                <a:gd name="T23" fmla="*/ 948 h 1262"/>
                <a:gd name="T24" fmla="*/ 236 w 840"/>
                <a:gd name="T25" fmla="*/ 948 h 1262"/>
                <a:gd name="T26" fmla="*/ 236 w 840"/>
                <a:gd name="T27" fmla="*/ 886 h 1262"/>
                <a:gd name="T28" fmla="*/ 198 w 840"/>
                <a:gd name="T29" fmla="*/ 802 h 1262"/>
                <a:gd name="T30" fmla="*/ 236 w 840"/>
                <a:gd name="T31" fmla="*/ 779 h 1262"/>
                <a:gd name="T32" fmla="*/ 206 w 840"/>
                <a:gd name="T33" fmla="*/ 734 h 1262"/>
                <a:gd name="T34" fmla="*/ 206 w 840"/>
                <a:gd name="T35" fmla="*/ 688 h 1262"/>
                <a:gd name="T36" fmla="*/ 129 w 840"/>
                <a:gd name="T37" fmla="*/ 680 h 1262"/>
                <a:gd name="T38" fmla="*/ 15 w 840"/>
                <a:gd name="T39" fmla="*/ 680 h 1262"/>
                <a:gd name="T40" fmla="*/ 84 w 840"/>
                <a:gd name="T41" fmla="*/ 611 h 1262"/>
                <a:gd name="T42" fmla="*/ 214 w 840"/>
                <a:gd name="T43" fmla="*/ 466 h 1262"/>
                <a:gd name="T44" fmla="*/ 221 w 840"/>
                <a:gd name="T45" fmla="*/ 336 h 1262"/>
                <a:gd name="T46" fmla="*/ 129 w 840"/>
                <a:gd name="T47" fmla="*/ 275 h 1262"/>
                <a:gd name="T48" fmla="*/ 145 w 840"/>
                <a:gd name="T49" fmla="*/ 107 h 1262"/>
                <a:gd name="T50" fmla="*/ 145 w 840"/>
                <a:gd name="T51" fmla="*/ 107 h 1262"/>
                <a:gd name="T52" fmla="*/ 366 w 840"/>
                <a:gd name="T53" fmla="*/ 0 h 1262"/>
                <a:gd name="T54" fmla="*/ 366 w 840"/>
                <a:gd name="T55" fmla="*/ 0 h 1262"/>
                <a:gd name="T56" fmla="*/ 336 w 840"/>
                <a:gd name="T57" fmla="*/ 92 h 1262"/>
                <a:gd name="T58" fmla="*/ 366 w 840"/>
                <a:gd name="T59" fmla="*/ 153 h 1262"/>
                <a:gd name="T60" fmla="*/ 397 w 840"/>
                <a:gd name="T61" fmla="*/ 138 h 1262"/>
                <a:gd name="T62" fmla="*/ 427 w 840"/>
                <a:gd name="T63" fmla="*/ 191 h 1262"/>
                <a:gd name="T64" fmla="*/ 397 w 840"/>
                <a:gd name="T65" fmla="*/ 229 h 1262"/>
                <a:gd name="T66" fmla="*/ 420 w 840"/>
                <a:gd name="T67" fmla="*/ 275 h 1262"/>
                <a:gd name="T68" fmla="*/ 458 w 840"/>
                <a:gd name="T69" fmla="*/ 290 h 1262"/>
                <a:gd name="T70" fmla="*/ 466 w 840"/>
                <a:gd name="T71" fmla="*/ 367 h 1262"/>
                <a:gd name="T72" fmla="*/ 504 w 840"/>
                <a:gd name="T73" fmla="*/ 428 h 1262"/>
                <a:gd name="T74" fmla="*/ 557 w 840"/>
                <a:gd name="T75" fmla="*/ 512 h 1262"/>
                <a:gd name="T76" fmla="*/ 632 w 840"/>
                <a:gd name="T77" fmla="*/ 497 h 1262"/>
                <a:gd name="T78" fmla="*/ 663 w 840"/>
                <a:gd name="T79" fmla="*/ 504 h 1262"/>
                <a:gd name="T80" fmla="*/ 671 w 840"/>
                <a:gd name="T81" fmla="*/ 611 h 1262"/>
                <a:gd name="T82" fmla="*/ 717 w 840"/>
                <a:gd name="T83" fmla="*/ 619 h 1262"/>
                <a:gd name="T84" fmla="*/ 740 w 840"/>
                <a:gd name="T85" fmla="*/ 711 h 1262"/>
                <a:gd name="T86" fmla="*/ 740 w 840"/>
                <a:gd name="T87" fmla="*/ 711 h 1262"/>
                <a:gd name="T88" fmla="*/ 724 w 840"/>
                <a:gd name="T89" fmla="*/ 795 h 1262"/>
                <a:gd name="T90" fmla="*/ 747 w 840"/>
                <a:gd name="T91" fmla="*/ 825 h 1262"/>
                <a:gd name="T92" fmla="*/ 724 w 840"/>
                <a:gd name="T93" fmla="*/ 917 h 1262"/>
                <a:gd name="T94" fmla="*/ 824 w 840"/>
                <a:gd name="T95" fmla="*/ 955 h 1262"/>
                <a:gd name="T96" fmla="*/ 808 w 840"/>
                <a:gd name="T97" fmla="*/ 1016 h 1262"/>
                <a:gd name="T98" fmla="*/ 640 w 840"/>
                <a:gd name="T99" fmla="*/ 1032 h 1262"/>
                <a:gd name="T100" fmla="*/ 466 w 840"/>
                <a:gd name="T101" fmla="*/ 1047 h 1262"/>
                <a:gd name="T102" fmla="*/ 366 w 840"/>
                <a:gd name="T103" fmla="*/ 120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0" h="1262">
                  <a:moveTo>
                    <a:pt x="366" y="1200"/>
                  </a:moveTo>
                  <a:lnTo>
                    <a:pt x="366" y="1200"/>
                  </a:lnTo>
                  <a:cubicBezTo>
                    <a:pt x="366" y="1200"/>
                    <a:pt x="366" y="1192"/>
                    <a:pt x="358" y="1192"/>
                  </a:cubicBezTo>
                  <a:lnTo>
                    <a:pt x="358" y="1192"/>
                  </a:lnTo>
                  <a:cubicBezTo>
                    <a:pt x="336" y="1215"/>
                    <a:pt x="305" y="1238"/>
                    <a:pt x="275" y="1245"/>
                  </a:cubicBezTo>
                  <a:cubicBezTo>
                    <a:pt x="244" y="1261"/>
                    <a:pt x="214" y="1261"/>
                    <a:pt x="183" y="1261"/>
                  </a:cubicBezTo>
                  <a:lnTo>
                    <a:pt x="183" y="1261"/>
                  </a:lnTo>
                  <a:cubicBezTo>
                    <a:pt x="191" y="1238"/>
                    <a:pt x="191" y="1207"/>
                    <a:pt x="198" y="1177"/>
                  </a:cubicBezTo>
                  <a:cubicBezTo>
                    <a:pt x="206" y="1161"/>
                    <a:pt x="229" y="1146"/>
                    <a:pt x="229" y="1123"/>
                  </a:cubicBezTo>
                  <a:cubicBezTo>
                    <a:pt x="229" y="1100"/>
                    <a:pt x="183" y="1093"/>
                    <a:pt x="191" y="1077"/>
                  </a:cubicBezTo>
                  <a:cubicBezTo>
                    <a:pt x="198" y="1047"/>
                    <a:pt x="244" y="1039"/>
                    <a:pt x="259" y="1009"/>
                  </a:cubicBezTo>
                  <a:cubicBezTo>
                    <a:pt x="267" y="993"/>
                    <a:pt x="244" y="970"/>
                    <a:pt x="236" y="948"/>
                  </a:cubicBezTo>
                  <a:lnTo>
                    <a:pt x="236" y="948"/>
                  </a:lnTo>
                  <a:cubicBezTo>
                    <a:pt x="236" y="925"/>
                    <a:pt x="244" y="909"/>
                    <a:pt x="236" y="886"/>
                  </a:cubicBezTo>
                  <a:cubicBezTo>
                    <a:pt x="229" y="856"/>
                    <a:pt x="198" y="833"/>
                    <a:pt x="198" y="802"/>
                  </a:cubicBezTo>
                  <a:cubicBezTo>
                    <a:pt x="198" y="787"/>
                    <a:pt x="229" y="795"/>
                    <a:pt x="236" y="779"/>
                  </a:cubicBezTo>
                  <a:cubicBezTo>
                    <a:pt x="236" y="764"/>
                    <a:pt x="214" y="749"/>
                    <a:pt x="206" y="734"/>
                  </a:cubicBezTo>
                  <a:cubicBezTo>
                    <a:pt x="206" y="718"/>
                    <a:pt x="214" y="696"/>
                    <a:pt x="206" y="688"/>
                  </a:cubicBezTo>
                  <a:cubicBezTo>
                    <a:pt x="183" y="680"/>
                    <a:pt x="152" y="680"/>
                    <a:pt x="129" y="680"/>
                  </a:cubicBezTo>
                  <a:cubicBezTo>
                    <a:pt x="91" y="680"/>
                    <a:pt x="38" y="711"/>
                    <a:pt x="15" y="680"/>
                  </a:cubicBezTo>
                  <a:cubicBezTo>
                    <a:pt x="0" y="657"/>
                    <a:pt x="61" y="634"/>
                    <a:pt x="84" y="611"/>
                  </a:cubicBezTo>
                  <a:cubicBezTo>
                    <a:pt x="129" y="558"/>
                    <a:pt x="191" y="527"/>
                    <a:pt x="214" y="466"/>
                  </a:cubicBezTo>
                  <a:cubicBezTo>
                    <a:pt x="236" y="428"/>
                    <a:pt x="236" y="375"/>
                    <a:pt x="221" y="336"/>
                  </a:cubicBezTo>
                  <a:cubicBezTo>
                    <a:pt x="206" y="298"/>
                    <a:pt x="137" y="313"/>
                    <a:pt x="129" y="275"/>
                  </a:cubicBezTo>
                  <a:cubicBezTo>
                    <a:pt x="106" y="207"/>
                    <a:pt x="137" y="176"/>
                    <a:pt x="145" y="107"/>
                  </a:cubicBezTo>
                  <a:lnTo>
                    <a:pt x="145" y="107"/>
                  </a:lnTo>
                  <a:cubicBezTo>
                    <a:pt x="221" y="69"/>
                    <a:pt x="297" y="23"/>
                    <a:pt x="366" y="0"/>
                  </a:cubicBezTo>
                  <a:lnTo>
                    <a:pt x="366" y="0"/>
                  </a:lnTo>
                  <a:cubicBezTo>
                    <a:pt x="358" y="38"/>
                    <a:pt x="343" y="46"/>
                    <a:pt x="336" y="92"/>
                  </a:cubicBezTo>
                  <a:cubicBezTo>
                    <a:pt x="336" y="107"/>
                    <a:pt x="351" y="138"/>
                    <a:pt x="366" y="153"/>
                  </a:cubicBezTo>
                  <a:cubicBezTo>
                    <a:pt x="374" y="153"/>
                    <a:pt x="389" y="138"/>
                    <a:pt x="397" y="138"/>
                  </a:cubicBezTo>
                  <a:cubicBezTo>
                    <a:pt x="412" y="153"/>
                    <a:pt x="427" y="168"/>
                    <a:pt x="427" y="191"/>
                  </a:cubicBezTo>
                  <a:cubicBezTo>
                    <a:pt x="427" y="207"/>
                    <a:pt x="397" y="214"/>
                    <a:pt x="397" y="229"/>
                  </a:cubicBezTo>
                  <a:cubicBezTo>
                    <a:pt x="397" y="245"/>
                    <a:pt x="412" y="260"/>
                    <a:pt x="420" y="275"/>
                  </a:cubicBezTo>
                  <a:cubicBezTo>
                    <a:pt x="435" y="283"/>
                    <a:pt x="458" y="275"/>
                    <a:pt x="458" y="290"/>
                  </a:cubicBezTo>
                  <a:cubicBezTo>
                    <a:pt x="473" y="313"/>
                    <a:pt x="458" y="344"/>
                    <a:pt x="466" y="367"/>
                  </a:cubicBezTo>
                  <a:cubicBezTo>
                    <a:pt x="473" y="390"/>
                    <a:pt x="496" y="405"/>
                    <a:pt x="504" y="428"/>
                  </a:cubicBezTo>
                  <a:cubicBezTo>
                    <a:pt x="527" y="451"/>
                    <a:pt x="527" y="497"/>
                    <a:pt x="557" y="512"/>
                  </a:cubicBezTo>
                  <a:cubicBezTo>
                    <a:pt x="580" y="520"/>
                    <a:pt x="611" y="497"/>
                    <a:pt x="632" y="497"/>
                  </a:cubicBezTo>
                  <a:cubicBezTo>
                    <a:pt x="640" y="497"/>
                    <a:pt x="663" y="497"/>
                    <a:pt x="663" y="504"/>
                  </a:cubicBezTo>
                  <a:cubicBezTo>
                    <a:pt x="678" y="543"/>
                    <a:pt x="655" y="581"/>
                    <a:pt x="671" y="611"/>
                  </a:cubicBezTo>
                  <a:cubicBezTo>
                    <a:pt x="678" y="627"/>
                    <a:pt x="709" y="611"/>
                    <a:pt x="717" y="619"/>
                  </a:cubicBezTo>
                  <a:cubicBezTo>
                    <a:pt x="732" y="650"/>
                    <a:pt x="732" y="680"/>
                    <a:pt x="740" y="711"/>
                  </a:cubicBezTo>
                  <a:lnTo>
                    <a:pt x="740" y="711"/>
                  </a:lnTo>
                  <a:cubicBezTo>
                    <a:pt x="740" y="741"/>
                    <a:pt x="724" y="764"/>
                    <a:pt x="724" y="795"/>
                  </a:cubicBezTo>
                  <a:cubicBezTo>
                    <a:pt x="724" y="810"/>
                    <a:pt x="747" y="818"/>
                    <a:pt x="747" y="825"/>
                  </a:cubicBezTo>
                  <a:cubicBezTo>
                    <a:pt x="747" y="856"/>
                    <a:pt x="709" y="886"/>
                    <a:pt x="724" y="917"/>
                  </a:cubicBezTo>
                  <a:cubicBezTo>
                    <a:pt x="740" y="948"/>
                    <a:pt x="801" y="925"/>
                    <a:pt x="824" y="955"/>
                  </a:cubicBezTo>
                  <a:cubicBezTo>
                    <a:pt x="839" y="970"/>
                    <a:pt x="831" y="1009"/>
                    <a:pt x="808" y="1016"/>
                  </a:cubicBezTo>
                  <a:cubicBezTo>
                    <a:pt x="755" y="1039"/>
                    <a:pt x="694" y="1032"/>
                    <a:pt x="640" y="1032"/>
                  </a:cubicBezTo>
                  <a:cubicBezTo>
                    <a:pt x="580" y="1039"/>
                    <a:pt x="511" y="1016"/>
                    <a:pt x="466" y="1047"/>
                  </a:cubicBezTo>
                  <a:cubicBezTo>
                    <a:pt x="412" y="1077"/>
                    <a:pt x="397" y="1146"/>
                    <a:pt x="366" y="120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5686055" y="7291388"/>
              <a:ext cx="325417" cy="360362"/>
            </a:xfrm>
            <a:custGeom>
              <a:avLst/>
              <a:gdLst>
                <a:gd name="T0" fmla="*/ 802 w 902"/>
                <a:gd name="T1" fmla="*/ 61 h 1002"/>
                <a:gd name="T2" fmla="*/ 802 w 902"/>
                <a:gd name="T3" fmla="*/ 61 h 1002"/>
                <a:gd name="T4" fmla="*/ 786 w 902"/>
                <a:gd name="T5" fmla="*/ 229 h 1002"/>
                <a:gd name="T6" fmla="*/ 878 w 902"/>
                <a:gd name="T7" fmla="*/ 290 h 1002"/>
                <a:gd name="T8" fmla="*/ 871 w 902"/>
                <a:gd name="T9" fmla="*/ 420 h 1002"/>
                <a:gd name="T10" fmla="*/ 741 w 902"/>
                <a:gd name="T11" fmla="*/ 565 h 1002"/>
                <a:gd name="T12" fmla="*/ 672 w 902"/>
                <a:gd name="T13" fmla="*/ 634 h 1002"/>
                <a:gd name="T14" fmla="*/ 786 w 902"/>
                <a:gd name="T15" fmla="*/ 634 h 1002"/>
                <a:gd name="T16" fmla="*/ 863 w 902"/>
                <a:gd name="T17" fmla="*/ 642 h 1002"/>
                <a:gd name="T18" fmla="*/ 863 w 902"/>
                <a:gd name="T19" fmla="*/ 688 h 1002"/>
                <a:gd name="T20" fmla="*/ 893 w 902"/>
                <a:gd name="T21" fmla="*/ 733 h 1002"/>
                <a:gd name="T22" fmla="*/ 855 w 902"/>
                <a:gd name="T23" fmla="*/ 756 h 1002"/>
                <a:gd name="T24" fmla="*/ 893 w 902"/>
                <a:gd name="T25" fmla="*/ 840 h 1002"/>
                <a:gd name="T26" fmla="*/ 893 w 902"/>
                <a:gd name="T27" fmla="*/ 902 h 1002"/>
                <a:gd name="T28" fmla="*/ 893 w 902"/>
                <a:gd name="T29" fmla="*/ 902 h 1002"/>
                <a:gd name="T30" fmla="*/ 878 w 902"/>
                <a:gd name="T31" fmla="*/ 917 h 1002"/>
                <a:gd name="T32" fmla="*/ 832 w 902"/>
                <a:gd name="T33" fmla="*/ 932 h 1002"/>
                <a:gd name="T34" fmla="*/ 763 w 902"/>
                <a:gd name="T35" fmla="*/ 924 h 1002"/>
                <a:gd name="T36" fmla="*/ 741 w 902"/>
                <a:gd name="T37" fmla="*/ 947 h 1002"/>
                <a:gd name="T38" fmla="*/ 687 w 902"/>
                <a:gd name="T39" fmla="*/ 932 h 1002"/>
                <a:gd name="T40" fmla="*/ 664 w 902"/>
                <a:gd name="T41" fmla="*/ 863 h 1002"/>
                <a:gd name="T42" fmla="*/ 679 w 902"/>
                <a:gd name="T43" fmla="*/ 833 h 1002"/>
                <a:gd name="T44" fmla="*/ 634 w 902"/>
                <a:gd name="T45" fmla="*/ 840 h 1002"/>
                <a:gd name="T46" fmla="*/ 588 w 902"/>
                <a:gd name="T47" fmla="*/ 863 h 1002"/>
                <a:gd name="T48" fmla="*/ 542 w 902"/>
                <a:gd name="T49" fmla="*/ 894 h 1002"/>
                <a:gd name="T50" fmla="*/ 466 w 902"/>
                <a:gd name="T51" fmla="*/ 909 h 1002"/>
                <a:gd name="T52" fmla="*/ 389 w 902"/>
                <a:gd name="T53" fmla="*/ 978 h 1002"/>
                <a:gd name="T54" fmla="*/ 328 w 902"/>
                <a:gd name="T55" fmla="*/ 993 h 1002"/>
                <a:gd name="T56" fmla="*/ 275 w 902"/>
                <a:gd name="T57" fmla="*/ 932 h 1002"/>
                <a:gd name="T58" fmla="*/ 214 w 902"/>
                <a:gd name="T59" fmla="*/ 863 h 1002"/>
                <a:gd name="T60" fmla="*/ 198 w 902"/>
                <a:gd name="T61" fmla="*/ 810 h 1002"/>
                <a:gd name="T62" fmla="*/ 152 w 902"/>
                <a:gd name="T63" fmla="*/ 817 h 1002"/>
                <a:gd name="T64" fmla="*/ 68 w 902"/>
                <a:gd name="T65" fmla="*/ 833 h 1002"/>
                <a:gd name="T66" fmla="*/ 53 w 902"/>
                <a:gd name="T67" fmla="*/ 726 h 1002"/>
                <a:gd name="T68" fmla="*/ 84 w 902"/>
                <a:gd name="T69" fmla="*/ 680 h 1002"/>
                <a:gd name="T70" fmla="*/ 61 w 902"/>
                <a:gd name="T71" fmla="*/ 642 h 1002"/>
                <a:gd name="T72" fmla="*/ 38 w 902"/>
                <a:gd name="T73" fmla="*/ 619 h 1002"/>
                <a:gd name="T74" fmla="*/ 30 w 902"/>
                <a:gd name="T75" fmla="*/ 596 h 1002"/>
                <a:gd name="T76" fmla="*/ 0 w 902"/>
                <a:gd name="T77" fmla="*/ 581 h 1002"/>
                <a:gd name="T78" fmla="*/ 38 w 902"/>
                <a:gd name="T79" fmla="*/ 489 h 1002"/>
                <a:gd name="T80" fmla="*/ 99 w 902"/>
                <a:gd name="T81" fmla="*/ 443 h 1002"/>
                <a:gd name="T82" fmla="*/ 114 w 902"/>
                <a:gd name="T83" fmla="*/ 375 h 1002"/>
                <a:gd name="T84" fmla="*/ 137 w 902"/>
                <a:gd name="T85" fmla="*/ 336 h 1002"/>
                <a:gd name="T86" fmla="*/ 152 w 902"/>
                <a:gd name="T87" fmla="*/ 298 h 1002"/>
                <a:gd name="T88" fmla="*/ 114 w 902"/>
                <a:gd name="T89" fmla="*/ 283 h 1002"/>
                <a:gd name="T90" fmla="*/ 53 w 902"/>
                <a:gd name="T91" fmla="*/ 222 h 1002"/>
                <a:gd name="T92" fmla="*/ 30 w 902"/>
                <a:gd name="T93" fmla="*/ 191 h 1002"/>
                <a:gd name="T94" fmla="*/ 30 w 902"/>
                <a:gd name="T95" fmla="*/ 191 h 1002"/>
                <a:gd name="T96" fmla="*/ 76 w 902"/>
                <a:gd name="T97" fmla="*/ 168 h 1002"/>
                <a:gd name="T98" fmla="*/ 237 w 902"/>
                <a:gd name="T99" fmla="*/ 100 h 1002"/>
                <a:gd name="T100" fmla="*/ 221 w 902"/>
                <a:gd name="T101" fmla="*/ 0 h 1002"/>
                <a:gd name="T102" fmla="*/ 404 w 902"/>
                <a:gd name="T103" fmla="*/ 54 h 1002"/>
                <a:gd name="T104" fmla="*/ 580 w 902"/>
                <a:gd name="T105" fmla="*/ 122 h 1002"/>
                <a:gd name="T106" fmla="*/ 802 w 902"/>
                <a:gd name="T107" fmla="*/ 61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2" h="1002">
                  <a:moveTo>
                    <a:pt x="802" y="61"/>
                  </a:moveTo>
                  <a:lnTo>
                    <a:pt x="802" y="61"/>
                  </a:lnTo>
                  <a:cubicBezTo>
                    <a:pt x="794" y="130"/>
                    <a:pt x="763" y="161"/>
                    <a:pt x="786" y="229"/>
                  </a:cubicBezTo>
                  <a:cubicBezTo>
                    <a:pt x="794" y="267"/>
                    <a:pt x="863" y="252"/>
                    <a:pt x="878" y="290"/>
                  </a:cubicBezTo>
                  <a:cubicBezTo>
                    <a:pt x="893" y="329"/>
                    <a:pt x="893" y="382"/>
                    <a:pt x="871" y="420"/>
                  </a:cubicBezTo>
                  <a:cubicBezTo>
                    <a:pt x="848" y="481"/>
                    <a:pt x="786" y="512"/>
                    <a:pt x="741" y="565"/>
                  </a:cubicBezTo>
                  <a:cubicBezTo>
                    <a:pt x="718" y="588"/>
                    <a:pt x="657" y="611"/>
                    <a:pt x="672" y="634"/>
                  </a:cubicBezTo>
                  <a:cubicBezTo>
                    <a:pt x="695" y="665"/>
                    <a:pt x="748" y="634"/>
                    <a:pt x="786" y="634"/>
                  </a:cubicBezTo>
                  <a:cubicBezTo>
                    <a:pt x="809" y="634"/>
                    <a:pt x="840" y="634"/>
                    <a:pt x="863" y="642"/>
                  </a:cubicBezTo>
                  <a:cubicBezTo>
                    <a:pt x="871" y="650"/>
                    <a:pt x="863" y="672"/>
                    <a:pt x="863" y="688"/>
                  </a:cubicBezTo>
                  <a:cubicBezTo>
                    <a:pt x="871" y="703"/>
                    <a:pt x="893" y="718"/>
                    <a:pt x="893" y="733"/>
                  </a:cubicBezTo>
                  <a:cubicBezTo>
                    <a:pt x="886" y="749"/>
                    <a:pt x="855" y="741"/>
                    <a:pt x="855" y="756"/>
                  </a:cubicBezTo>
                  <a:cubicBezTo>
                    <a:pt x="855" y="787"/>
                    <a:pt x="886" y="810"/>
                    <a:pt x="893" y="840"/>
                  </a:cubicBezTo>
                  <a:cubicBezTo>
                    <a:pt x="901" y="863"/>
                    <a:pt x="893" y="879"/>
                    <a:pt x="893" y="902"/>
                  </a:cubicBezTo>
                  <a:lnTo>
                    <a:pt x="893" y="902"/>
                  </a:lnTo>
                  <a:cubicBezTo>
                    <a:pt x="893" y="909"/>
                    <a:pt x="886" y="909"/>
                    <a:pt x="878" y="917"/>
                  </a:cubicBezTo>
                  <a:cubicBezTo>
                    <a:pt x="863" y="924"/>
                    <a:pt x="848" y="932"/>
                    <a:pt x="832" y="932"/>
                  </a:cubicBezTo>
                  <a:cubicBezTo>
                    <a:pt x="809" y="932"/>
                    <a:pt x="786" y="924"/>
                    <a:pt x="763" y="924"/>
                  </a:cubicBezTo>
                  <a:cubicBezTo>
                    <a:pt x="756" y="924"/>
                    <a:pt x="756" y="947"/>
                    <a:pt x="741" y="947"/>
                  </a:cubicBezTo>
                  <a:cubicBezTo>
                    <a:pt x="725" y="947"/>
                    <a:pt x="695" y="947"/>
                    <a:pt x="687" y="932"/>
                  </a:cubicBezTo>
                  <a:cubicBezTo>
                    <a:pt x="664" y="917"/>
                    <a:pt x="664" y="886"/>
                    <a:pt x="664" y="863"/>
                  </a:cubicBezTo>
                  <a:cubicBezTo>
                    <a:pt x="664" y="856"/>
                    <a:pt x="687" y="840"/>
                    <a:pt x="679" y="833"/>
                  </a:cubicBezTo>
                  <a:cubicBezTo>
                    <a:pt x="664" y="817"/>
                    <a:pt x="649" y="833"/>
                    <a:pt x="634" y="840"/>
                  </a:cubicBezTo>
                  <a:cubicBezTo>
                    <a:pt x="618" y="840"/>
                    <a:pt x="603" y="856"/>
                    <a:pt x="588" y="863"/>
                  </a:cubicBezTo>
                  <a:cubicBezTo>
                    <a:pt x="573" y="871"/>
                    <a:pt x="565" y="886"/>
                    <a:pt x="542" y="894"/>
                  </a:cubicBezTo>
                  <a:cubicBezTo>
                    <a:pt x="519" y="902"/>
                    <a:pt x="489" y="894"/>
                    <a:pt x="466" y="909"/>
                  </a:cubicBezTo>
                  <a:cubicBezTo>
                    <a:pt x="435" y="924"/>
                    <a:pt x="420" y="955"/>
                    <a:pt x="389" y="978"/>
                  </a:cubicBezTo>
                  <a:cubicBezTo>
                    <a:pt x="374" y="986"/>
                    <a:pt x="351" y="1001"/>
                    <a:pt x="328" y="993"/>
                  </a:cubicBezTo>
                  <a:cubicBezTo>
                    <a:pt x="305" y="986"/>
                    <a:pt x="290" y="947"/>
                    <a:pt x="275" y="932"/>
                  </a:cubicBezTo>
                  <a:cubicBezTo>
                    <a:pt x="252" y="909"/>
                    <a:pt x="229" y="886"/>
                    <a:pt x="214" y="863"/>
                  </a:cubicBezTo>
                  <a:cubicBezTo>
                    <a:pt x="198" y="848"/>
                    <a:pt x="214" y="825"/>
                    <a:pt x="198" y="810"/>
                  </a:cubicBezTo>
                  <a:cubicBezTo>
                    <a:pt x="183" y="802"/>
                    <a:pt x="168" y="817"/>
                    <a:pt x="152" y="817"/>
                  </a:cubicBezTo>
                  <a:cubicBezTo>
                    <a:pt x="122" y="825"/>
                    <a:pt x="91" y="848"/>
                    <a:pt x="68" y="833"/>
                  </a:cubicBezTo>
                  <a:cubicBezTo>
                    <a:pt x="46" y="810"/>
                    <a:pt x="53" y="756"/>
                    <a:pt x="53" y="726"/>
                  </a:cubicBezTo>
                  <a:cubicBezTo>
                    <a:pt x="53" y="703"/>
                    <a:pt x="84" y="695"/>
                    <a:pt x="84" y="680"/>
                  </a:cubicBezTo>
                  <a:cubicBezTo>
                    <a:pt x="84" y="665"/>
                    <a:pt x="76" y="657"/>
                    <a:pt x="61" y="642"/>
                  </a:cubicBezTo>
                  <a:cubicBezTo>
                    <a:pt x="53" y="634"/>
                    <a:pt x="38" y="634"/>
                    <a:pt x="38" y="619"/>
                  </a:cubicBezTo>
                  <a:cubicBezTo>
                    <a:pt x="30" y="611"/>
                    <a:pt x="38" y="604"/>
                    <a:pt x="30" y="596"/>
                  </a:cubicBezTo>
                  <a:cubicBezTo>
                    <a:pt x="23" y="588"/>
                    <a:pt x="0" y="596"/>
                    <a:pt x="0" y="581"/>
                  </a:cubicBezTo>
                  <a:cubicBezTo>
                    <a:pt x="0" y="550"/>
                    <a:pt x="15" y="519"/>
                    <a:pt x="38" y="489"/>
                  </a:cubicBezTo>
                  <a:cubicBezTo>
                    <a:pt x="53" y="466"/>
                    <a:pt x="84" y="458"/>
                    <a:pt x="99" y="443"/>
                  </a:cubicBezTo>
                  <a:cubicBezTo>
                    <a:pt x="114" y="420"/>
                    <a:pt x="107" y="397"/>
                    <a:pt x="114" y="375"/>
                  </a:cubicBezTo>
                  <a:cubicBezTo>
                    <a:pt x="114" y="359"/>
                    <a:pt x="129" y="352"/>
                    <a:pt x="137" y="336"/>
                  </a:cubicBezTo>
                  <a:cubicBezTo>
                    <a:pt x="145" y="321"/>
                    <a:pt x="160" y="306"/>
                    <a:pt x="152" y="298"/>
                  </a:cubicBezTo>
                  <a:cubicBezTo>
                    <a:pt x="152" y="283"/>
                    <a:pt x="129" y="290"/>
                    <a:pt x="114" y="283"/>
                  </a:cubicBezTo>
                  <a:cubicBezTo>
                    <a:pt x="91" y="267"/>
                    <a:pt x="68" y="244"/>
                    <a:pt x="53" y="222"/>
                  </a:cubicBezTo>
                  <a:cubicBezTo>
                    <a:pt x="30" y="199"/>
                    <a:pt x="46" y="214"/>
                    <a:pt x="30" y="191"/>
                  </a:cubicBezTo>
                  <a:lnTo>
                    <a:pt x="30" y="191"/>
                  </a:lnTo>
                  <a:cubicBezTo>
                    <a:pt x="46" y="183"/>
                    <a:pt x="61" y="176"/>
                    <a:pt x="76" y="168"/>
                  </a:cubicBezTo>
                  <a:cubicBezTo>
                    <a:pt x="129" y="161"/>
                    <a:pt x="221" y="168"/>
                    <a:pt x="237" y="100"/>
                  </a:cubicBezTo>
                  <a:cubicBezTo>
                    <a:pt x="252" y="46"/>
                    <a:pt x="221" y="38"/>
                    <a:pt x="221" y="0"/>
                  </a:cubicBezTo>
                  <a:cubicBezTo>
                    <a:pt x="305" y="0"/>
                    <a:pt x="321" y="61"/>
                    <a:pt x="404" y="54"/>
                  </a:cubicBezTo>
                  <a:cubicBezTo>
                    <a:pt x="473" y="38"/>
                    <a:pt x="481" y="130"/>
                    <a:pt x="580" y="122"/>
                  </a:cubicBezTo>
                  <a:cubicBezTo>
                    <a:pt x="664" y="122"/>
                    <a:pt x="733" y="92"/>
                    <a:pt x="802" y="6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20"/>
            <p:cNvSpPr>
              <a:spLocks noChangeArrowheads="1"/>
            </p:cNvSpPr>
            <p:nvPr/>
          </p:nvSpPr>
          <p:spPr bwMode="auto">
            <a:xfrm>
              <a:off x="5235234" y="7359651"/>
              <a:ext cx="784174" cy="676275"/>
            </a:xfrm>
            <a:custGeom>
              <a:avLst/>
              <a:gdLst>
                <a:gd name="T0" fmla="*/ 1283 w 2178"/>
                <a:gd name="T1" fmla="*/ 0 h 1880"/>
                <a:gd name="T2" fmla="*/ 1169 w 2178"/>
                <a:gd name="T3" fmla="*/ 31 h 1880"/>
                <a:gd name="T4" fmla="*/ 955 w 2178"/>
                <a:gd name="T5" fmla="*/ 153 h 1880"/>
                <a:gd name="T6" fmla="*/ 840 w 2178"/>
                <a:gd name="T7" fmla="*/ 260 h 1880"/>
                <a:gd name="T8" fmla="*/ 764 w 2178"/>
                <a:gd name="T9" fmla="*/ 374 h 1880"/>
                <a:gd name="T10" fmla="*/ 741 w 2178"/>
                <a:gd name="T11" fmla="*/ 581 h 1880"/>
                <a:gd name="T12" fmla="*/ 588 w 2178"/>
                <a:gd name="T13" fmla="*/ 718 h 1880"/>
                <a:gd name="T14" fmla="*/ 138 w 2178"/>
                <a:gd name="T15" fmla="*/ 1276 h 1880"/>
                <a:gd name="T16" fmla="*/ 443 w 2178"/>
                <a:gd name="T17" fmla="*/ 1283 h 1880"/>
                <a:gd name="T18" fmla="*/ 489 w 2178"/>
                <a:gd name="T19" fmla="*/ 1253 h 1880"/>
                <a:gd name="T20" fmla="*/ 519 w 2178"/>
                <a:gd name="T21" fmla="*/ 1176 h 1880"/>
                <a:gd name="T22" fmla="*/ 1085 w 2178"/>
                <a:gd name="T23" fmla="*/ 1138 h 1880"/>
                <a:gd name="T24" fmla="*/ 1199 w 2178"/>
                <a:gd name="T25" fmla="*/ 1451 h 1880"/>
                <a:gd name="T26" fmla="*/ 1153 w 2178"/>
                <a:gd name="T27" fmla="*/ 1535 h 1880"/>
                <a:gd name="T28" fmla="*/ 1169 w 2178"/>
                <a:gd name="T29" fmla="*/ 1879 h 1880"/>
                <a:gd name="T30" fmla="*/ 1421 w 2178"/>
                <a:gd name="T31" fmla="*/ 1803 h 1880"/>
                <a:gd name="T32" fmla="*/ 1482 w 2178"/>
                <a:gd name="T33" fmla="*/ 1749 h 1880"/>
                <a:gd name="T34" fmla="*/ 1596 w 2178"/>
                <a:gd name="T35" fmla="*/ 1512 h 1880"/>
                <a:gd name="T36" fmla="*/ 1803 w 2178"/>
                <a:gd name="T37" fmla="*/ 1474 h 1880"/>
                <a:gd name="T38" fmla="*/ 1948 w 2178"/>
                <a:gd name="T39" fmla="*/ 1345 h 1880"/>
                <a:gd name="T40" fmla="*/ 1932 w 2178"/>
                <a:gd name="T41" fmla="*/ 1123 h 1880"/>
                <a:gd name="T42" fmla="*/ 2093 w 2178"/>
                <a:gd name="T43" fmla="*/ 1024 h 1880"/>
                <a:gd name="T44" fmla="*/ 2108 w 2178"/>
                <a:gd name="T45" fmla="*/ 940 h 1880"/>
                <a:gd name="T46" fmla="*/ 2101 w 2178"/>
                <a:gd name="T47" fmla="*/ 840 h 1880"/>
                <a:gd name="T48" fmla="*/ 2146 w 2178"/>
                <a:gd name="T49" fmla="*/ 711 h 1880"/>
                <a:gd name="T50" fmla="*/ 2131 w 2178"/>
                <a:gd name="T51" fmla="*/ 726 h 1880"/>
                <a:gd name="T52" fmla="*/ 2016 w 2178"/>
                <a:gd name="T53" fmla="*/ 733 h 1880"/>
                <a:gd name="T54" fmla="*/ 1940 w 2178"/>
                <a:gd name="T55" fmla="*/ 741 h 1880"/>
                <a:gd name="T56" fmla="*/ 1932 w 2178"/>
                <a:gd name="T57" fmla="*/ 642 h 1880"/>
                <a:gd name="T58" fmla="*/ 1841 w 2178"/>
                <a:gd name="T59" fmla="*/ 672 h 1880"/>
                <a:gd name="T60" fmla="*/ 1719 w 2178"/>
                <a:gd name="T61" fmla="*/ 718 h 1880"/>
                <a:gd name="T62" fmla="*/ 1581 w 2178"/>
                <a:gd name="T63" fmla="*/ 802 h 1880"/>
                <a:gd name="T64" fmla="*/ 1467 w 2178"/>
                <a:gd name="T65" fmla="*/ 672 h 1880"/>
                <a:gd name="T66" fmla="*/ 1405 w 2178"/>
                <a:gd name="T67" fmla="*/ 626 h 1880"/>
                <a:gd name="T68" fmla="*/ 1306 w 2178"/>
                <a:gd name="T69" fmla="*/ 535 h 1880"/>
                <a:gd name="T70" fmla="*/ 1314 w 2178"/>
                <a:gd name="T71" fmla="*/ 451 h 1880"/>
                <a:gd name="T72" fmla="*/ 1283 w 2178"/>
                <a:gd name="T73" fmla="*/ 405 h 1880"/>
                <a:gd name="T74" fmla="*/ 1291 w 2178"/>
                <a:gd name="T75" fmla="*/ 298 h 1880"/>
                <a:gd name="T76" fmla="*/ 1367 w 2178"/>
                <a:gd name="T77" fmla="*/ 184 h 1880"/>
                <a:gd name="T78" fmla="*/ 1405 w 2178"/>
                <a:gd name="T79" fmla="*/ 107 h 1880"/>
                <a:gd name="T80" fmla="*/ 1306 w 2178"/>
                <a:gd name="T81" fmla="*/ 31 h 1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78" h="1880">
                  <a:moveTo>
                    <a:pt x="1283" y="0"/>
                  </a:moveTo>
                  <a:lnTo>
                    <a:pt x="1283" y="0"/>
                  </a:lnTo>
                  <a:cubicBezTo>
                    <a:pt x="1238" y="8"/>
                    <a:pt x="1199" y="31"/>
                    <a:pt x="1169" y="31"/>
                  </a:cubicBezTo>
                  <a:lnTo>
                    <a:pt x="1169" y="31"/>
                  </a:lnTo>
                  <a:cubicBezTo>
                    <a:pt x="1138" y="46"/>
                    <a:pt x="1062" y="53"/>
                    <a:pt x="1031" y="76"/>
                  </a:cubicBezTo>
                  <a:cubicBezTo>
                    <a:pt x="1001" y="92"/>
                    <a:pt x="978" y="122"/>
                    <a:pt x="955" y="153"/>
                  </a:cubicBezTo>
                  <a:cubicBezTo>
                    <a:pt x="940" y="168"/>
                    <a:pt x="955" y="199"/>
                    <a:pt x="932" y="214"/>
                  </a:cubicBezTo>
                  <a:cubicBezTo>
                    <a:pt x="909" y="245"/>
                    <a:pt x="871" y="245"/>
                    <a:pt x="840" y="260"/>
                  </a:cubicBezTo>
                  <a:cubicBezTo>
                    <a:pt x="810" y="283"/>
                    <a:pt x="794" y="344"/>
                    <a:pt x="764" y="374"/>
                  </a:cubicBezTo>
                  <a:lnTo>
                    <a:pt x="764" y="374"/>
                  </a:lnTo>
                  <a:lnTo>
                    <a:pt x="764" y="374"/>
                  </a:lnTo>
                  <a:cubicBezTo>
                    <a:pt x="672" y="405"/>
                    <a:pt x="794" y="520"/>
                    <a:pt x="741" y="581"/>
                  </a:cubicBezTo>
                  <a:cubicBezTo>
                    <a:pt x="718" y="611"/>
                    <a:pt x="688" y="680"/>
                    <a:pt x="657" y="695"/>
                  </a:cubicBezTo>
                  <a:cubicBezTo>
                    <a:pt x="642" y="703"/>
                    <a:pt x="588" y="695"/>
                    <a:pt x="588" y="718"/>
                  </a:cubicBezTo>
                  <a:cubicBezTo>
                    <a:pt x="588" y="772"/>
                    <a:pt x="435" y="901"/>
                    <a:pt x="420" y="840"/>
                  </a:cubicBezTo>
                  <a:cubicBezTo>
                    <a:pt x="321" y="871"/>
                    <a:pt x="0" y="1276"/>
                    <a:pt x="138" y="1276"/>
                  </a:cubicBezTo>
                  <a:cubicBezTo>
                    <a:pt x="145" y="1245"/>
                    <a:pt x="183" y="1230"/>
                    <a:pt x="206" y="1237"/>
                  </a:cubicBezTo>
                  <a:cubicBezTo>
                    <a:pt x="283" y="1245"/>
                    <a:pt x="443" y="1085"/>
                    <a:pt x="443" y="1283"/>
                  </a:cubicBezTo>
                  <a:cubicBezTo>
                    <a:pt x="451" y="1283"/>
                    <a:pt x="451" y="1283"/>
                    <a:pt x="451" y="1283"/>
                  </a:cubicBezTo>
                  <a:cubicBezTo>
                    <a:pt x="458" y="1268"/>
                    <a:pt x="474" y="1260"/>
                    <a:pt x="489" y="1253"/>
                  </a:cubicBezTo>
                  <a:cubicBezTo>
                    <a:pt x="496" y="1253"/>
                    <a:pt x="527" y="1245"/>
                    <a:pt x="527" y="1237"/>
                  </a:cubicBezTo>
                  <a:cubicBezTo>
                    <a:pt x="535" y="1237"/>
                    <a:pt x="519" y="1192"/>
                    <a:pt x="519" y="1176"/>
                  </a:cubicBezTo>
                  <a:cubicBezTo>
                    <a:pt x="519" y="1016"/>
                    <a:pt x="802" y="932"/>
                    <a:pt x="940" y="932"/>
                  </a:cubicBezTo>
                  <a:cubicBezTo>
                    <a:pt x="1024" y="932"/>
                    <a:pt x="1138" y="1062"/>
                    <a:pt x="1085" y="1138"/>
                  </a:cubicBezTo>
                  <a:cubicBezTo>
                    <a:pt x="1024" y="1230"/>
                    <a:pt x="1092" y="1299"/>
                    <a:pt x="1161" y="1383"/>
                  </a:cubicBezTo>
                  <a:cubicBezTo>
                    <a:pt x="1161" y="1406"/>
                    <a:pt x="1161" y="1459"/>
                    <a:pt x="1199" y="1451"/>
                  </a:cubicBezTo>
                  <a:cubicBezTo>
                    <a:pt x="1222" y="1444"/>
                    <a:pt x="1245" y="1421"/>
                    <a:pt x="1260" y="1421"/>
                  </a:cubicBezTo>
                  <a:cubicBezTo>
                    <a:pt x="1260" y="1459"/>
                    <a:pt x="1184" y="1512"/>
                    <a:pt x="1153" y="1535"/>
                  </a:cubicBezTo>
                  <a:cubicBezTo>
                    <a:pt x="1092" y="1589"/>
                    <a:pt x="1085" y="1703"/>
                    <a:pt x="1123" y="1772"/>
                  </a:cubicBezTo>
                  <a:cubicBezTo>
                    <a:pt x="1146" y="1810"/>
                    <a:pt x="1153" y="1841"/>
                    <a:pt x="1169" y="1879"/>
                  </a:cubicBezTo>
                  <a:lnTo>
                    <a:pt x="1169" y="1879"/>
                  </a:lnTo>
                  <a:cubicBezTo>
                    <a:pt x="1421" y="1803"/>
                    <a:pt x="1421" y="1803"/>
                    <a:pt x="1421" y="1803"/>
                  </a:cubicBezTo>
                  <a:lnTo>
                    <a:pt x="1421" y="1803"/>
                  </a:lnTo>
                  <a:cubicBezTo>
                    <a:pt x="1436" y="1787"/>
                    <a:pt x="1459" y="1772"/>
                    <a:pt x="1482" y="1749"/>
                  </a:cubicBezTo>
                  <a:cubicBezTo>
                    <a:pt x="1505" y="1719"/>
                    <a:pt x="1528" y="1688"/>
                    <a:pt x="1543" y="1650"/>
                  </a:cubicBezTo>
                  <a:cubicBezTo>
                    <a:pt x="1558" y="1604"/>
                    <a:pt x="1551" y="1535"/>
                    <a:pt x="1596" y="1512"/>
                  </a:cubicBezTo>
                  <a:cubicBezTo>
                    <a:pt x="1642" y="1482"/>
                    <a:pt x="1703" y="1520"/>
                    <a:pt x="1757" y="1512"/>
                  </a:cubicBezTo>
                  <a:cubicBezTo>
                    <a:pt x="1780" y="1505"/>
                    <a:pt x="1787" y="1482"/>
                    <a:pt x="1803" y="1474"/>
                  </a:cubicBezTo>
                  <a:cubicBezTo>
                    <a:pt x="1833" y="1459"/>
                    <a:pt x="1879" y="1467"/>
                    <a:pt x="1910" y="1444"/>
                  </a:cubicBezTo>
                  <a:cubicBezTo>
                    <a:pt x="1932" y="1421"/>
                    <a:pt x="1948" y="1383"/>
                    <a:pt x="1948" y="1345"/>
                  </a:cubicBezTo>
                  <a:cubicBezTo>
                    <a:pt x="1948" y="1299"/>
                    <a:pt x="1917" y="1253"/>
                    <a:pt x="1917" y="1207"/>
                  </a:cubicBezTo>
                  <a:cubicBezTo>
                    <a:pt x="1917" y="1176"/>
                    <a:pt x="1910" y="1146"/>
                    <a:pt x="1932" y="1123"/>
                  </a:cubicBezTo>
                  <a:cubicBezTo>
                    <a:pt x="1955" y="1100"/>
                    <a:pt x="2001" y="1115"/>
                    <a:pt x="2032" y="1100"/>
                  </a:cubicBezTo>
                  <a:cubicBezTo>
                    <a:pt x="2062" y="1085"/>
                    <a:pt x="2078" y="1047"/>
                    <a:pt x="2093" y="1024"/>
                  </a:cubicBezTo>
                  <a:lnTo>
                    <a:pt x="2093" y="1024"/>
                  </a:lnTo>
                  <a:cubicBezTo>
                    <a:pt x="2101" y="1001"/>
                    <a:pt x="2101" y="970"/>
                    <a:pt x="2108" y="940"/>
                  </a:cubicBezTo>
                  <a:cubicBezTo>
                    <a:pt x="2116" y="924"/>
                    <a:pt x="2139" y="909"/>
                    <a:pt x="2139" y="886"/>
                  </a:cubicBezTo>
                  <a:cubicBezTo>
                    <a:pt x="2139" y="863"/>
                    <a:pt x="2093" y="856"/>
                    <a:pt x="2101" y="840"/>
                  </a:cubicBezTo>
                  <a:cubicBezTo>
                    <a:pt x="2108" y="810"/>
                    <a:pt x="2154" y="802"/>
                    <a:pt x="2169" y="772"/>
                  </a:cubicBezTo>
                  <a:cubicBezTo>
                    <a:pt x="2177" y="756"/>
                    <a:pt x="2154" y="733"/>
                    <a:pt x="2146" y="711"/>
                  </a:cubicBezTo>
                  <a:lnTo>
                    <a:pt x="2146" y="711"/>
                  </a:lnTo>
                  <a:cubicBezTo>
                    <a:pt x="2146" y="718"/>
                    <a:pt x="2139" y="718"/>
                    <a:pt x="2131" y="726"/>
                  </a:cubicBezTo>
                  <a:cubicBezTo>
                    <a:pt x="2116" y="733"/>
                    <a:pt x="2101" y="741"/>
                    <a:pt x="2085" y="741"/>
                  </a:cubicBezTo>
                  <a:cubicBezTo>
                    <a:pt x="2062" y="741"/>
                    <a:pt x="2039" y="733"/>
                    <a:pt x="2016" y="733"/>
                  </a:cubicBezTo>
                  <a:cubicBezTo>
                    <a:pt x="2009" y="733"/>
                    <a:pt x="2009" y="756"/>
                    <a:pt x="1994" y="756"/>
                  </a:cubicBezTo>
                  <a:cubicBezTo>
                    <a:pt x="1978" y="756"/>
                    <a:pt x="1948" y="756"/>
                    <a:pt x="1940" y="741"/>
                  </a:cubicBezTo>
                  <a:cubicBezTo>
                    <a:pt x="1917" y="726"/>
                    <a:pt x="1917" y="695"/>
                    <a:pt x="1917" y="672"/>
                  </a:cubicBezTo>
                  <a:cubicBezTo>
                    <a:pt x="1917" y="665"/>
                    <a:pt x="1940" y="649"/>
                    <a:pt x="1932" y="642"/>
                  </a:cubicBezTo>
                  <a:cubicBezTo>
                    <a:pt x="1917" y="626"/>
                    <a:pt x="1902" y="642"/>
                    <a:pt x="1887" y="649"/>
                  </a:cubicBezTo>
                  <a:cubicBezTo>
                    <a:pt x="1871" y="649"/>
                    <a:pt x="1856" y="665"/>
                    <a:pt x="1841" y="672"/>
                  </a:cubicBezTo>
                  <a:cubicBezTo>
                    <a:pt x="1826" y="680"/>
                    <a:pt x="1818" y="695"/>
                    <a:pt x="1795" y="703"/>
                  </a:cubicBezTo>
                  <a:cubicBezTo>
                    <a:pt x="1772" y="711"/>
                    <a:pt x="1742" y="703"/>
                    <a:pt x="1719" y="718"/>
                  </a:cubicBezTo>
                  <a:cubicBezTo>
                    <a:pt x="1688" y="733"/>
                    <a:pt x="1673" y="764"/>
                    <a:pt x="1642" y="787"/>
                  </a:cubicBezTo>
                  <a:cubicBezTo>
                    <a:pt x="1627" y="795"/>
                    <a:pt x="1604" y="810"/>
                    <a:pt x="1581" y="802"/>
                  </a:cubicBezTo>
                  <a:cubicBezTo>
                    <a:pt x="1558" y="795"/>
                    <a:pt x="1543" y="756"/>
                    <a:pt x="1528" y="741"/>
                  </a:cubicBezTo>
                  <a:cubicBezTo>
                    <a:pt x="1505" y="718"/>
                    <a:pt x="1482" y="695"/>
                    <a:pt x="1467" y="672"/>
                  </a:cubicBezTo>
                  <a:cubicBezTo>
                    <a:pt x="1451" y="657"/>
                    <a:pt x="1467" y="634"/>
                    <a:pt x="1451" y="619"/>
                  </a:cubicBezTo>
                  <a:cubicBezTo>
                    <a:pt x="1436" y="611"/>
                    <a:pt x="1421" y="626"/>
                    <a:pt x="1405" y="626"/>
                  </a:cubicBezTo>
                  <a:cubicBezTo>
                    <a:pt x="1375" y="634"/>
                    <a:pt x="1344" y="657"/>
                    <a:pt x="1321" y="642"/>
                  </a:cubicBezTo>
                  <a:cubicBezTo>
                    <a:pt x="1299" y="619"/>
                    <a:pt x="1306" y="565"/>
                    <a:pt x="1306" y="535"/>
                  </a:cubicBezTo>
                  <a:cubicBezTo>
                    <a:pt x="1306" y="512"/>
                    <a:pt x="1337" y="504"/>
                    <a:pt x="1337" y="489"/>
                  </a:cubicBezTo>
                  <a:cubicBezTo>
                    <a:pt x="1337" y="474"/>
                    <a:pt x="1329" y="466"/>
                    <a:pt x="1314" y="451"/>
                  </a:cubicBezTo>
                  <a:cubicBezTo>
                    <a:pt x="1306" y="443"/>
                    <a:pt x="1291" y="443"/>
                    <a:pt x="1291" y="428"/>
                  </a:cubicBezTo>
                  <a:cubicBezTo>
                    <a:pt x="1283" y="420"/>
                    <a:pt x="1291" y="413"/>
                    <a:pt x="1283" y="405"/>
                  </a:cubicBezTo>
                  <a:cubicBezTo>
                    <a:pt x="1276" y="397"/>
                    <a:pt x="1253" y="405"/>
                    <a:pt x="1253" y="390"/>
                  </a:cubicBezTo>
                  <a:cubicBezTo>
                    <a:pt x="1253" y="359"/>
                    <a:pt x="1268" y="328"/>
                    <a:pt x="1291" y="298"/>
                  </a:cubicBezTo>
                  <a:cubicBezTo>
                    <a:pt x="1306" y="275"/>
                    <a:pt x="1337" y="267"/>
                    <a:pt x="1352" y="252"/>
                  </a:cubicBezTo>
                  <a:cubicBezTo>
                    <a:pt x="1367" y="229"/>
                    <a:pt x="1360" y="206"/>
                    <a:pt x="1367" y="184"/>
                  </a:cubicBezTo>
                  <a:cubicBezTo>
                    <a:pt x="1367" y="168"/>
                    <a:pt x="1382" y="161"/>
                    <a:pt x="1390" y="145"/>
                  </a:cubicBezTo>
                  <a:cubicBezTo>
                    <a:pt x="1398" y="130"/>
                    <a:pt x="1413" y="115"/>
                    <a:pt x="1405" y="107"/>
                  </a:cubicBezTo>
                  <a:cubicBezTo>
                    <a:pt x="1405" y="92"/>
                    <a:pt x="1382" y="99"/>
                    <a:pt x="1367" y="92"/>
                  </a:cubicBezTo>
                  <a:cubicBezTo>
                    <a:pt x="1344" y="76"/>
                    <a:pt x="1321" y="53"/>
                    <a:pt x="1306" y="31"/>
                  </a:cubicBezTo>
                  <a:cubicBezTo>
                    <a:pt x="1283" y="8"/>
                    <a:pt x="1299" y="23"/>
                    <a:pt x="128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21"/>
            <p:cNvSpPr>
              <a:spLocks noChangeArrowheads="1"/>
            </p:cNvSpPr>
            <p:nvPr/>
          </p:nvSpPr>
          <p:spPr bwMode="auto">
            <a:xfrm>
              <a:off x="5311429" y="7202488"/>
              <a:ext cx="371451" cy="292100"/>
            </a:xfrm>
            <a:custGeom>
              <a:avLst/>
              <a:gdLst>
                <a:gd name="T0" fmla="*/ 550 w 1032"/>
                <a:gd name="T1" fmla="*/ 809 h 810"/>
                <a:gd name="T2" fmla="*/ 550 w 1032"/>
                <a:gd name="T3" fmla="*/ 809 h 810"/>
                <a:gd name="T4" fmla="*/ 626 w 1032"/>
                <a:gd name="T5" fmla="*/ 695 h 810"/>
                <a:gd name="T6" fmla="*/ 718 w 1032"/>
                <a:gd name="T7" fmla="*/ 649 h 810"/>
                <a:gd name="T8" fmla="*/ 741 w 1032"/>
                <a:gd name="T9" fmla="*/ 588 h 810"/>
                <a:gd name="T10" fmla="*/ 817 w 1032"/>
                <a:gd name="T11" fmla="*/ 511 h 810"/>
                <a:gd name="T12" fmla="*/ 955 w 1032"/>
                <a:gd name="T13" fmla="*/ 466 h 810"/>
                <a:gd name="T14" fmla="*/ 955 w 1032"/>
                <a:gd name="T15" fmla="*/ 466 h 810"/>
                <a:gd name="T16" fmla="*/ 955 w 1032"/>
                <a:gd name="T17" fmla="*/ 466 h 810"/>
                <a:gd name="T18" fmla="*/ 1001 w 1032"/>
                <a:gd name="T19" fmla="*/ 305 h 810"/>
                <a:gd name="T20" fmla="*/ 886 w 1032"/>
                <a:gd name="T21" fmla="*/ 313 h 810"/>
                <a:gd name="T22" fmla="*/ 626 w 1032"/>
                <a:gd name="T23" fmla="*/ 61 h 810"/>
                <a:gd name="T24" fmla="*/ 519 w 1032"/>
                <a:gd name="T25" fmla="*/ 38 h 810"/>
                <a:gd name="T26" fmla="*/ 367 w 1032"/>
                <a:gd name="T27" fmla="*/ 30 h 810"/>
                <a:gd name="T28" fmla="*/ 260 w 1032"/>
                <a:gd name="T29" fmla="*/ 61 h 810"/>
                <a:gd name="T30" fmla="*/ 221 w 1032"/>
                <a:gd name="T31" fmla="*/ 69 h 810"/>
                <a:gd name="T32" fmla="*/ 183 w 1032"/>
                <a:gd name="T33" fmla="*/ 76 h 810"/>
                <a:gd name="T34" fmla="*/ 130 w 1032"/>
                <a:gd name="T35" fmla="*/ 336 h 810"/>
                <a:gd name="T36" fmla="*/ 38 w 1032"/>
                <a:gd name="T37" fmla="*/ 298 h 810"/>
                <a:gd name="T38" fmla="*/ 0 w 1032"/>
                <a:gd name="T39" fmla="*/ 389 h 810"/>
                <a:gd name="T40" fmla="*/ 92 w 1032"/>
                <a:gd name="T41" fmla="*/ 405 h 810"/>
                <a:gd name="T42" fmla="*/ 206 w 1032"/>
                <a:gd name="T43" fmla="*/ 504 h 810"/>
                <a:gd name="T44" fmla="*/ 267 w 1032"/>
                <a:gd name="T45" fmla="*/ 596 h 810"/>
                <a:gd name="T46" fmla="*/ 389 w 1032"/>
                <a:gd name="T47" fmla="*/ 725 h 810"/>
                <a:gd name="T48" fmla="*/ 550 w 1032"/>
                <a:gd name="T49" fmla="*/ 809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32" h="810">
                  <a:moveTo>
                    <a:pt x="550" y="809"/>
                  </a:moveTo>
                  <a:lnTo>
                    <a:pt x="550" y="809"/>
                  </a:lnTo>
                  <a:cubicBezTo>
                    <a:pt x="580" y="779"/>
                    <a:pt x="596" y="718"/>
                    <a:pt x="626" y="695"/>
                  </a:cubicBezTo>
                  <a:cubicBezTo>
                    <a:pt x="657" y="680"/>
                    <a:pt x="695" y="680"/>
                    <a:pt x="718" y="649"/>
                  </a:cubicBezTo>
                  <a:cubicBezTo>
                    <a:pt x="741" y="634"/>
                    <a:pt x="726" y="603"/>
                    <a:pt x="741" y="588"/>
                  </a:cubicBezTo>
                  <a:cubicBezTo>
                    <a:pt x="764" y="557"/>
                    <a:pt x="787" y="527"/>
                    <a:pt x="817" y="511"/>
                  </a:cubicBezTo>
                  <a:cubicBezTo>
                    <a:pt x="848" y="488"/>
                    <a:pt x="924" y="481"/>
                    <a:pt x="955" y="466"/>
                  </a:cubicBezTo>
                  <a:lnTo>
                    <a:pt x="955" y="466"/>
                  </a:lnTo>
                  <a:lnTo>
                    <a:pt x="955" y="466"/>
                  </a:lnTo>
                  <a:cubicBezTo>
                    <a:pt x="955" y="458"/>
                    <a:pt x="1031" y="290"/>
                    <a:pt x="1001" y="305"/>
                  </a:cubicBezTo>
                  <a:cubicBezTo>
                    <a:pt x="962" y="328"/>
                    <a:pt x="932" y="298"/>
                    <a:pt x="886" y="313"/>
                  </a:cubicBezTo>
                  <a:cubicBezTo>
                    <a:pt x="756" y="374"/>
                    <a:pt x="657" y="152"/>
                    <a:pt x="626" y="61"/>
                  </a:cubicBezTo>
                  <a:cubicBezTo>
                    <a:pt x="588" y="61"/>
                    <a:pt x="550" y="53"/>
                    <a:pt x="519" y="38"/>
                  </a:cubicBezTo>
                  <a:cubicBezTo>
                    <a:pt x="443" y="0"/>
                    <a:pt x="443" y="23"/>
                    <a:pt x="367" y="30"/>
                  </a:cubicBezTo>
                  <a:cubicBezTo>
                    <a:pt x="321" y="30"/>
                    <a:pt x="298" y="38"/>
                    <a:pt x="260" y="61"/>
                  </a:cubicBezTo>
                  <a:cubicBezTo>
                    <a:pt x="252" y="69"/>
                    <a:pt x="237" y="69"/>
                    <a:pt x="221" y="69"/>
                  </a:cubicBezTo>
                  <a:cubicBezTo>
                    <a:pt x="214" y="76"/>
                    <a:pt x="183" y="69"/>
                    <a:pt x="183" y="76"/>
                  </a:cubicBezTo>
                  <a:cubicBezTo>
                    <a:pt x="229" y="107"/>
                    <a:pt x="160" y="336"/>
                    <a:pt x="130" y="336"/>
                  </a:cubicBezTo>
                  <a:cubicBezTo>
                    <a:pt x="84" y="336"/>
                    <a:pt x="107" y="259"/>
                    <a:pt x="38" y="298"/>
                  </a:cubicBezTo>
                  <a:cubicBezTo>
                    <a:pt x="0" y="313"/>
                    <a:pt x="0" y="344"/>
                    <a:pt x="0" y="389"/>
                  </a:cubicBezTo>
                  <a:cubicBezTo>
                    <a:pt x="23" y="389"/>
                    <a:pt x="76" y="374"/>
                    <a:pt x="92" y="405"/>
                  </a:cubicBezTo>
                  <a:cubicBezTo>
                    <a:pt x="137" y="504"/>
                    <a:pt x="84" y="466"/>
                    <a:pt x="206" y="504"/>
                  </a:cubicBezTo>
                  <a:cubicBezTo>
                    <a:pt x="252" y="519"/>
                    <a:pt x="260" y="557"/>
                    <a:pt x="267" y="596"/>
                  </a:cubicBezTo>
                  <a:cubicBezTo>
                    <a:pt x="275" y="619"/>
                    <a:pt x="367" y="702"/>
                    <a:pt x="389" y="725"/>
                  </a:cubicBezTo>
                  <a:cubicBezTo>
                    <a:pt x="443" y="771"/>
                    <a:pt x="489" y="794"/>
                    <a:pt x="550" y="80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22"/>
            <p:cNvSpPr>
              <a:spLocks noChangeArrowheads="1"/>
            </p:cNvSpPr>
            <p:nvPr/>
          </p:nvSpPr>
          <p:spPr bwMode="auto">
            <a:xfrm>
              <a:off x="6132114" y="7599364"/>
              <a:ext cx="552414" cy="642937"/>
            </a:xfrm>
            <a:custGeom>
              <a:avLst/>
              <a:gdLst>
                <a:gd name="T0" fmla="*/ 1298 w 1535"/>
                <a:gd name="T1" fmla="*/ 0 h 1788"/>
                <a:gd name="T2" fmla="*/ 1206 w 1535"/>
                <a:gd name="T3" fmla="*/ 160 h 1788"/>
                <a:gd name="T4" fmla="*/ 1198 w 1535"/>
                <a:gd name="T5" fmla="*/ 305 h 1788"/>
                <a:gd name="T6" fmla="*/ 1290 w 1535"/>
                <a:gd name="T7" fmla="*/ 389 h 1788"/>
                <a:gd name="T8" fmla="*/ 1244 w 1535"/>
                <a:gd name="T9" fmla="*/ 435 h 1788"/>
                <a:gd name="T10" fmla="*/ 1183 w 1535"/>
                <a:gd name="T11" fmla="*/ 542 h 1788"/>
                <a:gd name="T12" fmla="*/ 1130 w 1535"/>
                <a:gd name="T13" fmla="*/ 496 h 1788"/>
                <a:gd name="T14" fmla="*/ 984 w 1535"/>
                <a:gd name="T15" fmla="*/ 504 h 1788"/>
                <a:gd name="T16" fmla="*/ 870 w 1535"/>
                <a:gd name="T17" fmla="*/ 618 h 1788"/>
                <a:gd name="T18" fmla="*/ 961 w 1535"/>
                <a:gd name="T19" fmla="*/ 725 h 1788"/>
                <a:gd name="T20" fmla="*/ 1046 w 1535"/>
                <a:gd name="T21" fmla="*/ 847 h 1788"/>
                <a:gd name="T22" fmla="*/ 1229 w 1535"/>
                <a:gd name="T23" fmla="*/ 993 h 1788"/>
                <a:gd name="T24" fmla="*/ 1267 w 1535"/>
                <a:gd name="T25" fmla="*/ 840 h 1788"/>
                <a:gd name="T26" fmla="*/ 1298 w 1535"/>
                <a:gd name="T27" fmla="*/ 664 h 1788"/>
                <a:gd name="T28" fmla="*/ 1412 w 1535"/>
                <a:gd name="T29" fmla="*/ 680 h 1788"/>
                <a:gd name="T30" fmla="*/ 1511 w 1535"/>
                <a:gd name="T31" fmla="*/ 794 h 1788"/>
                <a:gd name="T32" fmla="*/ 1519 w 1535"/>
                <a:gd name="T33" fmla="*/ 955 h 1788"/>
                <a:gd name="T34" fmla="*/ 1420 w 1535"/>
                <a:gd name="T35" fmla="*/ 985 h 1788"/>
                <a:gd name="T36" fmla="*/ 1488 w 1535"/>
                <a:gd name="T37" fmla="*/ 1084 h 1788"/>
                <a:gd name="T38" fmla="*/ 1435 w 1535"/>
                <a:gd name="T39" fmla="*/ 1291 h 1788"/>
                <a:gd name="T40" fmla="*/ 1466 w 1535"/>
                <a:gd name="T41" fmla="*/ 1405 h 1788"/>
                <a:gd name="T42" fmla="*/ 1389 w 1535"/>
                <a:gd name="T43" fmla="*/ 1566 h 1788"/>
                <a:gd name="T44" fmla="*/ 1275 w 1535"/>
                <a:gd name="T45" fmla="*/ 1619 h 1788"/>
                <a:gd name="T46" fmla="*/ 1152 w 1535"/>
                <a:gd name="T47" fmla="*/ 1711 h 1788"/>
                <a:gd name="T48" fmla="*/ 1046 w 1535"/>
                <a:gd name="T49" fmla="*/ 1764 h 1788"/>
                <a:gd name="T50" fmla="*/ 946 w 1535"/>
                <a:gd name="T51" fmla="*/ 1779 h 1788"/>
                <a:gd name="T52" fmla="*/ 824 w 1535"/>
                <a:gd name="T53" fmla="*/ 1787 h 1788"/>
                <a:gd name="T54" fmla="*/ 755 w 1535"/>
                <a:gd name="T55" fmla="*/ 1649 h 1788"/>
                <a:gd name="T56" fmla="*/ 679 w 1535"/>
                <a:gd name="T57" fmla="*/ 1588 h 1788"/>
                <a:gd name="T58" fmla="*/ 457 w 1535"/>
                <a:gd name="T59" fmla="*/ 1680 h 1788"/>
                <a:gd name="T60" fmla="*/ 343 w 1535"/>
                <a:gd name="T61" fmla="*/ 1711 h 1788"/>
                <a:gd name="T62" fmla="*/ 121 w 1535"/>
                <a:gd name="T63" fmla="*/ 1550 h 1788"/>
                <a:gd name="T64" fmla="*/ 31 w 1535"/>
                <a:gd name="T65" fmla="*/ 1428 h 1788"/>
                <a:gd name="T66" fmla="*/ 144 w 1535"/>
                <a:gd name="T67" fmla="*/ 1336 h 1788"/>
                <a:gd name="T68" fmla="*/ 282 w 1535"/>
                <a:gd name="T69" fmla="*/ 1313 h 1788"/>
                <a:gd name="T70" fmla="*/ 381 w 1535"/>
                <a:gd name="T71" fmla="*/ 1161 h 1788"/>
                <a:gd name="T72" fmla="*/ 251 w 1535"/>
                <a:gd name="T73" fmla="*/ 1199 h 1788"/>
                <a:gd name="T74" fmla="*/ 182 w 1535"/>
                <a:gd name="T75" fmla="*/ 1115 h 1788"/>
                <a:gd name="T76" fmla="*/ 282 w 1535"/>
                <a:gd name="T77" fmla="*/ 977 h 1788"/>
                <a:gd name="T78" fmla="*/ 305 w 1535"/>
                <a:gd name="T79" fmla="*/ 870 h 1788"/>
                <a:gd name="T80" fmla="*/ 343 w 1535"/>
                <a:gd name="T81" fmla="*/ 779 h 1788"/>
                <a:gd name="T82" fmla="*/ 389 w 1535"/>
                <a:gd name="T83" fmla="*/ 672 h 1788"/>
                <a:gd name="T84" fmla="*/ 266 w 1535"/>
                <a:gd name="T85" fmla="*/ 588 h 1788"/>
                <a:gd name="T86" fmla="*/ 167 w 1535"/>
                <a:gd name="T87" fmla="*/ 534 h 1788"/>
                <a:gd name="T88" fmla="*/ 175 w 1535"/>
                <a:gd name="T89" fmla="*/ 374 h 1788"/>
                <a:gd name="T90" fmla="*/ 152 w 1535"/>
                <a:gd name="T91" fmla="*/ 313 h 1788"/>
                <a:gd name="T92" fmla="*/ 205 w 1535"/>
                <a:gd name="T93" fmla="*/ 282 h 1788"/>
                <a:gd name="T94" fmla="*/ 373 w 1535"/>
                <a:gd name="T95" fmla="*/ 137 h 1788"/>
                <a:gd name="T96" fmla="*/ 549 w 1535"/>
                <a:gd name="T97" fmla="*/ 152 h 1788"/>
                <a:gd name="T98" fmla="*/ 725 w 1535"/>
                <a:gd name="T99" fmla="*/ 252 h 1788"/>
                <a:gd name="T100" fmla="*/ 794 w 1535"/>
                <a:gd name="T101" fmla="*/ 68 h 1788"/>
                <a:gd name="T102" fmla="*/ 877 w 1535"/>
                <a:gd name="T103" fmla="*/ 15 h 1788"/>
                <a:gd name="T104" fmla="*/ 961 w 1535"/>
                <a:gd name="T105" fmla="*/ 91 h 1788"/>
                <a:gd name="T106" fmla="*/ 1076 w 1535"/>
                <a:gd name="T107" fmla="*/ 68 h 1788"/>
                <a:gd name="T108" fmla="*/ 1206 w 1535"/>
                <a:gd name="T109" fmla="*/ 38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5" h="1788">
                  <a:moveTo>
                    <a:pt x="1298" y="0"/>
                  </a:moveTo>
                  <a:lnTo>
                    <a:pt x="1298" y="0"/>
                  </a:lnTo>
                  <a:cubicBezTo>
                    <a:pt x="1298" y="30"/>
                    <a:pt x="1313" y="61"/>
                    <a:pt x="1298" y="84"/>
                  </a:cubicBezTo>
                  <a:cubicBezTo>
                    <a:pt x="1275" y="122"/>
                    <a:pt x="1229" y="130"/>
                    <a:pt x="1206" y="160"/>
                  </a:cubicBezTo>
                  <a:cubicBezTo>
                    <a:pt x="1183" y="183"/>
                    <a:pt x="1168" y="213"/>
                    <a:pt x="1168" y="244"/>
                  </a:cubicBezTo>
                  <a:cubicBezTo>
                    <a:pt x="1168" y="267"/>
                    <a:pt x="1175" y="298"/>
                    <a:pt x="1198" y="305"/>
                  </a:cubicBezTo>
                  <a:cubicBezTo>
                    <a:pt x="1236" y="313"/>
                    <a:pt x="1282" y="244"/>
                    <a:pt x="1305" y="267"/>
                  </a:cubicBezTo>
                  <a:cubicBezTo>
                    <a:pt x="1336" y="298"/>
                    <a:pt x="1305" y="351"/>
                    <a:pt x="1290" y="389"/>
                  </a:cubicBezTo>
                  <a:cubicBezTo>
                    <a:pt x="1282" y="412"/>
                    <a:pt x="1259" y="420"/>
                    <a:pt x="1244" y="435"/>
                  </a:cubicBezTo>
                  <a:lnTo>
                    <a:pt x="1244" y="435"/>
                  </a:lnTo>
                  <a:cubicBezTo>
                    <a:pt x="1221" y="443"/>
                    <a:pt x="1175" y="427"/>
                    <a:pt x="1168" y="450"/>
                  </a:cubicBezTo>
                  <a:cubicBezTo>
                    <a:pt x="1145" y="473"/>
                    <a:pt x="1183" y="511"/>
                    <a:pt x="1183" y="542"/>
                  </a:cubicBezTo>
                  <a:cubicBezTo>
                    <a:pt x="1175" y="550"/>
                    <a:pt x="1160" y="557"/>
                    <a:pt x="1152" y="550"/>
                  </a:cubicBezTo>
                  <a:cubicBezTo>
                    <a:pt x="1137" y="534"/>
                    <a:pt x="1152" y="496"/>
                    <a:pt x="1130" y="496"/>
                  </a:cubicBezTo>
                  <a:cubicBezTo>
                    <a:pt x="1114" y="488"/>
                    <a:pt x="1099" y="534"/>
                    <a:pt x="1084" y="534"/>
                  </a:cubicBezTo>
                  <a:cubicBezTo>
                    <a:pt x="1046" y="534"/>
                    <a:pt x="1015" y="496"/>
                    <a:pt x="984" y="504"/>
                  </a:cubicBezTo>
                  <a:cubicBezTo>
                    <a:pt x="969" y="511"/>
                    <a:pt x="1000" y="550"/>
                    <a:pt x="984" y="565"/>
                  </a:cubicBezTo>
                  <a:cubicBezTo>
                    <a:pt x="954" y="595"/>
                    <a:pt x="900" y="588"/>
                    <a:pt x="870" y="618"/>
                  </a:cubicBezTo>
                  <a:cubicBezTo>
                    <a:pt x="855" y="634"/>
                    <a:pt x="862" y="657"/>
                    <a:pt x="870" y="672"/>
                  </a:cubicBezTo>
                  <a:cubicBezTo>
                    <a:pt x="893" y="702"/>
                    <a:pt x="938" y="702"/>
                    <a:pt x="961" y="725"/>
                  </a:cubicBezTo>
                  <a:cubicBezTo>
                    <a:pt x="969" y="741"/>
                    <a:pt x="938" y="756"/>
                    <a:pt x="946" y="771"/>
                  </a:cubicBezTo>
                  <a:cubicBezTo>
                    <a:pt x="969" y="802"/>
                    <a:pt x="1015" y="817"/>
                    <a:pt x="1046" y="847"/>
                  </a:cubicBezTo>
                  <a:cubicBezTo>
                    <a:pt x="1076" y="878"/>
                    <a:pt x="1099" y="916"/>
                    <a:pt x="1130" y="939"/>
                  </a:cubicBezTo>
                  <a:cubicBezTo>
                    <a:pt x="1160" y="962"/>
                    <a:pt x="1191" y="993"/>
                    <a:pt x="1229" y="993"/>
                  </a:cubicBezTo>
                  <a:cubicBezTo>
                    <a:pt x="1252" y="993"/>
                    <a:pt x="1252" y="955"/>
                    <a:pt x="1259" y="939"/>
                  </a:cubicBezTo>
                  <a:cubicBezTo>
                    <a:pt x="1267" y="909"/>
                    <a:pt x="1259" y="870"/>
                    <a:pt x="1267" y="840"/>
                  </a:cubicBezTo>
                  <a:cubicBezTo>
                    <a:pt x="1275" y="794"/>
                    <a:pt x="1298" y="756"/>
                    <a:pt x="1305" y="710"/>
                  </a:cubicBezTo>
                  <a:cubicBezTo>
                    <a:pt x="1305" y="695"/>
                    <a:pt x="1282" y="664"/>
                    <a:pt x="1298" y="664"/>
                  </a:cubicBezTo>
                  <a:cubicBezTo>
                    <a:pt x="1336" y="657"/>
                    <a:pt x="1374" y="672"/>
                    <a:pt x="1412" y="680"/>
                  </a:cubicBezTo>
                  <a:lnTo>
                    <a:pt x="1412" y="680"/>
                  </a:lnTo>
                  <a:cubicBezTo>
                    <a:pt x="1412" y="718"/>
                    <a:pt x="1382" y="756"/>
                    <a:pt x="1397" y="786"/>
                  </a:cubicBezTo>
                  <a:cubicBezTo>
                    <a:pt x="1427" y="809"/>
                    <a:pt x="1481" y="779"/>
                    <a:pt x="1511" y="794"/>
                  </a:cubicBezTo>
                  <a:cubicBezTo>
                    <a:pt x="1534" y="809"/>
                    <a:pt x="1534" y="840"/>
                    <a:pt x="1534" y="863"/>
                  </a:cubicBezTo>
                  <a:cubicBezTo>
                    <a:pt x="1534" y="893"/>
                    <a:pt x="1527" y="924"/>
                    <a:pt x="1519" y="955"/>
                  </a:cubicBezTo>
                  <a:lnTo>
                    <a:pt x="1519" y="955"/>
                  </a:lnTo>
                  <a:cubicBezTo>
                    <a:pt x="1488" y="962"/>
                    <a:pt x="1443" y="962"/>
                    <a:pt x="1420" y="985"/>
                  </a:cubicBezTo>
                  <a:cubicBezTo>
                    <a:pt x="1405" y="1000"/>
                    <a:pt x="1420" y="1023"/>
                    <a:pt x="1427" y="1038"/>
                  </a:cubicBezTo>
                  <a:cubicBezTo>
                    <a:pt x="1443" y="1061"/>
                    <a:pt x="1473" y="1061"/>
                    <a:pt x="1488" y="1084"/>
                  </a:cubicBezTo>
                  <a:cubicBezTo>
                    <a:pt x="1504" y="1107"/>
                    <a:pt x="1519" y="1138"/>
                    <a:pt x="1511" y="1168"/>
                  </a:cubicBezTo>
                  <a:cubicBezTo>
                    <a:pt x="1496" y="1214"/>
                    <a:pt x="1443" y="1245"/>
                    <a:pt x="1435" y="1291"/>
                  </a:cubicBezTo>
                  <a:cubicBezTo>
                    <a:pt x="1427" y="1329"/>
                    <a:pt x="1458" y="1367"/>
                    <a:pt x="1466" y="1405"/>
                  </a:cubicBezTo>
                  <a:lnTo>
                    <a:pt x="1466" y="1405"/>
                  </a:lnTo>
                  <a:cubicBezTo>
                    <a:pt x="1435" y="1420"/>
                    <a:pt x="1382" y="1405"/>
                    <a:pt x="1374" y="1436"/>
                  </a:cubicBezTo>
                  <a:cubicBezTo>
                    <a:pt x="1351" y="1474"/>
                    <a:pt x="1382" y="1520"/>
                    <a:pt x="1389" y="1566"/>
                  </a:cubicBezTo>
                  <a:cubicBezTo>
                    <a:pt x="1389" y="1566"/>
                    <a:pt x="1298" y="1588"/>
                    <a:pt x="1290" y="1588"/>
                  </a:cubicBezTo>
                  <a:cubicBezTo>
                    <a:pt x="1282" y="1588"/>
                    <a:pt x="1275" y="1619"/>
                    <a:pt x="1275" y="1619"/>
                  </a:cubicBezTo>
                  <a:cubicBezTo>
                    <a:pt x="1275" y="1619"/>
                    <a:pt x="1206" y="1627"/>
                    <a:pt x="1191" y="1627"/>
                  </a:cubicBezTo>
                  <a:cubicBezTo>
                    <a:pt x="1183" y="1627"/>
                    <a:pt x="1152" y="1711"/>
                    <a:pt x="1152" y="1711"/>
                  </a:cubicBezTo>
                  <a:cubicBezTo>
                    <a:pt x="1130" y="1711"/>
                    <a:pt x="1107" y="1688"/>
                    <a:pt x="1084" y="1695"/>
                  </a:cubicBezTo>
                  <a:cubicBezTo>
                    <a:pt x="1061" y="1703"/>
                    <a:pt x="1069" y="1749"/>
                    <a:pt x="1046" y="1764"/>
                  </a:cubicBezTo>
                  <a:cubicBezTo>
                    <a:pt x="1015" y="1779"/>
                    <a:pt x="977" y="1779"/>
                    <a:pt x="946" y="1779"/>
                  </a:cubicBezTo>
                  <a:lnTo>
                    <a:pt x="946" y="1779"/>
                  </a:lnTo>
                  <a:cubicBezTo>
                    <a:pt x="931" y="1756"/>
                    <a:pt x="931" y="1703"/>
                    <a:pt x="900" y="1711"/>
                  </a:cubicBezTo>
                  <a:cubicBezTo>
                    <a:pt x="862" y="1711"/>
                    <a:pt x="855" y="1764"/>
                    <a:pt x="824" y="1787"/>
                  </a:cubicBezTo>
                  <a:cubicBezTo>
                    <a:pt x="824" y="1787"/>
                    <a:pt x="732" y="1711"/>
                    <a:pt x="732" y="1703"/>
                  </a:cubicBezTo>
                  <a:cubicBezTo>
                    <a:pt x="725" y="1695"/>
                    <a:pt x="755" y="1649"/>
                    <a:pt x="755" y="1649"/>
                  </a:cubicBezTo>
                  <a:lnTo>
                    <a:pt x="679" y="1642"/>
                  </a:lnTo>
                  <a:cubicBezTo>
                    <a:pt x="671" y="1642"/>
                    <a:pt x="679" y="1588"/>
                    <a:pt x="679" y="1588"/>
                  </a:cubicBezTo>
                  <a:cubicBezTo>
                    <a:pt x="641" y="1581"/>
                    <a:pt x="602" y="1558"/>
                    <a:pt x="564" y="1573"/>
                  </a:cubicBezTo>
                  <a:cubicBezTo>
                    <a:pt x="519" y="1588"/>
                    <a:pt x="496" y="1642"/>
                    <a:pt x="457" y="1680"/>
                  </a:cubicBezTo>
                  <a:lnTo>
                    <a:pt x="457" y="1680"/>
                  </a:lnTo>
                  <a:cubicBezTo>
                    <a:pt x="412" y="1680"/>
                    <a:pt x="381" y="1703"/>
                    <a:pt x="343" y="1711"/>
                  </a:cubicBezTo>
                  <a:cubicBezTo>
                    <a:pt x="320" y="1711"/>
                    <a:pt x="305" y="1703"/>
                    <a:pt x="282" y="1703"/>
                  </a:cubicBezTo>
                  <a:cubicBezTo>
                    <a:pt x="251" y="1642"/>
                    <a:pt x="167" y="1604"/>
                    <a:pt x="121" y="1550"/>
                  </a:cubicBezTo>
                  <a:cubicBezTo>
                    <a:pt x="98" y="1535"/>
                    <a:pt x="75" y="1520"/>
                    <a:pt x="52" y="1504"/>
                  </a:cubicBezTo>
                  <a:cubicBezTo>
                    <a:pt x="31" y="1474"/>
                    <a:pt x="0" y="1459"/>
                    <a:pt x="31" y="1428"/>
                  </a:cubicBezTo>
                  <a:cubicBezTo>
                    <a:pt x="46" y="1405"/>
                    <a:pt x="60" y="1374"/>
                    <a:pt x="83" y="1374"/>
                  </a:cubicBezTo>
                  <a:cubicBezTo>
                    <a:pt x="129" y="1374"/>
                    <a:pt x="121" y="1359"/>
                    <a:pt x="144" y="1336"/>
                  </a:cubicBezTo>
                  <a:cubicBezTo>
                    <a:pt x="160" y="1329"/>
                    <a:pt x="182" y="1336"/>
                    <a:pt x="198" y="1329"/>
                  </a:cubicBezTo>
                  <a:cubicBezTo>
                    <a:pt x="228" y="1313"/>
                    <a:pt x="251" y="1321"/>
                    <a:pt x="282" y="1313"/>
                  </a:cubicBezTo>
                  <a:cubicBezTo>
                    <a:pt x="320" y="1313"/>
                    <a:pt x="343" y="1275"/>
                    <a:pt x="350" y="1245"/>
                  </a:cubicBezTo>
                  <a:cubicBezTo>
                    <a:pt x="389" y="1222"/>
                    <a:pt x="381" y="1199"/>
                    <a:pt x="381" y="1161"/>
                  </a:cubicBezTo>
                  <a:cubicBezTo>
                    <a:pt x="381" y="1122"/>
                    <a:pt x="358" y="1069"/>
                    <a:pt x="320" y="1115"/>
                  </a:cubicBezTo>
                  <a:cubicBezTo>
                    <a:pt x="305" y="1138"/>
                    <a:pt x="282" y="1176"/>
                    <a:pt x="251" y="1199"/>
                  </a:cubicBezTo>
                  <a:cubicBezTo>
                    <a:pt x="244" y="1207"/>
                    <a:pt x="175" y="1291"/>
                    <a:pt x="190" y="1214"/>
                  </a:cubicBezTo>
                  <a:cubicBezTo>
                    <a:pt x="198" y="1184"/>
                    <a:pt x="221" y="1138"/>
                    <a:pt x="182" y="1115"/>
                  </a:cubicBezTo>
                  <a:cubicBezTo>
                    <a:pt x="182" y="1077"/>
                    <a:pt x="228" y="1077"/>
                    <a:pt x="228" y="1046"/>
                  </a:cubicBezTo>
                  <a:cubicBezTo>
                    <a:pt x="236" y="1016"/>
                    <a:pt x="259" y="993"/>
                    <a:pt x="282" y="977"/>
                  </a:cubicBezTo>
                  <a:cubicBezTo>
                    <a:pt x="297" y="962"/>
                    <a:pt x="274" y="955"/>
                    <a:pt x="274" y="939"/>
                  </a:cubicBezTo>
                  <a:cubicBezTo>
                    <a:pt x="266" y="924"/>
                    <a:pt x="297" y="878"/>
                    <a:pt x="305" y="870"/>
                  </a:cubicBezTo>
                  <a:cubicBezTo>
                    <a:pt x="320" y="855"/>
                    <a:pt x="305" y="824"/>
                    <a:pt x="320" y="817"/>
                  </a:cubicBezTo>
                  <a:cubicBezTo>
                    <a:pt x="327" y="809"/>
                    <a:pt x="350" y="802"/>
                    <a:pt x="343" y="779"/>
                  </a:cubicBezTo>
                  <a:cubicBezTo>
                    <a:pt x="335" y="741"/>
                    <a:pt x="404" y="725"/>
                    <a:pt x="434" y="725"/>
                  </a:cubicBezTo>
                  <a:cubicBezTo>
                    <a:pt x="434" y="710"/>
                    <a:pt x="412" y="680"/>
                    <a:pt x="389" y="672"/>
                  </a:cubicBezTo>
                  <a:cubicBezTo>
                    <a:pt x="343" y="657"/>
                    <a:pt x="358" y="657"/>
                    <a:pt x="350" y="618"/>
                  </a:cubicBezTo>
                  <a:cubicBezTo>
                    <a:pt x="327" y="618"/>
                    <a:pt x="289" y="611"/>
                    <a:pt x="266" y="588"/>
                  </a:cubicBezTo>
                  <a:cubicBezTo>
                    <a:pt x="236" y="565"/>
                    <a:pt x="244" y="519"/>
                    <a:pt x="205" y="557"/>
                  </a:cubicBezTo>
                  <a:cubicBezTo>
                    <a:pt x="190" y="580"/>
                    <a:pt x="175" y="557"/>
                    <a:pt x="167" y="534"/>
                  </a:cubicBezTo>
                  <a:cubicBezTo>
                    <a:pt x="144" y="504"/>
                    <a:pt x="129" y="527"/>
                    <a:pt x="137" y="473"/>
                  </a:cubicBezTo>
                  <a:cubicBezTo>
                    <a:pt x="152" y="420"/>
                    <a:pt x="98" y="412"/>
                    <a:pt x="175" y="374"/>
                  </a:cubicBezTo>
                  <a:cubicBezTo>
                    <a:pt x="198" y="336"/>
                    <a:pt x="182" y="351"/>
                    <a:pt x="152" y="320"/>
                  </a:cubicBezTo>
                  <a:cubicBezTo>
                    <a:pt x="152" y="320"/>
                    <a:pt x="152" y="320"/>
                    <a:pt x="152" y="313"/>
                  </a:cubicBezTo>
                  <a:lnTo>
                    <a:pt x="152" y="313"/>
                  </a:lnTo>
                  <a:cubicBezTo>
                    <a:pt x="167" y="305"/>
                    <a:pt x="198" y="290"/>
                    <a:pt x="205" y="282"/>
                  </a:cubicBezTo>
                  <a:cubicBezTo>
                    <a:pt x="259" y="244"/>
                    <a:pt x="228" y="191"/>
                    <a:pt x="305" y="206"/>
                  </a:cubicBezTo>
                  <a:cubicBezTo>
                    <a:pt x="366" y="213"/>
                    <a:pt x="343" y="152"/>
                    <a:pt x="373" y="137"/>
                  </a:cubicBezTo>
                  <a:cubicBezTo>
                    <a:pt x="389" y="130"/>
                    <a:pt x="412" y="122"/>
                    <a:pt x="419" y="107"/>
                  </a:cubicBezTo>
                  <a:cubicBezTo>
                    <a:pt x="465" y="99"/>
                    <a:pt x="496" y="191"/>
                    <a:pt x="549" y="152"/>
                  </a:cubicBezTo>
                  <a:cubicBezTo>
                    <a:pt x="602" y="114"/>
                    <a:pt x="641" y="175"/>
                    <a:pt x="671" y="221"/>
                  </a:cubicBezTo>
                  <a:cubicBezTo>
                    <a:pt x="686" y="259"/>
                    <a:pt x="694" y="290"/>
                    <a:pt x="725" y="252"/>
                  </a:cubicBezTo>
                  <a:cubicBezTo>
                    <a:pt x="763" y="206"/>
                    <a:pt x="824" y="213"/>
                    <a:pt x="809" y="145"/>
                  </a:cubicBezTo>
                  <a:cubicBezTo>
                    <a:pt x="809" y="130"/>
                    <a:pt x="801" y="68"/>
                    <a:pt x="794" y="68"/>
                  </a:cubicBezTo>
                  <a:lnTo>
                    <a:pt x="794" y="68"/>
                  </a:lnTo>
                  <a:cubicBezTo>
                    <a:pt x="824" y="53"/>
                    <a:pt x="847" y="23"/>
                    <a:pt x="877" y="15"/>
                  </a:cubicBezTo>
                  <a:cubicBezTo>
                    <a:pt x="900" y="7"/>
                    <a:pt x="931" y="7"/>
                    <a:pt x="954" y="30"/>
                  </a:cubicBezTo>
                  <a:cubicBezTo>
                    <a:pt x="969" y="46"/>
                    <a:pt x="954" y="76"/>
                    <a:pt x="961" y="91"/>
                  </a:cubicBezTo>
                  <a:cubicBezTo>
                    <a:pt x="984" y="114"/>
                    <a:pt x="1015" y="137"/>
                    <a:pt x="1046" y="130"/>
                  </a:cubicBezTo>
                  <a:cubicBezTo>
                    <a:pt x="1069" y="130"/>
                    <a:pt x="1053" y="76"/>
                    <a:pt x="1076" y="68"/>
                  </a:cubicBezTo>
                  <a:cubicBezTo>
                    <a:pt x="1114" y="53"/>
                    <a:pt x="1152" y="76"/>
                    <a:pt x="1191" y="84"/>
                  </a:cubicBezTo>
                  <a:cubicBezTo>
                    <a:pt x="1191" y="84"/>
                    <a:pt x="1191" y="46"/>
                    <a:pt x="1206" y="38"/>
                  </a:cubicBezTo>
                  <a:cubicBezTo>
                    <a:pt x="1213" y="38"/>
                    <a:pt x="1298" y="0"/>
                    <a:pt x="1298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23"/>
            <p:cNvSpPr>
              <a:spLocks noChangeArrowheads="1"/>
            </p:cNvSpPr>
            <p:nvPr/>
          </p:nvSpPr>
          <p:spPr bwMode="auto">
            <a:xfrm>
              <a:off x="6438481" y="7753350"/>
              <a:ext cx="201600" cy="204788"/>
            </a:xfrm>
            <a:custGeom>
              <a:avLst/>
              <a:gdLst>
                <a:gd name="T0" fmla="*/ 389 w 558"/>
                <a:gd name="T1" fmla="*/ 8 h 567"/>
                <a:gd name="T2" fmla="*/ 389 w 558"/>
                <a:gd name="T3" fmla="*/ 8 h 567"/>
                <a:gd name="T4" fmla="*/ 450 w 558"/>
                <a:gd name="T5" fmla="*/ 61 h 567"/>
                <a:gd name="T6" fmla="*/ 458 w 558"/>
                <a:gd name="T7" fmla="*/ 115 h 567"/>
                <a:gd name="T8" fmla="*/ 527 w 558"/>
                <a:gd name="T9" fmla="*/ 191 h 567"/>
                <a:gd name="T10" fmla="*/ 557 w 558"/>
                <a:gd name="T11" fmla="*/ 253 h 567"/>
                <a:gd name="T12" fmla="*/ 557 w 558"/>
                <a:gd name="T13" fmla="*/ 253 h 567"/>
                <a:gd name="T14" fmla="*/ 443 w 558"/>
                <a:gd name="T15" fmla="*/ 237 h 567"/>
                <a:gd name="T16" fmla="*/ 450 w 558"/>
                <a:gd name="T17" fmla="*/ 283 h 567"/>
                <a:gd name="T18" fmla="*/ 412 w 558"/>
                <a:gd name="T19" fmla="*/ 413 h 567"/>
                <a:gd name="T20" fmla="*/ 404 w 558"/>
                <a:gd name="T21" fmla="*/ 512 h 567"/>
                <a:gd name="T22" fmla="*/ 374 w 558"/>
                <a:gd name="T23" fmla="*/ 566 h 567"/>
                <a:gd name="T24" fmla="*/ 275 w 558"/>
                <a:gd name="T25" fmla="*/ 512 h 567"/>
                <a:gd name="T26" fmla="*/ 191 w 558"/>
                <a:gd name="T27" fmla="*/ 420 h 567"/>
                <a:gd name="T28" fmla="*/ 91 w 558"/>
                <a:gd name="T29" fmla="*/ 344 h 567"/>
                <a:gd name="T30" fmla="*/ 106 w 558"/>
                <a:gd name="T31" fmla="*/ 298 h 567"/>
                <a:gd name="T32" fmla="*/ 15 w 558"/>
                <a:gd name="T33" fmla="*/ 245 h 567"/>
                <a:gd name="T34" fmla="*/ 15 w 558"/>
                <a:gd name="T35" fmla="*/ 191 h 567"/>
                <a:gd name="T36" fmla="*/ 129 w 558"/>
                <a:gd name="T37" fmla="*/ 138 h 567"/>
                <a:gd name="T38" fmla="*/ 129 w 558"/>
                <a:gd name="T39" fmla="*/ 77 h 567"/>
                <a:gd name="T40" fmla="*/ 229 w 558"/>
                <a:gd name="T41" fmla="*/ 107 h 567"/>
                <a:gd name="T42" fmla="*/ 275 w 558"/>
                <a:gd name="T43" fmla="*/ 69 h 567"/>
                <a:gd name="T44" fmla="*/ 297 w 558"/>
                <a:gd name="T45" fmla="*/ 123 h 567"/>
                <a:gd name="T46" fmla="*/ 328 w 558"/>
                <a:gd name="T47" fmla="*/ 115 h 567"/>
                <a:gd name="T48" fmla="*/ 313 w 558"/>
                <a:gd name="T49" fmla="*/ 23 h 567"/>
                <a:gd name="T50" fmla="*/ 389 w 558"/>
                <a:gd name="T51" fmla="*/ 8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8" h="567">
                  <a:moveTo>
                    <a:pt x="389" y="8"/>
                  </a:moveTo>
                  <a:lnTo>
                    <a:pt x="389" y="8"/>
                  </a:lnTo>
                  <a:cubicBezTo>
                    <a:pt x="412" y="23"/>
                    <a:pt x="435" y="39"/>
                    <a:pt x="450" y="61"/>
                  </a:cubicBezTo>
                  <a:cubicBezTo>
                    <a:pt x="466" y="77"/>
                    <a:pt x="450" y="100"/>
                    <a:pt x="458" y="115"/>
                  </a:cubicBezTo>
                  <a:cubicBezTo>
                    <a:pt x="473" y="145"/>
                    <a:pt x="511" y="161"/>
                    <a:pt x="527" y="191"/>
                  </a:cubicBezTo>
                  <a:cubicBezTo>
                    <a:pt x="542" y="207"/>
                    <a:pt x="550" y="230"/>
                    <a:pt x="557" y="253"/>
                  </a:cubicBezTo>
                  <a:lnTo>
                    <a:pt x="557" y="253"/>
                  </a:lnTo>
                  <a:cubicBezTo>
                    <a:pt x="519" y="245"/>
                    <a:pt x="481" y="230"/>
                    <a:pt x="443" y="237"/>
                  </a:cubicBezTo>
                  <a:cubicBezTo>
                    <a:pt x="427" y="237"/>
                    <a:pt x="450" y="268"/>
                    <a:pt x="450" y="283"/>
                  </a:cubicBezTo>
                  <a:cubicBezTo>
                    <a:pt x="443" y="329"/>
                    <a:pt x="420" y="367"/>
                    <a:pt x="412" y="413"/>
                  </a:cubicBezTo>
                  <a:cubicBezTo>
                    <a:pt x="404" y="443"/>
                    <a:pt x="412" y="482"/>
                    <a:pt x="404" y="512"/>
                  </a:cubicBezTo>
                  <a:cubicBezTo>
                    <a:pt x="397" y="528"/>
                    <a:pt x="397" y="566"/>
                    <a:pt x="374" y="566"/>
                  </a:cubicBezTo>
                  <a:cubicBezTo>
                    <a:pt x="336" y="566"/>
                    <a:pt x="305" y="535"/>
                    <a:pt x="275" y="512"/>
                  </a:cubicBezTo>
                  <a:cubicBezTo>
                    <a:pt x="244" y="489"/>
                    <a:pt x="221" y="451"/>
                    <a:pt x="191" y="420"/>
                  </a:cubicBezTo>
                  <a:cubicBezTo>
                    <a:pt x="160" y="390"/>
                    <a:pt x="114" y="375"/>
                    <a:pt x="91" y="344"/>
                  </a:cubicBezTo>
                  <a:cubicBezTo>
                    <a:pt x="83" y="329"/>
                    <a:pt x="114" y="314"/>
                    <a:pt x="106" y="298"/>
                  </a:cubicBezTo>
                  <a:cubicBezTo>
                    <a:pt x="83" y="275"/>
                    <a:pt x="38" y="275"/>
                    <a:pt x="15" y="245"/>
                  </a:cubicBezTo>
                  <a:cubicBezTo>
                    <a:pt x="7" y="230"/>
                    <a:pt x="0" y="207"/>
                    <a:pt x="15" y="191"/>
                  </a:cubicBezTo>
                  <a:cubicBezTo>
                    <a:pt x="45" y="161"/>
                    <a:pt x="99" y="168"/>
                    <a:pt x="129" y="138"/>
                  </a:cubicBezTo>
                  <a:cubicBezTo>
                    <a:pt x="145" y="123"/>
                    <a:pt x="114" y="84"/>
                    <a:pt x="129" y="77"/>
                  </a:cubicBezTo>
                  <a:cubicBezTo>
                    <a:pt x="160" y="69"/>
                    <a:pt x="191" y="107"/>
                    <a:pt x="229" y="107"/>
                  </a:cubicBezTo>
                  <a:cubicBezTo>
                    <a:pt x="244" y="107"/>
                    <a:pt x="259" y="61"/>
                    <a:pt x="275" y="69"/>
                  </a:cubicBezTo>
                  <a:cubicBezTo>
                    <a:pt x="297" y="69"/>
                    <a:pt x="282" y="107"/>
                    <a:pt x="297" y="123"/>
                  </a:cubicBezTo>
                  <a:cubicBezTo>
                    <a:pt x="305" y="130"/>
                    <a:pt x="320" y="123"/>
                    <a:pt x="328" y="115"/>
                  </a:cubicBezTo>
                  <a:cubicBezTo>
                    <a:pt x="328" y="84"/>
                    <a:pt x="290" y="46"/>
                    <a:pt x="313" y="23"/>
                  </a:cubicBezTo>
                  <a:cubicBezTo>
                    <a:pt x="320" y="0"/>
                    <a:pt x="366" y="16"/>
                    <a:pt x="389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24"/>
            <p:cNvSpPr>
              <a:spLocks noChangeArrowheads="1"/>
            </p:cNvSpPr>
            <p:nvPr/>
          </p:nvSpPr>
          <p:spPr bwMode="auto">
            <a:xfrm>
              <a:off x="6636906" y="7942263"/>
              <a:ext cx="107943" cy="187325"/>
            </a:xfrm>
            <a:custGeom>
              <a:avLst/>
              <a:gdLst>
                <a:gd name="T0" fmla="*/ 114 w 298"/>
                <a:gd name="T1" fmla="*/ 0 h 520"/>
                <a:gd name="T2" fmla="*/ 114 w 298"/>
                <a:gd name="T3" fmla="*/ 0 h 520"/>
                <a:gd name="T4" fmla="*/ 190 w 298"/>
                <a:gd name="T5" fmla="*/ 38 h 520"/>
                <a:gd name="T6" fmla="*/ 190 w 298"/>
                <a:gd name="T7" fmla="*/ 38 h 520"/>
                <a:gd name="T8" fmla="*/ 198 w 298"/>
                <a:gd name="T9" fmla="*/ 106 h 520"/>
                <a:gd name="T10" fmla="*/ 229 w 298"/>
                <a:gd name="T11" fmla="*/ 152 h 520"/>
                <a:gd name="T12" fmla="*/ 297 w 298"/>
                <a:gd name="T13" fmla="*/ 183 h 520"/>
                <a:gd name="T14" fmla="*/ 297 w 298"/>
                <a:gd name="T15" fmla="*/ 183 h 520"/>
                <a:gd name="T16" fmla="*/ 206 w 298"/>
                <a:gd name="T17" fmla="*/ 297 h 520"/>
                <a:gd name="T18" fmla="*/ 259 w 298"/>
                <a:gd name="T19" fmla="*/ 504 h 520"/>
                <a:gd name="T20" fmla="*/ 259 w 298"/>
                <a:gd name="T21" fmla="*/ 504 h 520"/>
                <a:gd name="T22" fmla="*/ 221 w 298"/>
                <a:gd name="T23" fmla="*/ 511 h 520"/>
                <a:gd name="T24" fmla="*/ 61 w 298"/>
                <a:gd name="T25" fmla="*/ 450 h 520"/>
                <a:gd name="T26" fmla="*/ 61 w 298"/>
                <a:gd name="T27" fmla="*/ 450 h 520"/>
                <a:gd name="T28" fmla="*/ 30 w 298"/>
                <a:gd name="T29" fmla="*/ 336 h 520"/>
                <a:gd name="T30" fmla="*/ 106 w 298"/>
                <a:gd name="T31" fmla="*/ 213 h 520"/>
                <a:gd name="T32" fmla="*/ 83 w 298"/>
                <a:gd name="T33" fmla="*/ 129 h 520"/>
                <a:gd name="T34" fmla="*/ 22 w 298"/>
                <a:gd name="T35" fmla="*/ 83 h 520"/>
                <a:gd name="T36" fmla="*/ 15 w 298"/>
                <a:gd name="T37" fmla="*/ 30 h 520"/>
                <a:gd name="T38" fmla="*/ 114 w 298"/>
                <a:gd name="T39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520">
                  <a:moveTo>
                    <a:pt x="114" y="0"/>
                  </a:moveTo>
                  <a:lnTo>
                    <a:pt x="114" y="0"/>
                  </a:lnTo>
                  <a:cubicBezTo>
                    <a:pt x="190" y="38"/>
                    <a:pt x="190" y="38"/>
                    <a:pt x="190" y="38"/>
                  </a:cubicBezTo>
                  <a:lnTo>
                    <a:pt x="190" y="38"/>
                  </a:lnTo>
                  <a:cubicBezTo>
                    <a:pt x="198" y="61"/>
                    <a:pt x="190" y="83"/>
                    <a:pt x="198" y="106"/>
                  </a:cubicBezTo>
                  <a:cubicBezTo>
                    <a:pt x="206" y="122"/>
                    <a:pt x="213" y="137"/>
                    <a:pt x="229" y="152"/>
                  </a:cubicBezTo>
                  <a:cubicBezTo>
                    <a:pt x="244" y="167"/>
                    <a:pt x="275" y="167"/>
                    <a:pt x="297" y="183"/>
                  </a:cubicBezTo>
                  <a:lnTo>
                    <a:pt x="297" y="183"/>
                  </a:lnTo>
                  <a:cubicBezTo>
                    <a:pt x="267" y="221"/>
                    <a:pt x="206" y="252"/>
                    <a:pt x="206" y="297"/>
                  </a:cubicBezTo>
                  <a:cubicBezTo>
                    <a:pt x="198" y="366"/>
                    <a:pt x="236" y="435"/>
                    <a:pt x="259" y="504"/>
                  </a:cubicBezTo>
                  <a:lnTo>
                    <a:pt x="259" y="504"/>
                  </a:lnTo>
                  <a:cubicBezTo>
                    <a:pt x="244" y="504"/>
                    <a:pt x="236" y="519"/>
                    <a:pt x="221" y="511"/>
                  </a:cubicBezTo>
                  <a:cubicBezTo>
                    <a:pt x="168" y="496"/>
                    <a:pt x="114" y="473"/>
                    <a:pt x="61" y="450"/>
                  </a:cubicBezTo>
                  <a:lnTo>
                    <a:pt x="61" y="450"/>
                  </a:lnTo>
                  <a:cubicBezTo>
                    <a:pt x="53" y="412"/>
                    <a:pt x="22" y="374"/>
                    <a:pt x="30" y="336"/>
                  </a:cubicBezTo>
                  <a:cubicBezTo>
                    <a:pt x="38" y="290"/>
                    <a:pt x="91" y="259"/>
                    <a:pt x="106" y="213"/>
                  </a:cubicBezTo>
                  <a:cubicBezTo>
                    <a:pt x="114" y="183"/>
                    <a:pt x="99" y="152"/>
                    <a:pt x="83" y="129"/>
                  </a:cubicBezTo>
                  <a:cubicBezTo>
                    <a:pt x="68" y="106"/>
                    <a:pt x="38" y="106"/>
                    <a:pt x="22" y="83"/>
                  </a:cubicBezTo>
                  <a:cubicBezTo>
                    <a:pt x="15" y="68"/>
                    <a:pt x="0" y="45"/>
                    <a:pt x="15" y="30"/>
                  </a:cubicBezTo>
                  <a:cubicBezTo>
                    <a:pt x="38" y="7"/>
                    <a:pt x="83" y="7"/>
                    <a:pt x="11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25"/>
            <p:cNvSpPr>
              <a:spLocks noChangeArrowheads="1"/>
            </p:cNvSpPr>
            <p:nvPr/>
          </p:nvSpPr>
          <p:spPr bwMode="auto">
            <a:xfrm>
              <a:off x="6705163" y="7923213"/>
              <a:ext cx="90482" cy="88900"/>
            </a:xfrm>
            <a:custGeom>
              <a:avLst/>
              <a:gdLst>
                <a:gd name="T0" fmla="*/ 0 w 253"/>
                <a:gd name="T1" fmla="*/ 92 h 245"/>
                <a:gd name="T2" fmla="*/ 0 w 253"/>
                <a:gd name="T3" fmla="*/ 92 h 245"/>
                <a:gd name="T4" fmla="*/ 8 w 253"/>
                <a:gd name="T5" fmla="*/ 160 h 245"/>
                <a:gd name="T6" fmla="*/ 39 w 253"/>
                <a:gd name="T7" fmla="*/ 206 h 245"/>
                <a:gd name="T8" fmla="*/ 107 w 253"/>
                <a:gd name="T9" fmla="*/ 237 h 245"/>
                <a:gd name="T10" fmla="*/ 107 w 253"/>
                <a:gd name="T11" fmla="*/ 237 h 245"/>
                <a:gd name="T12" fmla="*/ 191 w 253"/>
                <a:gd name="T13" fmla="*/ 244 h 245"/>
                <a:gd name="T14" fmla="*/ 191 w 253"/>
                <a:gd name="T15" fmla="*/ 244 h 245"/>
                <a:gd name="T16" fmla="*/ 237 w 253"/>
                <a:gd name="T17" fmla="*/ 221 h 245"/>
                <a:gd name="T18" fmla="*/ 237 w 253"/>
                <a:gd name="T19" fmla="*/ 221 h 245"/>
                <a:gd name="T20" fmla="*/ 191 w 253"/>
                <a:gd name="T21" fmla="*/ 137 h 245"/>
                <a:gd name="T22" fmla="*/ 252 w 253"/>
                <a:gd name="T23" fmla="*/ 76 h 245"/>
                <a:gd name="T24" fmla="*/ 252 w 253"/>
                <a:gd name="T25" fmla="*/ 76 h 245"/>
                <a:gd name="T26" fmla="*/ 107 w 253"/>
                <a:gd name="T27" fmla="*/ 0 h 245"/>
                <a:gd name="T28" fmla="*/ 0 w 253"/>
                <a:gd name="T29" fmla="*/ 9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3" h="245">
                  <a:moveTo>
                    <a:pt x="0" y="92"/>
                  </a:moveTo>
                  <a:lnTo>
                    <a:pt x="0" y="92"/>
                  </a:lnTo>
                  <a:cubicBezTo>
                    <a:pt x="8" y="115"/>
                    <a:pt x="0" y="137"/>
                    <a:pt x="8" y="160"/>
                  </a:cubicBezTo>
                  <a:cubicBezTo>
                    <a:pt x="16" y="176"/>
                    <a:pt x="23" y="191"/>
                    <a:pt x="39" y="206"/>
                  </a:cubicBezTo>
                  <a:cubicBezTo>
                    <a:pt x="54" y="221"/>
                    <a:pt x="85" y="221"/>
                    <a:pt x="107" y="237"/>
                  </a:cubicBezTo>
                  <a:lnTo>
                    <a:pt x="107" y="237"/>
                  </a:lnTo>
                  <a:cubicBezTo>
                    <a:pt x="191" y="244"/>
                    <a:pt x="191" y="244"/>
                    <a:pt x="191" y="244"/>
                  </a:cubicBezTo>
                  <a:lnTo>
                    <a:pt x="191" y="244"/>
                  </a:lnTo>
                  <a:cubicBezTo>
                    <a:pt x="237" y="221"/>
                    <a:pt x="237" y="221"/>
                    <a:pt x="237" y="221"/>
                  </a:cubicBezTo>
                  <a:lnTo>
                    <a:pt x="237" y="221"/>
                  </a:lnTo>
                  <a:cubicBezTo>
                    <a:pt x="222" y="191"/>
                    <a:pt x="191" y="168"/>
                    <a:pt x="191" y="137"/>
                  </a:cubicBezTo>
                  <a:cubicBezTo>
                    <a:pt x="199" y="107"/>
                    <a:pt x="230" y="92"/>
                    <a:pt x="252" y="76"/>
                  </a:cubicBezTo>
                  <a:lnTo>
                    <a:pt x="252" y="76"/>
                  </a:lnTo>
                  <a:cubicBezTo>
                    <a:pt x="199" y="54"/>
                    <a:pt x="161" y="0"/>
                    <a:pt x="107" y="0"/>
                  </a:cubicBezTo>
                  <a:cubicBezTo>
                    <a:pt x="62" y="8"/>
                    <a:pt x="39" y="61"/>
                    <a:pt x="0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26"/>
            <p:cNvSpPr>
              <a:spLocks noChangeArrowheads="1"/>
            </p:cNvSpPr>
            <p:nvPr/>
          </p:nvSpPr>
          <p:spPr bwMode="auto">
            <a:xfrm>
              <a:off x="6708338" y="8008939"/>
              <a:ext cx="107943" cy="115887"/>
            </a:xfrm>
            <a:custGeom>
              <a:avLst/>
              <a:gdLst>
                <a:gd name="T0" fmla="*/ 99 w 299"/>
                <a:gd name="T1" fmla="*/ 0 h 322"/>
                <a:gd name="T2" fmla="*/ 99 w 299"/>
                <a:gd name="T3" fmla="*/ 0 h 322"/>
                <a:gd name="T4" fmla="*/ 183 w 299"/>
                <a:gd name="T5" fmla="*/ 7 h 322"/>
                <a:gd name="T6" fmla="*/ 183 w 299"/>
                <a:gd name="T7" fmla="*/ 7 h 322"/>
                <a:gd name="T8" fmla="*/ 199 w 299"/>
                <a:gd name="T9" fmla="*/ 114 h 322"/>
                <a:gd name="T10" fmla="*/ 176 w 299"/>
                <a:gd name="T11" fmla="*/ 214 h 322"/>
                <a:gd name="T12" fmla="*/ 214 w 299"/>
                <a:gd name="T13" fmla="*/ 229 h 322"/>
                <a:gd name="T14" fmla="*/ 252 w 299"/>
                <a:gd name="T15" fmla="*/ 175 h 322"/>
                <a:gd name="T16" fmla="*/ 298 w 299"/>
                <a:gd name="T17" fmla="*/ 221 h 322"/>
                <a:gd name="T18" fmla="*/ 298 w 299"/>
                <a:gd name="T19" fmla="*/ 221 h 322"/>
                <a:gd name="T20" fmla="*/ 283 w 299"/>
                <a:gd name="T21" fmla="*/ 298 h 322"/>
                <a:gd name="T22" fmla="*/ 283 w 299"/>
                <a:gd name="T23" fmla="*/ 298 h 322"/>
                <a:gd name="T24" fmla="*/ 229 w 299"/>
                <a:gd name="T25" fmla="*/ 282 h 322"/>
                <a:gd name="T26" fmla="*/ 191 w 299"/>
                <a:gd name="T27" fmla="*/ 305 h 322"/>
                <a:gd name="T28" fmla="*/ 145 w 299"/>
                <a:gd name="T29" fmla="*/ 282 h 322"/>
                <a:gd name="T30" fmla="*/ 107 w 299"/>
                <a:gd name="T31" fmla="*/ 321 h 322"/>
                <a:gd name="T32" fmla="*/ 61 w 299"/>
                <a:gd name="T33" fmla="*/ 321 h 322"/>
                <a:gd name="T34" fmla="*/ 61 w 299"/>
                <a:gd name="T35" fmla="*/ 321 h 322"/>
                <a:gd name="T36" fmla="*/ 8 w 299"/>
                <a:gd name="T37" fmla="*/ 114 h 322"/>
                <a:gd name="T38" fmla="*/ 99 w 299"/>
                <a:gd name="T3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9" h="322">
                  <a:moveTo>
                    <a:pt x="99" y="0"/>
                  </a:moveTo>
                  <a:lnTo>
                    <a:pt x="99" y="0"/>
                  </a:lnTo>
                  <a:cubicBezTo>
                    <a:pt x="183" y="7"/>
                    <a:pt x="183" y="7"/>
                    <a:pt x="183" y="7"/>
                  </a:cubicBezTo>
                  <a:lnTo>
                    <a:pt x="183" y="7"/>
                  </a:lnTo>
                  <a:cubicBezTo>
                    <a:pt x="191" y="46"/>
                    <a:pt x="206" y="76"/>
                    <a:pt x="199" y="114"/>
                  </a:cubicBezTo>
                  <a:cubicBezTo>
                    <a:pt x="199" y="153"/>
                    <a:pt x="168" y="183"/>
                    <a:pt x="176" y="214"/>
                  </a:cubicBezTo>
                  <a:cubicBezTo>
                    <a:pt x="176" y="229"/>
                    <a:pt x="199" y="236"/>
                    <a:pt x="214" y="229"/>
                  </a:cubicBezTo>
                  <a:cubicBezTo>
                    <a:pt x="237" y="221"/>
                    <a:pt x="237" y="183"/>
                    <a:pt x="252" y="175"/>
                  </a:cubicBezTo>
                  <a:cubicBezTo>
                    <a:pt x="275" y="175"/>
                    <a:pt x="283" y="206"/>
                    <a:pt x="298" y="221"/>
                  </a:cubicBezTo>
                  <a:lnTo>
                    <a:pt x="298" y="221"/>
                  </a:lnTo>
                  <a:cubicBezTo>
                    <a:pt x="283" y="298"/>
                    <a:pt x="283" y="298"/>
                    <a:pt x="283" y="298"/>
                  </a:cubicBezTo>
                  <a:lnTo>
                    <a:pt x="283" y="298"/>
                  </a:lnTo>
                  <a:cubicBezTo>
                    <a:pt x="267" y="298"/>
                    <a:pt x="252" y="282"/>
                    <a:pt x="229" y="282"/>
                  </a:cubicBezTo>
                  <a:cubicBezTo>
                    <a:pt x="214" y="282"/>
                    <a:pt x="206" y="305"/>
                    <a:pt x="191" y="305"/>
                  </a:cubicBezTo>
                  <a:cubicBezTo>
                    <a:pt x="176" y="305"/>
                    <a:pt x="160" y="275"/>
                    <a:pt x="145" y="282"/>
                  </a:cubicBezTo>
                  <a:cubicBezTo>
                    <a:pt x="130" y="282"/>
                    <a:pt x="122" y="313"/>
                    <a:pt x="107" y="321"/>
                  </a:cubicBezTo>
                  <a:cubicBezTo>
                    <a:pt x="92" y="321"/>
                    <a:pt x="77" y="321"/>
                    <a:pt x="61" y="321"/>
                  </a:cubicBezTo>
                  <a:lnTo>
                    <a:pt x="61" y="321"/>
                  </a:lnTo>
                  <a:cubicBezTo>
                    <a:pt x="38" y="252"/>
                    <a:pt x="0" y="183"/>
                    <a:pt x="8" y="114"/>
                  </a:cubicBezTo>
                  <a:cubicBezTo>
                    <a:pt x="8" y="69"/>
                    <a:pt x="69" y="38"/>
                    <a:pt x="9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27"/>
            <p:cNvSpPr>
              <a:spLocks noChangeArrowheads="1"/>
            </p:cNvSpPr>
            <p:nvPr/>
          </p:nvSpPr>
          <p:spPr bwMode="auto">
            <a:xfrm>
              <a:off x="6768659" y="7991475"/>
              <a:ext cx="96832" cy="101600"/>
            </a:xfrm>
            <a:custGeom>
              <a:avLst/>
              <a:gdLst>
                <a:gd name="T0" fmla="*/ 61 w 268"/>
                <a:gd name="T1" fmla="*/ 30 h 283"/>
                <a:gd name="T2" fmla="*/ 61 w 268"/>
                <a:gd name="T3" fmla="*/ 30 h 283"/>
                <a:gd name="T4" fmla="*/ 15 w 268"/>
                <a:gd name="T5" fmla="*/ 53 h 283"/>
                <a:gd name="T6" fmla="*/ 15 w 268"/>
                <a:gd name="T7" fmla="*/ 53 h 283"/>
                <a:gd name="T8" fmla="*/ 31 w 268"/>
                <a:gd name="T9" fmla="*/ 160 h 283"/>
                <a:gd name="T10" fmla="*/ 8 w 268"/>
                <a:gd name="T11" fmla="*/ 260 h 283"/>
                <a:gd name="T12" fmla="*/ 46 w 268"/>
                <a:gd name="T13" fmla="*/ 275 h 283"/>
                <a:gd name="T14" fmla="*/ 84 w 268"/>
                <a:gd name="T15" fmla="*/ 221 h 283"/>
                <a:gd name="T16" fmla="*/ 130 w 268"/>
                <a:gd name="T17" fmla="*/ 267 h 283"/>
                <a:gd name="T18" fmla="*/ 130 w 268"/>
                <a:gd name="T19" fmla="*/ 267 h 283"/>
                <a:gd name="T20" fmla="*/ 206 w 268"/>
                <a:gd name="T21" fmla="*/ 221 h 283"/>
                <a:gd name="T22" fmla="*/ 222 w 268"/>
                <a:gd name="T23" fmla="*/ 183 h 283"/>
                <a:gd name="T24" fmla="*/ 191 w 268"/>
                <a:gd name="T25" fmla="*/ 145 h 283"/>
                <a:gd name="T26" fmla="*/ 267 w 268"/>
                <a:gd name="T27" fmla="*/ 38 h 283"/>
                <a:gd name="T28" fmla="*/ 267 w 268"/>
                <a:gd name="T29" fmla="*/ 38 h 283"/>
                <a:gd name="T30" fmla="*/ 138 w 268"/>
                <a:gd name="T31" fmla="*/ 0 h 283"/>
                <a:gd name="T32" fmla="*/ 61 w 268"/>
                <a:gd name="T33" fmla="*/ 3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83">
                  <a:moveTo>
                    <a:pt x="61" y="30"/>
                  </a:moveTo>
                  <a:lnTo>
                    <a:pt x="61" y="30"/>
                  </a:lnTo>
                  <a:cubicBezTo>
                    <a:pt x="15" y="53"/>
                    <a:pt x="15" y="53"/>
                    <a:pt x="15" y="53"/>
                  </a:cubicBezTo>
                  <a:lnTo>
                    <a:pt x="15" y="53"/>
                  </a:lnTo>
                  <a:cubicBezTo>
                    <a:pt x="23" y="92"/>
                    <a:pt x="38" y="122"/>
                    <a:pt x="31" y="160"/>
                  </a:cubicBezTo>
                  <a:cubicBezTo>
                    <a:pt x="31" y="199"/>
                    <a:pt x="0" y="229"/>
                    <a:pt x="8" y="260"/>
                  </a:cubicBezTo>
                  <a:cubicBezTo>
                    <a:pt x="8" y="275"/>
                    <a:pt x="31" y="282"/>
                    <a:pt x="46" y="275"/>
                  </a:cubicBezTo>
                  <a:cubicBezTo>
                    <a:pt x="69" y="267"/>
                    <a:pt x="69" y="229"/>
                    <a:pt x="84" y="221"/>
                  </a:cubicBezTo>
                  <a:cubicBezTo>
                    <a:pt x="107" y="221"/>
                    <a:pt x="115" y="252"/>
                    <a:pt x="130" y="267"/>
                  </a:cubicBezTo>
                  <a:lnTo>
                    <a:pt x="130" y="267"/>
                  </a:lnTo>
                  <a:cubicBezTo>
                    <a:pt x="153" y="252"/>
                    <a:pt x="184" y="237"/>
                    <a:pt x="206" y="221"/>
                  </a:cubicBezTo>
                  <a:cubicBezTo>
                    <a:pt x="214" y="214"/>
                    <a:pt x="229" y="199"/>
                    <a:pt x="222" y="183"/>
                  </a:cubicBezTo>
                  <a:cubicBezTo>
                    <a:pt x="222" y="168"/>
                    <a:pt x="191" y="160"/>
                    <a:pt x="191" y="145"/>
                  </a:cubicBezTo>
                  <a:cubicBezTo>
                    <a:pt x="206" y="107"/>
                    <a:pt x="237" y="76"/>
                    <a:pt x="267" y="38"/>
                  </a:cubicBezTo>
                  <a:lnTo>
                    <a:pt x="267" y="38"/>
                  </a:lnTo>
                  <a:cubicBezTo>
                    <a:pt x="222" y="30"/>
                    <a:pt x="176" y="7"/>
                    <a:pt x="138" y="0"/>
                  </a:cubicBezTo>
                  <a:cubicBezTo>
                    <a:pt x="107" y="0"/>
                    <a:pt x="84" y="23"/>
                    <a:pt x="61" y="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6" name="Freeform 28"/>
            <p:cNvSpPr>
              <a:spLocks noChangeArrowheads="1"/>
            </p:cNvSpPr>
            <p:nvPr/>
          </p:nvSpPr>
          <p:spPr bwMode="auto">
            <a:xfrm>
              <a:off x="6775009" y="7900989"/>
              <a:ext cx="111118" cy="104775"/>
            </a:xfrm>
            <a:custGeom>
              <a:avLst/>
              <a:gdLst>
                <a:gd name="T0" fmla="*/ 61 w 307"/>
                <a:gd name="T1" fmla="*/ 137 h 291"/>
                <a:gd name="T2" fmla="*/ 61 w 307"/>
                <a:gd name="T3" fmla="*/ 137 h 291"/>
                <a:gd name="T4" fmla="*/ 0 w 307"/>
                <a:gd name="T5" fmla="*/ 198 h 291"/>
                <a:gd name="T6" fmla="*/ 46 w 307"/>
                <a:gd name="T7" fmla="*/ 282 h 291"/>
                <a:gd name="T8" fmla="*/ 46 w 307"/>
                <a:gd name="T9" fmla="*/ 282 h 291"/>
                <a:gd name="T10" fmla="*/ 123 w 307"/>
                <a:gd name="T11" fmla="*/ 252 h 291"/>
                <a:gd name="T12" fmla="*/ 252 w 307"/>
                <a:gd name="T13" fmla="*/ 290 h 291"/>
                <a:gd name="T14" fmla="*/ 252 w 307"/>
                <a:gd name="T15" fmla="*/ 290 h 291"/>
                <a:gd name="T16" fmla="*/ 291 w 307"/>
                <a:gd name="T17" fmla="*/ 244 h 291"/>
                <a:gd name="T18" fmla="*/ 306 w 307"/>
                <a:gd name="T19" fmla="*/ 176 h 291"/>
                <a:gd name="T20" fmla="*/ 306 w 307"/>
                <a:gd name="T21" fmla="*/ 176 h 291"/>
                <a:gd name="T22" fmla="*/ 283 w 307"/>
                <a:gd name="T23" fmla="*/ 122 h 291"/>
                <a:gd name="T24" fmla="*/ 260 w 307"/>
                <a:gd name="T25" fmla="*/ 92 h 291"/>
                <a:gd name="T26" fmla="*/ 237 w 307"/>
                <a:gd name="T27" fmla="*/ 15 h 291"/>
                <a:gd name="T28" fmla="*/ 176 w 307"/>
                <a:gd name="T29" fmla="*/ 23 h 291"/>
                <a:gd name="T30" fmla="*/ 161 w 307"/>
                <a:gd name="T31" fmla="*/ 61 h 291"/>
                <a:gd name="T32" fmla="*/ 107 w 307"/>
                <a:gd name="T33" fmla="*/ 76 h 291"/>
                <a:gd name="T34" fmla="*/ 61 w 307"/>
                <a:gd name="T35" fmla="*/ 13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7" h="291">
                  <a:moveTo>
                    <a:pt x="61" y="137"/>
                  </a:moveTo>
                  <a:lnTo>
                    <a:pt x="61" y="137"/>
                  </a:lnTo>
                  <a:cubicBezTo>
                    <a:pt x="39" y="153"/>
                    <a:pt x="8" y="168"/>
                    <a:pt x="0" y="198"/>
                  </a:cubicBezTo>
                  <a:cubicBezTo>
                    <a:pt x="0" y="229"/>
                    <a:pt x="31" y="252"/>
                    <a:pt x="46" y="282"/>
                  </a:cubicBezTo>
                  <a:lnTo>
                    <a:pt x="46" y="282"/>
                  </a:lnTo>
                  <a:cubicBezTo>
                    <a:pt x="69" y="275"/>
                    <a:pt x="92" y="252"/>
                    <a:pt x="123" y="252"/>
                  </a:cubicBezTo>
                  <a:cubicBezTo>
                    <a:pt x="161" y="259"/>
                    <a:pt x="207" y="282"/>
                    <a:pt x="252" y="290"/>
                  </a:cubicBezTo>
                  <a:lnTo>
                    <a:pt x="252" y="290"/>
                  </a:lnTo>
                  <a:cubicBezTo>
                    <a:pt x="260" y="275"/>
                    <a:pt x="283" y="259"/>
                    <a:pt x="291" y="244"/>
                  </a:cubicBezTo>
                  <a:cubicBezTo>
                    <a:pt x="298" y="221"/>
                    <a:pt x="298" y="198"/>
                    <a:pt x="306" y="176"/>
                  </a:cubicBezTo>
                  <a:lnTo>
                    <a:pt x="306" y="176"/>
                  </a:lnTo>
                  <a:cubicBezTo>
                    <a:pt x="298" y="160"/>
                    <a:pt x="291" y="137"/>
                    <a:pt x="283" y="122"/>
                  </a:cubicBezTo>
                  <a:cubicBezTo>
                    <a:pt x="275" y="107"/>
                    <a:pt x="268" y="99"/>
                    <a:pt x="260" y="92"/>
                  </a:cubicBezTo>
                  <a:cubicBezTo>
                    <a:pt x="245" y="61"/>
                    <a:pt x="260" y="30"/>
                    <a:pt x="237" y="15"/>
                  </a:cubicBezTo>
                  <a:cubicBezTo>
                    <a:pt x="222" y="0"/>
                    <a:pt x="191" y="7"/>
                    <a:pt x="176" y="23"/>
                  </a:cubicBezTo>
                  <a:cubicBezTo>
                    <a:pt x="161" y="30"/>
                    <a:pt x="176" y="53"/>
                    <a:pt x="161" y="61"/>
                  </a:cubicBezTo>
                  <a:cubicBezTo>
                    <a:pt x="146" y="76"/>
                    <a:pt x="123" y="61"/>
                    <a:pt x="107" y="76"/>
                  </a:cubicBezTo>
                  <a:cubicBezTo>
                    <a:pt x="92" y="92"/>
                    <a:pt x="77" y="115"/>
                    <a:pt x="61" y="1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29"/>
            <p:cNvSpPr>
              <a:spLocks noChangeArrowheads="1"/>
            </p:cNvSpPr>
            <p:nvPr/>
          </p:nvSpPr>
          <p:spPr bwMode="auto">
            <a:xfrm>
              <a:off x="6455943" y="8104188"/>
              <a:ext cx="503204" cy="449262"/>
            </a:xfrm>
            <a:custGeom>
              <a:avLst/>
              <a:gdLst>
                <a:gd name="T0" fmla="*/ 764 w 1399"/>
                <a:gd name="T1" fmla="*/ 54 h 1246"/>
                <a:gd name="T2" fmla="*/ 848 w 1399"/>
                <a:gd name="T3" fmla="*/ 15 h 1246"/>
                <a:gd name="T4" fmla="*/ 932 w 1399"/>
                <a:gd name="T5" fmla="*/ 15 h 1246"/>
                <a:gd name="T6" fmla="*/ 986 w 1399"/>
                <a:gd name="T7" fmla="*/ 31 h 1246"/>
                <a:gd name="T8" fmla="*/ 978 w 1399"/>
                <a:gd name="T9" fmla="*/ 107 h 1246"/>
                <a:gd name="T10" fmla="*/ 1093 w 1399"/>
                <a:gd name="T11" fmla="*/ 145 h 1246"/>
                <a:gd name="T12" fmla="*/ 1222 w 1399"/>
                <a:gd name="T13" fmla="*/ 92 h 1246"/>
                <a:gd name="T14" fmla="*/ 1253 w 1399"/>
                <a:gd name="T15" fmla="*/ 115 h 1246"/>
                <a:gd name="T16" fmla="*/ 1222 w 1399"/>
                <a:gd name="T17" fmla="*/ 199 h 1246"/>
                <a:gd name="T18" fmla="*/ 1230 w 1399"/>
                <a:gd name="T19" fmla="*/ 321 h 1246"/>
                <a:gd name="T20" fmla="*/ 1116 w 1399"/>
                <a:gd name="T21" fmla="*/ 436 h 1246"/>
                <a:gd name="T22" fmla="*/ 1123 w 1399"/>
                <a:gd name="T23" fmla="*/ 642 h 1246"/>
                <a:gd name="T24" fmla="*/ 1154 w 1399"/>
                <a:gd name="T25" fmla="*/ 756 h 1246"/>
                <a:gd name="T26" fmla="*/ 1207 w 1399"/>
                <a:gd name="T27" fmla="*/ 749 h 1246"/>
                <a:gd name="T28" fmla="*/ 1291 w 1399"/>
                <a:gd name="T29" fmla="*/ 756 h 1246"/>
                <a:gd name="T30" fmla="*/ 1345 w 1399"/>
                <a:gd name="T31" fmla="*/ 817 h 1246"/>
                <a:gd name="T32" fmla="*/ 1398 w 1399"/>
                <a:gd name="T33" fmla="*/ 848 h 1246"/>
                <a:gd name="T34" fmla="*/ 1314 w 1399"/>
                <a:gd name="T35" fmla="*/ 1054 h 1246"/>
                <a:gd name="T36" fmla="*/ 1161 w 1399"/>
                <a:gd name="T37" fmla="*/ 1039 h 1246"/>
                <a:gd name="T38" fmla="*/ 955 w 1399"/>
                <a:gd name="T39" fmla="*/ 1123 h 1246"/>
                <a:gd name="T40" fmla="*/ 841 w 1399"/>
                <a:gd name="T41" fmla="*/ 1039 h 1246"/>
                <a:gd name="T42" fmla="*/ 726 w 1399"/>
                <a:gd name="T43" fmla="*/ 1092 h 1246"/>
                <a:gd name="T44" fmla="*/ 688 w 1399"/>
                <a:gd name="T45" fmla="*/ 1169 h 1246"/>
                <a:gd name="T46" fmla="*/ 543 w 1399"/>
                <a:gd name="T47" fmla="*/ 1230 h 1246"/>
                <a:gd name="T48" fmla="*/ 505 w 1399"/>
                <a:gd name="T49" fmla="*/ 1108 h 1246"/>
                <a:gd name="T50" fmla="*/ 367 w 1399"/>
                <a:gd name="T51" fmla="*/ 772 h 1246"/>
                <a:gd name="T52" fmla="*/ 306 w 1399"/>
                <a:gd name="T53" fmla="*/ 542 h 1246"/>
                <a:gd name="T54" fmla="*/ 260 w 1399"/>
                <a:gd name="T55" fmla="*/ 428 h 1246"/>
                <a:gd name="T56" fmla="*/ 46 w 1399"/>
                <a:gd name="T57" fmla="*/ 542 h 1246"/>
                <a:gd name="T58" fmla="*/ 8 w 1399"/>
                <a:gd name="T59" fmla="*/ 390 h 1246"/>
                <a:gd name="T60" fmla="*/ 46 w 1399"/>
                <a:gd name="T61" fmla="*/ 374 h 1246"/>
                <a:gd name="T62" fmla="*/ 184 w 1399"/>
                <a:gd name="T63" fmla="*/ 290 h 1246"/>
                <a:gd name="T64" fmla="*/ 291 w 1399"/>
                <a:gd name="T65" fmla="*/ 222 h 1246"/>
                <a:gd name="T66" fmla="*/ 390 w 1399"/>
                <a:gd name="T67" fmla="*/ 183 h 1246"/>
                <a:gd name="T68" fmla="*/ 474 w 1399"/>
                <a:gd name="T69" fmla="*/ 31 h 1246"/>
                <a:gd name="T70" fmla="*/ 566 w 1399"/>
                <a:gd name="T71" fmla="*/ 0 h 1246"/>
                <a:gd name="T72" fmla="*/ 764 w 1399"/>
                <a:gd name="T73" fmla="*/ 54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9" h="1246">
                  <a:moveTo>
                    <a:pt x="764" y="54"/>
                  </a:moveTo>
                  <a:lnTo>
                    <a:pt x="764" y="54"/>
                  </a:lnTo>
                  <a:cubicBezTo>
                    <a:pt x="780" y="54"/>
                    <a:pt x="795" y="54"/>
                    <a:pt x="810" y="54"/>
                  </a:cubicBezTo>
                  <a:cubicBezTo>
                    <a:pt x="825" y="46"/>
                    <a:pt x="833" y="15"/>
                    <a:pt x="848" y="15"/>
                  </a:cubicBezTo>
                  <a:cubicBezTo>
                    <a:pt x="863" y="8"/>
                    <a:pt x="879" y="38"/>
                    <a:pt x="894" y="38"/>
                  </a:cubicBezTo>
                  <a:cubicBezTo>
                    <a:pt x="909" y="38"/>
                    <a:pt x="917" y="15"/>
                    <a:pt x="932" y="15"/>
                  </a:cubicBezTo>
                  <a:cubicBezTo>
                    <a:pt x="955" y="15"/>
                    <a:pt x="970" y="31"/>
                    <a:pt x="986" y="31"/>
                  </a:cubicBezTo>
                  <a:lnTo>
                    <a:pt x="986" y="31"/>
                  </a:lnTo>
                  <a:cubicBezTo>
                    <a:pt x="1001" y="46"/>
                    <a:pt x="1016" y="61"/>
                    <a:pt x="1024" y="77"/>
                  </a:cubicBezTo>
                  <a:lnTo>
                    <a:pt x="978" y="107"/>
                  </a:lnTo>
                  <a:cubicBezTo>
                    <a:pt x="978" y="115"/>
                    <a:pt x="1024" y="161"/>
                    <a:pt x="1024" y="161"/>
                  </a:cubicBezTo>
                  <a:cubicBezTo>
                    <a:pt x="1047" y="153"/>
                    <a:pt x="1070" y="161"/>
                    <a:pt x="1093" y="145"/>
                  </a:cubicBezTo>
                  <a:cubicBezTo>
                    <a:pt x="1116" y="138"/>
                    <a:pt x="1131" y="107"/>
                    <a:pt x="1161" y="99"/>
                  </a:cubicBezTo>
                  <a:cubicBezTo>
                    <a:pt x="1177" y="92"/>
                    <a:pt x="1199" y="99"/>
                    <a:pt x="1222" y="92"/>
                  </a:cubicBezTo>
                  <a:lnTo>
                    <a:pt x="1222" y="92"/>
                  </a:lnTo>
                  <a:cubicBezTo>
                    <a:pt x="1230" y="99"/>
                    <a:pt x="1253" y="107"/>
                    <a:pt x="1253" y="115"/>
                  </a:cubicBezTo>
                  <a:cubicBezTo>
                    <a:pt x="1253" y="145"/>
                    <a:pt x="1230" y="168"/>
                    <a:pt x="1222" y="199"/>
                  </a:cubicBezTo>
                  <a:lnTo>
                    <a:pt x="1222" y="199"/>
                  </a:lnTo>
                  <a:cubicBezTo>
                    <a:pt x="1207" y="206"/>
                    <a:pt x="1192" y="214"/>
                    <a:pt x="1192" y="229"/>
                  </a:cubicBezTo>
                  <a:cubicBezTo>
                    <a:pt x="1199" y="260"/>
                    <a:pt x="1238" y="283"/>
                    <a:pt x="1230" y="321"/>
                  </a:cubicBezTo>
                  <a:cubicBezTo>
                    <a:pt x="1222" y="359"/>
                    <a:pt x="1192" y="397"/>
                    <a:pt x="1169" y="428"/>
                  </a:cubicBezTo>
                  <a:cubicBezTo>
                    <a:pt x="1154" y="443"/>
                    <a:pt x="1123" y="420"/>
                    <a:pt x="1116" y="436"/>
                  </a:cubicBezTo>
                  <a:cubicBezTo>
                    <a:pt x="1116" y="489"/>
                    <a:pt x="1146" y="527"/>
                    <a:pt x="1154" y="581"/>
                  </a:cubicBezTo>
                  <a:cubicBezTo>
                    <a:pt x="1154" y="603"/>
                    <a:pt x="1131" y="619"/>
                    <a:pt x="1123" y="642"/>
                  </a:cubicBezTo>
                  <a:cubicBezTo>
                    <a:pt x="1116" y="665"/>
                    <a:pt x="1108" y="688"/>
                    <a:pt x="1116" y="703"/>
                  </a:cubicBezTo>
                  <a:cubicBezTo>
                    <a:pt x="1123" y="726"/>
                    <a:pt x="1138" y="741"/>
                    <a:pt x="1154" y="756"/>
                  </a:cubicBezTo>
                  <a:cubicBezTo>
                    <a:pt x="1169" y="772"/>
                    <a:pt x="1177" y="794"/>
                    <a:pt x="1192" y="787"/>
                  </a:cubicBezTo>
                  <a:cubicBezTo>
                    <a:pt x="1207" y="787"/>
                    <a:pt x="1192" y="749"/>
                    <a:pt x="1207" y="749"/>
                  </a:cubicBezTo>
                  <a:cubicBezTo>
                    <a:pt x="1222" y="741"/>
                    <a:pt x="1230" y="772"/>
                    <a:pt x="1253" y="779"/>
                  </a:cubicBezTo>
                  <a:cubicBezTo>
                    <a:pt x="1261" y="779"/>
                    <a:pt x="1276" y="756"/>
                    <a:pt x="1291" y="756"/>
                  </a:cubicBezTo>
                  <a:cubicBezTo>
                    <a:pt x="1314" y="764"/>
                    <a:pt x="1330" y="787"/>
                    <a:pt x="1345" y="802"/>
                  </a:cubicBezTo>
                  <a:cubicBezTo>
                    <a:pt x="1352" y="810"/>
                    <a:pt x="1345" y="817"/>
                    <a:pt x="1345" y="817"/>
                  </a:cubicBezTo>
                  <a:cubicBezTo>
                    <a:pt x="1360" y="833"/>
                    <a:pt x="1383" y="833"/>
                    <a:pt x="1398" y="848"/>
                  </a:cubicBezTo>
                  <a:lnTo>
                    <a:pt x="1398" y="848"/>
                  </a:lnTo>
                  <a:cubicBezTo>
                    <a:pt x="1360" y="886"/>
                    <a:pt x="1299" y="909"/>
                    <a:pt x="1276" y="963"/>
                  </a:cubicBezTo>
                  <a:cubicBezTo>
                    <a:pt x="1261" y="993"/>
                    <a:pt x="1299" y="1024"/>
                    <a:pt x="1314" y="1054"/>
                  </a:cubicBezTo>
                  <a:cubicBezTo>
                    <a:pt x="1314" y="1054"/>
                    <a:pt x="1284" y="1115"/>
                    <a:pt x="1284" y="1123"/>
                  </a:cubicBezTo>
                  <a:cubicBezTo>
                    <a:pt x="1284" y="1130"/>
                    <a:pt x="1161" y="1039"/>
                    <a:pt x="1161" y="1039"/>
                  </a:cubicBezTo>
                  <a:cubicBezTo>
                    <a:pt x="1138" y="1047"/>
                    <a:pt x="1108" y="1047"/>
                    <a:pt x="1085" y="1054"/>
                  </a:cubicBezTo>
                  <a:cubicBezTo>
                    <a:pt x="1039" y="1077"/>
                    <a:pt x="1001" y="1108"/>
                    <a:pt x="955" y="1123"/>
                  </a:cubicBezTo>
                  <a:cubicBezTo>
                    <a:pt x="917" y="1138"/>
                    <a:pt x="863" y="1169"/>
                    <a:pt x="825" y="1138"/>
                  </a:cubicBezTo>
                  <a:cubicBezTo>
                    <a:pt x="802" y="1115"/>
                    <a:pt x="856" y="1069"/>
                    <a:pt x="841" y="1039"/>
                  </a:cubicBezTo>
                  <a:cubicBezTo>
                    <a:pt x="833" y="1016"/>
                    <a:pt x="787" y="1024"/>
                    <a:pt x="772" y="1031"/>
                  </a:cubicBezTo>
                  <a:cubicBezTo>
                    <a:pt x="749" y="1039"/>
                    <a:pt x="726" y="1069"/>
                    <a:pt x="726" y="1092"/>
                  </a:cubicBezTo>
                  <a:cubicBezTo>
                    <a:pt x="734" y="1115"/>
                    <a:pt x="787" y="1138"/>
                    <a:pt x="772" y="1161"/>
                  </a:cubicBezTo>
                  <a:cubicBezTo>
                    <a:pt x="764" y="1192"/>
                    <a:pt x="718" y="1161"/>
                    <a:pt x="688" y="1169"/>
                  </a:cubicBezTo>
                  <a:cubicBezTo>
                    <a:pt x="688" y="1169"/>
                    <a:pt x="634" y="1230"/>
                    <a:pt x="634" y="1238"/>
                  </a:cubicBezTo>
                  <a:cubicBezTo>
                    <a:pt x="627" y="1245"/>
                    <a:pt x="543" y="1230"/>
                    <a:pt x="543" y="1230"/>
                  </a:cubicBezTo>
                  <a:cubicBezTo>
                    <a:pt x="527" y="1184"/>
                    <a:pt x="512" y="1146"/>
                    <a:pt x="505" y="1108"/>
                  </a:cubicBezTo>
                  <a:lnTo>
                    <a:pt x="505" y="1108"/>
                  </a:lnTo>
                  <a:cubicBezTo>
                    <a:pt x="497" y="993"/>
                    <a:pt x="520" y="878"/>
                    <a:pt x="482" y="779"/>
                  </a:cubicBezTo>
                  <a:cubicBezTo>
                    <a:pt x="466" y="741"/>
                    <a:pt x="382" y="802"/>
                    <a:pt x="367" y="772"/>
                  </a:cubicBezTo>
                  <a:cubicBezTo>
                    <a:pt x="336" y="711"/>
                    <a:pt x="382" y="649"/>
                    <a:pt x="398" y="588"/>
                  </a:cubicBezTo>
                  <a:cubicBezTo>
                    <a:pt x="398" y="588"/>
                    <a:pt x="298" y="558"/>
                    <a:pt x="306" y="542"/>
                  </a:cubicBezTo>
                  <a:cubicBezTo>
                    <a:pt x="306" y="535"/>
                    <a:pt x="336" y="458"/>
                    <a:pt x="336" y="458"/>
                  </a:cubicBezTo>
                  <a:cubicBezTo>
                    <a:pt x="313" y="443"/>
                    <a:pt x="283" y="413"/>
                    <a:pt x="260" y="428"/>
                  </a:cubicBezTo>
                  <a:cubicBezTo>
                    <a:pt x="237" y="436"/>
                    <a:pt x="275" y="489"/>
                    <a:pt x="252" y="497"/>
                  </a:cubicBezTo>
                  <a:cubicBezTo>
                    <a:pt x="191" y="535"/>
                    <a:pt x="115" y="565"/>
                    <a:pt x="46" y="542"/>
                  </a:cubicBezTo>
                  <a:cubicBezTo>
                    <a:pt x="8" y="527"/>
                    <a:pt x="100" y="481"/>
                    <a:pt x="92" y="443"/>
                  </a:cubicBezTo>
                  <a:cubicBezTo>
                    <a:pt x="84" y="413"/>
                    <a:pt x="23" y="413"/>
                    <a:pt x="8" y="390"/>
                  </a:cubicBezTo>
                  <a:cubicBezTo>
                    <a:pt x="0" y="374"/>
                    <a:pt x="31" y="382"/>
                    <a:pt x="46" y="374"/>
                  </a:cubicBezTo>
                  <a:lnTo>
                    <a:pt x="46" y="374"/>
                  </a:lnTo>
                  <a:cubicBezTo>
                    <a:pt x="77" y="374"/>
                    <a:pt x="115" y="374"/>
                    <a:pt x="146" y="359"/>
                  </a:cubicBezTo>
                  <a:cubicBezTo>
                    <a:pt x="169" y="344"/>
                    <a:pt x="161" y="298"/>
                    <a:pt x="184" y="290"/>
                  </a:cubicBezTo>
                  <a:cubicBezTo>
                    <a:pt x="207" y="283"/>
                    <a:pt x="230" y="306"/>
                    <a:pt x="252" y="306"/>
                  </a:cubicBezTo>
                  <a:cubicBezTo>
                    <a:pt x="252" y="306"/>
                    <a:pt x="283" y="222"/>
                    <a:pt x="291" y="222"/>
                  </a:cubicBezTo>
                  <a:cubicBezTo>
                    <a:pt x="306" y="222"/>
                    <a:pt x="375" y="214"/>
                    <a:pt x="375" y="214"/>
                  </a:cubicBezTo>
                  <a:cubicBezTo>
                    <a:pt x="375" y="214"/>
                    <a:pt x="382" y="183"/>
                    <a:pt x="390" y="183"/>
                  </a:cubicBezTo>
                  <a:cubicBezTo>
                    <a:pt x="398" y="183"/>
                    <a:pt x="489" y="161"/>
                    <a:pt x="489" y="161"/>
                  </a:cubicBezTo>
                  <a:cubicBezTo>
                    <a:pt x="482" y="115"/>
                    <a:pt x="451" y="69"/>
                    <a:pt x="474" y="31"/>
                  </a:cubicBezTo>
                  <a:cubicBezTo>
                    <a:pt x="482" y="0"/>
                    <a:pt x="535" y="15"/>
                    <a:pt x="566" y="0"/>
                  </a:cubicBezTo>
                  <a:lnTo>
                    <a:pt x="566" y="0"/>
                  </a:lnTo>
                  <a:cubicBezTo>
                    <a:pt x="619" y="23"/>
                    <a:pt x="673" y="46"/>
                    <a:pt x="726" y="61"/>
                  </a:cubicBezTo>
                  <a:cubicBezTo>
                    <a:pt x="741" y="69"/>
                    <a:pt x="749" y="54"/>
                    <a:pt x="764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30"/>
            <p:cNvSpPr>
              <a:spLocks noChangeArrowheads="1"/>
            </p:cNvSpPr>
            <p:nvPr/>
          </p:nvSpPr>
          <p:spPr bwMode="auto">
            <a:xfrm>
              <a:off x="6806756" y="7950201"/>
              <a:ext cx="160328" cy="212725"/>
            </a:xfrm>
            <a:custGeom>
              <a:avLst/>
              <a:gdLst>
                <a:gd name="T0" fmla="*/ 214 w 444"/>
                <a:gd name="T1" fmla="*/ 39 h 590"/>
                <a:gd name="T2" fmla="*/ 214 w 444"/>
                <a:gd name="T3" fmla="*/ 39 h 590"/>
                <a:gd name="T4" fmla="*/ 298 w 444"/>
                <a:gd name="T5" fmla="*/ 0 h 590"/>
                <a:gd name="T6" fmla="*/ 359 w 444"/>
                <a:gd name="T7" fmla="*/ 54 h 590"/>
                <a:gd name="T8" fmla="*/ 359 w 444"/>
                <a:gd name="T9" fmla="*/ 54 h 590"/>
                <a:gd name="T10" fmla="*/ 413 w 444"/>
                <a:gd name="T11" fmla="*/ 138 h 590"/>
                <a:gd name="T12" fmla="*/ 435 w 444"/>
                <a:gd name="T13" fmla="*/ 207 h 590"/>
                <a:gd name="T14" fmla="*/ 405 w 444"/>
                <a:gd name="T15" fmla="*/ 237 h 590"/>
                <a:gd name="T16" fmla="*/ 405 w 444"/>
                <a:gd name="T17" fmla="*/ 237 h 590"/>
                <a:gd name="T18" fmla="*/ 352 w 444"/>
                <a:gd name="T19" fmla="*/ 275 h 590"/>
                <a:gd name="T20" fmla="*/ 405 w 444"/>
                <a:gd name="T21" fmla="*/ 298 h 590"/>
                <a:gd name="T22" fmla="*/ 397 w 444"/>
                <a:gd name="T23" fmla="*/ 397 h 590"/>
                <a:gd name="T24" fmla="*/ 329 w 444"/>
                <a:gd name="T25" fmla="*/ 397 h 590"/>
                <a:gd name="T26" fmla="*/ 298 w 444"/>
                <a:gd name="T27" fmla="*/ 482 h 590"/>
                <a:gd name="T28" fmla="*/ 244 w 444"/>
                <a:gd name="T29" fmla="*/ 520 h 590"/>
                <a:gd name="T30" fmla="*/ 244 w 444"/>
                <a:gd name="T31" fmla="*/ 520 h 590"/>
                <a:gd name="T32" fmla="*/ 183 w 444"/>
                <a:gd name="T33" fmla="*/ 527 h 590"/>
                <a:gd name="T34" fmla="*/ 115 w 444"/>
                <a:gd name="T35" fmla="*/ 573 h 590"/>
                <a:gd name="T36" fmla="*/ 46 w 444"/>
                <a:gd name="T37" fmla="*/ 589 h 590"/>
                <a:gd name="T38" fmla="*/ 0 w 444"/>
                <a:gd name="T39" fmla="*/ 535 h 590"/>
                <a:gd name="T40" fmla="*/ 46 w 444"/>
                <a:gd name="T41" fmla="*/ 505 h 590"/>
                <a:gd name="T42" fmla="*/ 8 w 444"/>
                <a:gd name="T43" fmla="*/ 459 h 590"/>
                <a:gd name="T44" fmla="*/ 8 w 444"/>
                <a:gd name="T45" fmla="*/ 459 h 590"/>
                <a:gd name="T46" fmla="*/ 23 w 444"/>
                <a:gd name="T47" fmla="*/ 382 h 590"/>
                <a:gd name="T48" fmla="*/ 23 w 444"/>
                <a:gd name="T49" fmla="*/ 382 h 590"/>
                <a:gd name="T50" fmla="*/ 99 w 444"/>
                <a:gd name="T51" fmla="*/ 336 h 590"/>
                <a:gd name="T52" fmla="*/ 115 w 444"/>
                <a:gd name="T53" fmla="*/ 298 h 590"/>
                <a:gd name="T54" fmla="*/ 84 w 444"/>
                <a:gd name="T55" fmla="*/ 260 h 590"/>
                <a:gd name="T56" fmla="*/ 160 w 444"/>
                <a:gd name="T57" fmla="*/ 153 h 590"/>
                <a:gd name="T58" fmla="*/ 160 w 444"/>
                <a:gd name="T59" fmla="*/ 153 h 590"/>
                <a:gd name="T60" fmla="*/ 199 w 444"/>
                <a:gd name="T61" fmla="*/ 107 h 590"/>
                <a:gd name="T62" fmla="*/ 214 w 444"/>
                <a:gd name="T63" fmla="*/ 39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4" h="590">
                  <a:moveTo>
                    <a:pt x="214" y="39"/>
                  </a:moveTo>
                  <a:lnTo>
                    <a:pt x="214" y="39"/>
                  </a:lnTo>
                  <a:cubicBezTo>
                    <a:pt x="237" y="23"/>
                    <a:pt x="267" y="0"/>
                    <a:pt x="298" y="0"/>
                  </a:cubicBezTo>
                  <a:cubicBezTo>
                    <a:pt x="321" y="0"/>
                    <a:pt x="336" y="39"/>
                    <a:pt x="359" y="54"/>
                  </a:cubicBezTo>
                  <a:lnTo>
                    <a:pt x="359" y="54"/>
                  </a:lnTo>
                  <a:cubicBezTo>
                    <a:pt x="374" y="84"/>
                    <a:pt x="397" y="107"/>
                    <a:pt x="413" y="138"/>
                  </a:cubicBezTo>
                  <a:cubicBezTo>
                    <a:pt x="420" y="161"/>
                    <a:pt x="443" y="184"/>
                    <a:pt x="435" y="207"/>
                  </a:cubicBezTo>
                  <a:cubicBezTo>
                    <a:pt x="435" y="222"/>
                    <a:pt x="413" y="222"/>
                    <a:pt x="405" y="237"/>
                  </a:cubicBezTo>
                  <a:lnTo>
                    <a:pt x="405" y="237"/>
                  </a:lnTo>
                  <a:cubicBezTo>
                    <a:pt x="382" y="245"/>
                    <a:pt x="352" y="253"/>
                    <a:pt x="352" y="275"/>
                  </a:cubicBezTo>
                  <a:cubicBezTo>
                    <a:pt x="352" y="298"/>
                    <a:pt x="397" y="283"/>
                    <a:pt x="405" y="298"/>
                  </a:cubicBezTo>
                  <a:cubicBezTo>
                    <a:pt x="413" y="329"/>
                    <a:pt x="420" y="367"/>
                    <a:pt x="397" y="397"/>
                  </a:cubicBezTo>
                  <a:cubicBezTo>
                    <a:pt x="382" y="413"/>
                    <a:pt x="352" y="382"/>
                    <a:pt x="329" y="397"/>
                  </a:cubicBezTo>
                  <a:cubicBezTo>
                    <a:pt x="306" y="413"/>
                    <a:pt x="321" y="451"/>
                    <a:pt x="298" y="482"/>
                  </a:cubicBezTo>
                  <a:cubicBezTo>
                    <a:pt x="290" y="497"/>
                    <a:pt x="260" y="505"/>
                    <a:pt x="244" y="520"/>
                  </a:cubicBezTo>
                  <a:lnTo>
                    <a:pt x="244" y="520"/>
                  </a:lnTo>
                  <a:cubicBezTo>
                    <a:pt x="221" y="527"/>
                    <a:pt x="199" y="520"/>
                    <a:pt x="183" y="527"/>
                  </a:cubicBezTo>
                  <a:cubicBezTo>
                    <a:pt x="153" y="535"/>
                    <a:pt x="138" y="566"/>
                    <a:pt x="115" y="573"/>
                  </a:cubicBezTo>
                  <a:cubicBezTo>
                    <a:pt x="92" y="589"/>
                    <a:pt x="69" y="581"/>
                    <a:pt x="46" y="589"/>
                  </a:cubicBezTo>
                  <a:cubicBezTo>
                    <a:pt x="46" y="589"/>
                    <a:pt x="0" y="543"/>
                    <a:pt x="0" y="535"/>
                  </a:cubicBezTo>
                  <a:lnTo>
                    <a:pt x="46" y="505"/>
                  </a:lnTo>
                  <a:cubicBezTo>
                    <a:pt x="38" y="489"/>
                    <a:pt x="23" y="474"/>
                    <a:pt x="8" y="459"/>
                  </a:cubicBezTo>
                  <a:lnTo>
                    <a:pt x="8" y="459"/>
                  </a:lnTo>
                  <a:cubicBezTo>
                    <a:pt x="23" y="382"/>
                    <a:pt x="23" y="382"/>
                    <a:pt x="23" y="382"/>
                  </a:cubicBezTo>
                  <a:lnTo>
                    <a:pt x="23" y="382"/>
                  </a:lnTo>
                  <a:cubicBezTo>
                    <a:pt x="46" y="367"/>
                    <a:pt x="77" y="352"/>
                    <a:pt x="99" y="336"/>
                  </a:cubicBezTo>
                  <a:cubicBezTo>
                    <a:pt x="107" y="329"/>
                    <a:pt x="122" y="314"/>
                    <a:pt x="115" y="298"/>
                  </a:cubicBezTo>
                  <a:cubicBezTo>
                    <a:pt x="115" y="283"/>
                    <a:pt x="84" y="275"/>
                    <a:pt x="84" y="260"/>
                  </a:cubicBezTo>
                  <a:cubicBezTo>
                    <a:pt x="99" y="222"/>
                    <a:pt x="130" y="191"/>
                    <a:pt x="160" y="153"/>
                  </a:cubicBezTo>
                  <a:lnTo>
                    <a:pt x="160" y="153"/>
                  </a:lnTo>
                  <a:cubicBezTo>
                    <a:pt x="168" y="138"/>
                    <a:pt x="191" y="122"/>
                    <a:pt x="199" y="107"/>
                  </a:cubicBezTo>
                  <a:cubicBezTo>
                    <a:pt x="206" y="84"/>
                    <a:pt x="206" y="61"/>
                    <a:pt x="214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31"/>
            <p:cNvSpPr>
              <a:spLocks noChangeArrowheads="1"/>
            </p:cNvSpPr>
            <p:nvPr/>
          </p:nvSpPr>
          <p:spPr bwMode="auto">
            <a:xfrm>
              <a:off x="6895651" y="8035925"/>
              <a:ext cx="149215" cy="153988"/>
            </a:xfrm>
            <a:custGeom>
              <a:avLst/>
              <a:gdLst>
                <a:gd name="T0" fmla="*/ 161 w 414"/>
                <a:gd name="T1" fmla="*/ 0 h 429"/>
                <a:gd name="T2" fmla="*/ 161 w 414"/>
                <a:gd name="T3" fmla="*/ 0 h 429"/>
                <a:gd name="T4" fmla="*/ 237 w 414"/>
                <a:gd name="T5" fmla="*/ 69 h 429"/>
                <a:gd name="T6" fmla="*/ 245 w 414"/>
                <a:gd name="T7" fmla="*/ 138 h 429"/>
                <a:gd name="T8" fmla="*/ 291 w 414"/>
                <a:gd name="T9" fmla="*/ 199 h 429"/>
                <a:gd name="T10" fmla="*/ 367 w 414"/>
                <a:gd name="T11" fmla="*/ 122 h 429"/>
                <a:gd name="T12" fmla="*/ 413 w 414"/>
                <a:gd name="T13" fmla="*/ 145 h 429"/>
                <a:gd name="T14" fmla="*/ 413 w 414"/>
                <a:gd name="T15" fmla="*/ 145 h 429"/>
                <a:gd name="T16" fmla="*/ 413 w 414"/>
                <a:gd name="T17" fmla="*/ 321 h 429"/>
                <a:gd name="T18" fmla="*/ 413 w 414"/>
                <a:gd name="T19" fmla="*/ 321 h 429"/>
                <a:gd name="T20" fmla="*/ 375 w 414"/>
                <a:gd name="T21" fmla="*/ 382 h 429"/>
                <a:gd name="T22" fmla="*/ 306 w 414"/>
                <a:gd name="T23" fmla="*/ 390 h 429"/>
                <a:gd name="T24" fmla="*/ 283 w 414"/>
                <a:gd name="T25" fmla="*/ 420 h 429"/>
                <a:gd name="T26" fmla="*/ 230 w 414"/>
                <a:gd name="T27" fmla="*/ 374 h 429"/>
                <a:gd name="T28" fmla="*/ 176 w 414"/>
                <a:gd name="T29" fmla="*/ 397 h 429"/>
                <a:gd name="T30" fmla="*/ 146 w 414"/>
                <a:gd name="T31" fmla="*/ 428 h 429"/>
                <a:gd name="T32" fmla="*/ 92 w 414"/>
                <a:gd name="T33" fmla="*/ 390 h 429"/>
                <a:gd name="T34" fmla="*/ 0 w 414"/>
                <a:gd name="T35" fmla="*/ 390 h 429"/>
                <a:gd name="T36" fmla="*/ 0 w 414"/>
                <a:gd name="T37" fmla="*/ 390 h 429"/>
                <a:gd name="T38" fmla="*/ 31 w 414"/>
                <a:gd name="T39" fmla="*/ 306 h 429"/>
                <a:gd name="T40" fmla="*/ 0 w 414"/>
                <a:gd name="T41" fmla="*/ 283 h 429"/>
                <a:gd name="T42" fmla="*/ 0 w 414"/>
                <a:gd name="T43" fmla="*/ 283 h 429"/>
                <a:gd name="T44" fmla="*/ 54 w 414"/>
                <a:gd name="T45" fmla="*/ 245 h 429"/>
                <a:gd name="T46" fmla="*/ 85 w 414"/>
                <a:gd name="T47" fmla="*/ 160 h 429"/>
                <a:gd name="T48" fmla="*/ 153 w 414"/>
                <a:gd name="T49" fmla="*/ 160 h 429"/>
                <a:gd name="T50" fmla="*/ 161 w 414"/>
                <a:gd name="T51" fmla="*/ 61 h 429"/>
                <a:gd name="T52" fmla="*/ 108 w 414"/>
                <a:gd name="T53" fmla="*/ 38 h 429"/>
                <a:gd name="T54" fmla="*/ 161 w 414"/>
                <a:gd name="T55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14" h="429">
                  <a:moveTo>
                    <a:pt x="161" y="0"/>
                  </a:moveTo>
                  <a:lnTo>
                    <a:pt x="161" y="0"/>
                  </a:lnTo>
                  <a:cubicBezTo>
                    <a:pt x="184" y="23"/>
                    <a:pt x="222" y="38"/>
                    <a:pt x="237" y="69"/>
                  </a:cubicBezTo>
                  <a:cubicBezTo>
                    <a:pt x="252" y="84"/>
                    <a:pt x="237" y="115"/>
                    <a:pt x="245" y="138"/>
                  </a:cubicBezTo>
                  <a:cubicBezTo>
                    <a:pt x="260" y="160"/>
                    <a:pt x="268" y="206"/>
                    <a:pt x="291" y="199"/>
                  </a:cubicBezTo>
                  <a:cubicBezTo>
                    <a:pt x="329" y="199"/>
                    <a:pt x="337" y="138"/>
                    <a:pt x="367" y="122"/>
                  </a:cubicBezTo>
                  <a:cubicBezTo>
                    <a:pt x="382" y="115"/>
                    <a:pt x="398" y="138"/>
                    <a:pt x="413" y="145"/>
                  </a:cubicBezTo>
                  <a:lnTo>
                    <a:pt x="413" y="145"/>
                  </a:lnTo>
                  <a:cubicBezTo>
                    <a:pt x="413" y="321"/>
                    <a:pt x="413" y="321"/>
                    <a:pt x="413" y="321"/>
                  </a:cubicBezTo>
                  <a:lnTo>
                    <a:pt x="413" y="321"/>
                  </a:lnTo>
                  <a:cubicBezTo>
                    <a:pt x="398" y="344"/>
                    <a:pt x="390" y="367"/>
                    <a:pt x="375" y="382"/>
                  </a:cubicBezTo>
                  <a:cubicBezTo>
                    <a:pt x="352" y="397"/>
                    <a:pt x="329" y="382"/>
                    <a:pt x="306" y="390"/>
                  </a:cubicBezTo>
                  <a:cubicBezTo>
                    <a:pt x="298" y="397"/>
                    <a:pt x="291" y="420"/>
                    <a:pt x="283" y="420"/>
                  </a:cubicBezTo>
                  <a:cubicBezTo>
                    <a:pt x="260" y="413"/>
                    <a:pt x="252" y="374"/>
                    <a:pt x="230" y="374"/>
                  </a:cubicBezTo>
                  <a:cubicBezTo>
                    <a:pt x="207" y="367"/>
                    <a:pt x="191" y="390"/>
                    <a:pt x="176" y="397"/>
                  </a:cubicBezTo>
                  <a:cubicBezTo>
                    <a:pt x="161" y="405"/>
                    <a:pt x="161" y="428"/>
                    <a:pt x="146" y="428"/>
                  </a:cubicBezTo>
                  <a:cubicBezTo>
                    <a:pt x="123" y="428"/>
                    <a:pt x="115" y="397"/>
                    <a:pt x="92" y="390"/>
                  </a:cubicBezTo>
                  <a:cubicBezTo>
                    <a:pt x="62" y="382"/>
                    <a:pt x="31" y="390"/>
                    <a:pt x="0" y="390"/>
                  </a:cubicBezTo>
                  <a:lnTo>
                    <a:pt x="0" y="390"/>
                  </a:lnTo>
                  <a:cubicBezTo>
                    <a:pt x="8" y="359"/>
                    <a:pt x="31" y="336"/>
                    <a:pt x="31" y="306"/>
                  </a:cubicBezTo>
                  <a:cubicBezTo>
                    <a:pt x="31" y="298"/>
                    <a:pt x="8" y="290"/>
                    <a:pt x="0" y="283"/>
                  </a:cubicBezTo>
                  <a:lnTo>
                    <a:pt x="0" y="283"/>
                  </a:lnTo>
                  <a:cubicBezTo>
                    <a:pt x="16" y="268"/>
                    <a:pt x="46" y="260"/>
                    <a:pt x="54" y="245"/>
                  </a:cubicBezTo>
                  <a:cubicBezTo>
                    <a:pt x="77" y="214"/>
                    <a:pt x="62" y="176"/>
                    <a:pt x="85" y="160"/>
                  </a:cubicBezTo>
                  <a:cubicBezTo>
                    <a:pt x="108" y="145"/>
                    <a:pt x="138" y="176"/>
                    <a:pt x="153" y="160"/>
                  </a:cubicBezTo>
                  <a:cubicBezTo>
                    <a:pt x="176" y="130"/>
                    <a:pt x="169" y="92"/>
                    <a:pt x="161" y="61"/>
                  </a:cubicBezTo>
                  <a:cubicBezTo>
                    <a:pt x="153" y="46"/>
                    <a:pt x="108" y="61"/>
                    <a:pt x="108" y="38"/>
                  </a:cubicBezTo>
                  <a:cubicBezTo>
                    <a:pt x="108" y="16"/>
                    <a:pt x="138" y="8"/>
                    <a:pt x="16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32"/>
            <p:cNvSpPr>
              <a:spLocks noChangeArrowheads="1"/>
            </p:cNvSpPr>
            <p:nvPr/>
          </p:nvSpPr>
          <p:spPr bwMode="auto">
            <a:xfrm>
              <a:off x="7043279" y="8081963"/>
              <a:ext cx="100005" cy="88900"/>
            </a:xfrm>
            <a:custGeom>
              <a:avLst/>
              <a:gdLst>
                <a:gd name="T0" fmla="*/ 0 w 276"/>
                <a:gd name="T1" fmla="*/ 191 h 245"/>
                <a:gd name="T2" fmla="*/ 0 w 276"/>
                <a:gd name="T3" fmla="*/ 191 h 245"/>
                <a:gd name="T4" fmla="*/ 0 w 276"/>
                <a:gd name="T5" fmla="*/ 15 h 245"/>
                <a:gd name="T6" fmla="*/ 0 w 276"/>
                <a:gd name="T7" fmla="*/ 15 h 245"/>
                <a:gd name="T8" fmla="*/ 69 w 276"/>
                <a:gd name="T9" fmla="*/ 0 h 245"/>
                <a:gd name="T10" fmla="*/ 130 w 276"/>
                <a:gd name="T11" fmla="*/ 23 h 245"/>
                <a:gd name="T12" fmla="*/ 206 w 276"/>
                <a:gd name="T13" fmla="*/ 8 h 245"/>
                <a:gd name="T14" fmla="*/ 267 w 276"/>
                <a:gd name="T15" fmla="*/ 53 h 245"/>
                <a:gd name="T16" fmla="*/ 252 w 276"/>
                <a:gd name="T17" fmla="*/ 183 h 245"/>
                <a:gd name="T18" fmla="*/ 137 w 276"/>
                <a:gd name="T19" fmla="*/ 229 h 245"/>
                <a:gd name="T20" fmla="*/ 107 w 276"/>
                <a:gd name="T21" fmla="*/ 222 h 245"/>
                <a:gd name="T22" fmla="*/ 84 w 276"/>
                <a:gd name="T23" fmla="*/ 244 h 245"/>
                <a:gd name="T24" fmla="*/ 0 w 276"/>
                <a:gd name="T25" fmla="*/ 19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245">
                  <a:moveTo>
                    <a:pt x="0" y="191"/>
                  </a:moveTo>
                  <a:lnTo>
                    <a:pt x="0" y="191"/>
                  </a:lnTo>
                  <a:cubicBezTo>
                    <a:pt x="0" y="15"/>
                    <a:pt x="0" y="15"/>
                    <a:pt x="0" y="15"/>
                  </a:cubicBezTo>
                  <a:lnTo>
                    <a:pt x="0" y="15"/>
                  </a:lnTo>
                  <a:cubicBezTo>
                    <a:pt x="23" y="15"/>
                    <a:pt x="46" y="8"/>
                    <a:pt x="69" y="0"/>
                  </a:cubicBezTo>
                  <a:cubicBezTo>
                    <a:pt x="69" y="0"/>
                    <a:pt x="122" y="15"/>
                    <a:pt x="130" y="23"/>
                  </a:cubicBezTo>
                  <a:cubicBezTo>
                    <a:pt x="137" y="23"/>
                    <a:pt x="206" y="8"/>
                    <a:pt x="206" y="8"/>
                  </a:cubicBezTo>
                  <a:cubicBezTo>
                    <a:pt x="229" y="23"/>
                    <a:pt x="260" y="30"/>
                    <a:pt x="267" y="53"/>
                  </a:cubicBezTo>
                  <a:cubicBezTo>
                    <a:pt x="275" y="99"/>
                    <a:pt x="275" y="145"/>
                    <a:pt x="252" y="183"/>
                  </a:cubicBezTo>
                  <a:cubicBezTo>
                    <a:pt x="221" y="214"/>
                    <a:pt x="176" y="222"/>
                    <a:pt x="137" y="229"/>
                  </a:cubicBezTo>
                  <a:cubicBezTo>
                    <a:pt x="122" y="237"/>
                    <a:pt x="114" y="214"/>
                    <a:pt x="107" y="222"/>
                  </a:cubicBezTo>
                  <a:cubicBezTo>
                    <a:pt x="92" y="222"/>
                    <a:pt x="92" y="244"/>
                    <a:pt x="84" y="244"/>
                  </a:cubicBezTo>
                  <a:cubicBezTo>
                    <a:pt x="53" y="229"/>
                    <a:pt x="31" y="206"/>
                    <a:pt x="0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" name="Freeform 33"/>
            <p:cNvSpPr>
              <a:spLocks noChangeArrowheads="1"/>
            </p:cNvSpPr>
            <p:nvPr/>
          </p:nvSpPr>
          <p:spPr bwMode="auto">
            <a:xfrm>
              <a:off x="6854379" y="7877176"/>
              <a:ext cx="428597" cy="671513"/>
            </a:xfrm>
            <a:custGeom>
              <a:avLst/>
              <a:gdLst>
                <a:gd name="T0" fmla="*/ 275 w 1192"/>
                <a:gd name="T1" fmla="*/ 443 h 1865"/>
                <a:gd name="T2" fmla="*/ 283 w 1192"/>
                <a:gd name="T3" fmla="*/ 344 h 1865"/>
                <a:gd name="T4" fmla="*/ 229 w 1192"/>
                <a:gd name="T5" fmla="*/ 260 h 1865"/>
                <a:gd name="T6" fmla="*/ 382 w 1192"/>
                <a:gd name="T7" fmla="*/ 252 h 1865"/>
                <a:gd name="T8" fmla="*/ 451 w 1192"/>
                <a:gd name="T9" fmla="*/ 115 h 1865"/>
                <a:gd name="T10" fmla="*/ 519 w 1192"/>
                <a:gd name="T11" fmla="*/ 0 h 1865"/>
                <a:gd name="T12" fmla="*/ 588 w 1192"/>
                <a:gd name="T13" fmla="*/ 69 h 1865"/>
                <a:gd name="T14" fmla="*/ 558 w 1192"/>
                <a:gd name="T15" fmla="*/ 122 h 1865"/>
                <a:gd name="T16" fmla="*/ 580 w 1192"/>
                <a:gd name="T17" fmla="*/ 222 h 1865"/>
                <a:gd name="T18" fmla="*/ 955 w 1192"/>
                <a:gd name="T19" fmla="*/ 474 h 1865"/>
                <a:gd name="T20" fmla="*/ 1138 w 1192"/>
                <a:gd name="T21" fmla="*/ 733 h 1865"/>
                <a:gd name="T22" fmla="*/ 1062 w 1192"/>
                <a:gd name="T23" fmla="*/ 886 h 1865"/>
                <a:gd name="T24" fmla="*/ 1108 w 1192"/>
                <a:gd name="T25" fmla="*/ 985 h 1865"/>
                <a:gd name="T26" fmla="*/ 1039 w 1192"/>
                <a:gd name="T27" fmla="*/ 1138 h 1865"/>
                <a:gd name="T28" fmla="*/ 1016 w 1192"/>
                <a:gd name="T29" fmla="*/ 1253 h 1865"/>
                <a:gd name="T30" fmla="*/ 962 w 1192"/>
                <a:gd name="T31" fmla="*/ 1322 h 1865"/>
                <a:gd name="T32" fmla="*/ 886 w 1192"/>
                <a:gd name="T33" fmla="*/ 1444 h 1865"/>
                <a:gd name="T34" fmla="*/ 733 w 1192"/>
                <a:gd name="T35" fmla="*/ 1490 h 1865"/>
                <a:gd name="T36" fmla="*/ 558 w 1192"/>
                <a:gd name="T37" fmla="*/ 1856 h 1865"/>
                <a:gd name="T38" fmla="*/ 458 w 1192"/>
                <a:gd name="T39" fmla="*/ 1803 h 1865"/>
                <a:gd name="T40" fmla="*/ 412 w 1192"/>
                <a:gd name="T41" fmla="*/ 1658 h 1865"/>
                <a:gd name="T42" fmla="*/ 290 w 1192"/>
                <a:gd name="T43" fmla="*/ 1482 h 1865"/>
                <a:gd name="T44" fmla="*/ 237 w 1192"/>
                <a:gd name="T45" fmla="*/ 1451 h 1865"/>
                <a:gd name="T46" fmla="*/ 183 w 1192"/>
                <a:gd name="T47" fmla="*/ 1390 h 1865"/>
                <a:gd name="T48" fmla="*/ 99 w 1192"/>
                <a:gd name="T49" fmla="*/ 1383 h 1865"/>
                <a:gd name="T50" fmla="*/ 46 w 1192"/>
                <a:gd name="T51" fmla="*/ 1390 h 1865"/>
                <a:gd name="T52" fmla="*/ 15 w 1192"/>
                <a:gd name="T53" fmla="*/ 1276 h 1865"/>
                <a:gd name="T54" fmla="*/ 8 w 1192"/>
                <a:gd name="T55" fmla="*/ 1070 h 1865"/>
                <a:gd name="T56" fmla="*/ 122 w 1192"/>
                <a:gd name="T57" fmla="*/ 955 h 1865"/>
                <a:gd name="T58" fmla="*/ 114 w 1192"/>
                <a:gd name="T59" fmla="*/ 833 h 1865"/>
                <a:gd name="T60" fmla="*/ 206 w 1192"/>
                <a:gd name="T61" fmla="*/ 833 h 1865"/>
                <a:gd name="T62" fmla="*/ 290 w 1192"/>
                <a:gd name="T63" fmla="*/ 840 h 1865"/>
                <a:gd name="T64" fmla="*/ 397 w 1192"/>
                <a:gd name="T65" fmla="*/ 863 h 1865"/>
                <a:gd name="T66" fmla="*/ 489 w 1192"/>
                <a:gd name="T67" fmla="*/ 825 h 1865"/>
                <a:gd name="T68" fmla="*/ 527 w 1192"/>
                <a:gd name="T69" fmla="*/ 764 h 1865"/>
                <a:gd name="T70" fmla="*/ 634 w 1192"/>
                <a:gd name="T71" fmla="*/ 795 h 1865"/>
                <a:gd name="T72" fmla="*/ 779 w 1192"/>
                <a:gd name="T73" fmla="*/ 756 h 1865"/>
                <a:gd name="T74" fmla="*/ 733 w 1192"/>
                <a:gd name="T75" fmla="*/ 581 h 1865"/>
                <a:gd name="T76" fmla="*/ 596 w 1192"/>
                <a:gd name="T77" fmla="*/ 573 h 1865"/>
                <a:gd name="T78" fmla="*/ 527 w 1192"/>
                <a:gd name="T79" fmla="*/ 588 h 1865"/>
                <a:gd name="T80" fmla="*/ 405 w 1192"/>
                <a:gd name="T81" fmla="*/ 642 h 1865"/>
                <a:gd name="T82" fmla="*/ 351 w 1192"/>
                <a:gd name="T83" fmla="*/ 51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92" h="1865">
                  <a:moveTo>
                    <a:pt x="275" y="443"/>
                  </a:moveTo>
                  <a:lnTo>
                    <a:pt x="275" y="443"/>
                  </a:lnTo>
                  <a:cubicBezTo>
                    <a:pt x="283" y="428"/>
                    <a:pt x="305" y="428"/>
                    <a:pt x="305" y="413"/>
                  </a:cubicBezTo>
                  <a:cubicBezTo>
                    <a:pt x="313" y="390"/>
                    <a:pt x="290" y="367"/>
                    <a:pt x="283" y="344"/>
                  </a:cubicBezTo>
                  <a:cubicBezTo>
                    <a:pt x="267" y="313"/>
                    <a:pt x="244" y="290"/>
                    <a:pt x="229" y="260"/>
                  </a:cubicBezTo>
                  <a:lnTo>
                    <a:pt x="229" y="260"/>
                  </a:lnTo>
                  <a:cubicBezTo>
                    <a:pt x="252" y="252"/>
                    <a:pt x="267" y="245"/>
                    <a:pt x="290" y="245"/>
                  </a:cubicBezTo>
                  <a:cubicBezTo>
                    <a:pt x="321" y="237"/>
                    <a:pt x="351" y="260"/>
                    <a:pt x="382" y="252"/>
                  </a:cubicBezTo>
                  <a:cubicBezTo>
                    <a:pt x="405" y="245"/>
                    <a:pt x="428" y="229"/>
                    <a:pt x="443" y="206"/>
                  </a:cubicBezTo>
                  <a:cubicBezTo>
                    <a:pt x="458" y="176"/>
                    <a:pt x="451" y="145"/>
                    <a:pt x="451" y="115"/>
                  </a:cubicBezTo>
                  <a:cubicBezTo>
                    <a:pt x="451" y="99"/>
                    <a:pt x="443" y="84"/>
                    <a:pt x="451" y="69"/>
                  </a:cubicBezTo>
                  <a:cubicBezTo>
                    <a:pt x="466" y="38"/>
                    <a:pt x="496" y="23"/>
                    <a:pt x="519" y="0"/>
                  </a:cubicBezTo>
                  <a:lnTo>
                    <a:pt x="519" y="0"/>
                  </a:lnTo>
                  <a:cubicBezTo>
                    <a:pt x="542" y="23"/>
                    <a:pt x="573" y="38"/>
                    <a:pt x="588" y="69"/>
                  </a:cubicBezTo>
                  <a:cubicBezTo>
                    <a:pt x="596" y="76"/>
                    <a:pt x="596" y="92"/>
                    <a:pt x="588" y="107"/>
                  </a:cubicBezTo>
                  <a:cubicBezTo>
                    <a:pt x="588" y="115"/>
                    <a:pt x="565" y="115"/>
                    <a:pt x="558" y="122"/>
                  </a:cubicBezTo>
                  <a:cubicBezTo>
                    <a:pt x="558" y="138"/>
                    <a:pt x="565" y="153"/>
                    <a:pt x="573" y="168"/>
                  </a:cubicBezTo>
                  <a:cubicBezTo>
                    <a:pt x="573" y="184"/>
                    <a:pt x="565" y="206"/>
                    <a:pt x="580" y="222"/>
                  </a:cubicBezTo>
                  <a:cubicBezTo>
                    <a:pt x="619" y="267"/>
                    <a:pt x="664" y="298"/>
                    <a:pt x="718" y="336"/>
                  </a:cubicBezTo>
                  <a:cubicBezTo>
                    <a:pt x="794" y="390"/>
                    <a:pt x="886" y="413"/>
                    <a:pt x="955" y="474"/>
                  </a:cubicBezTo>
                  <a:cubicBezTo>
                    <a:pt x="1031" y="550"/>
                    <a:pt x="1077" y="649"/>
                    <a:pt x="1138" y="733"/>
                  </a:cubicBezTo>
                  <a:lnTo>
                    <a:pt x="1138" y="733"/>
                  </a:lnTo>
                  <a:cubicBezTo>
                    <a:pt x="1153" y="764"/>
                    <a:pt x="1191" y="802"/>
                    <a:pt x="1176" y="833"/>
                  </a:cubicBezTo>
                  <a:cubicBezTo>
                    <a:pt x="1153" y="871"/>
                    <a:pt x="1077" y="848"/>
                    <a:pt x="1062" y="886"/>
                  </a:cubicBezTo>
                  <a:cubicBezTo>
                    <a:pt x="1046" y="917"/>
                    <a:pt x="1123" y="909"/>
                    <a:pt x="1130" y="932"/>
                  </a:cubicBezTo>
                  <a:cubicBezTo>
                    <a:pt x="1146" y="947"/>
                    <a:pt x="1108" y="963"/>
                    <a:pt x="1108" y="985"/>
                  </a:cubicBezTo>
                  <a:cubicBezTo>
                    <a:pt x="1108" y="1016"/>
                    <a:pt x="1146" y="1039"/>
                    <a:pt x="1130" y="1062"/>
                  </a:cubicBezTo>
                  <a:cubicBezTo>
                    <a:pt x="1115" y="1100"/>
                    <a:pt x="1054" y="1100"/>
                    <a:pt x="1039" y="1138"/>
                  </a:cubicBezTo>
                  <a:cubicBezTo>
                    <a:pt x="1031" y="1169"/>
                    <a:pt x="1092" y="1199"/>
                    <a:pt x="1085" y="1230"/>
                  </a:cubicBezTo>
                  <a:cubicBezTo>
                    <a:pt x="1077" y="1253"/>
                    <a:pt x="1031" y="1237"/>
                    <a:pt x="1016" y="1253"/>
                  </a:cubicBezTo>
                  <a:cubicBezTo>
                    <a:pt x="993" y="1276"/>
                    <a:pt x="985" y="1299"/>
                    <a:pt x="970" y="1322"/>
                  </a:cubicBezTo>
                  <a:cubicBezTo>
                    <a:pt x="962" y="1322"/>
                    <a:pt x="962" y="1322"/>
                    <a:pt x="962" y="1322"/>
                  </a:cubicBezTo>
                  <a:cubicBezTo>
                    <a:pt x="962" y="1322"/>
                    <a:pt x="924" y="1390"/>
                    <a:pt x="924" y="1398"/>
                  </a:cubicBezTo>
                  <a:cubicBezTo>
                    <a:pt x="924" y="1406"/>
                    <a:pt x="886" y="1444"/>
                    <a:pt x="886" y="1444"/>
                  </a:cubicBezTo>
                  <a:cubicBezTo>
                    <a:pt x="878" y="1467"/>
                    <a:pt x="886" y="1497"/>
                    <a:pt x="871" y="1505"/>
                  </a:cubicBezTo>
                  <a:cubicBezTo>
                    <a:pt x="825" y="1520"/>
                    <a:pt x="764" y="1451"/>
                    <a:pt x="733" y="1490"/>
                  </a:cubicBezTo>
                  <a:cubicBezTo>
                    <a:pt x="672" y="1574"/>
                    <a:pt x="703" y="1696"/>
                    <a:pt x="657" y="1787"/>
                  </a:cubicBezTo>
                  <a:cubicBezTo>
                    <a:pt x="641" y="1826"/>
                    <a:pt x="596" y="1856"/>
                    <a:pt x="558" y="1856"/>
                  </a:cubicBezTo>
                  <a:cubicBezTo>
                    <a:pt x="519" y="1864"/>
                    <a:pt x="489" y="1826"/>
                    <a:pt x="458" y="1810"/>
                  </a:cubicBezTo>
                  <a:cubicBezTo>
                    <a:pt x="458" y="1803"/>
                    <a:pt x="458" y="1803"/>
                    <a:pt x="458" y="1803"/>
                  </a:cubicBezTo>
                  <a:cubicBezTo>
                    <a:pt x="481" y="1757"/>
                    <a:pt x="542" y="1719"/>
                    <a:pt x="527" y="1673"/>
                  </a:cubicBezTo>
                  <a:cubicBezTo>
                    <a:pt x="519" y="1635"/>
                    <a:pt x="443" y="1681"/>
                    <a:pt x="412" y="1658"/>
                  </a:cubicBezTo>
                  <a:cubicBezTo>
                    <a:pt x="382" y="1635"/>
                    <a:pt x="382" y="1581"/>
                    <a:pt x="359" y="1551"/>
                  </a:cubicBezTo>
                  <a:cubicBezTo>
                    <a:pt x="336" y="1520"/>
                    <a:pt x="313" y="1505"/>
                    <a:pt x="290" y="1482"/>
                  </a:cubicBezTo>
                  <a:lnTo>
                    <a:pt x="290" y="1482"/>
                  </a:lnTo>
                  <a:cubicBezTo>
                    <a:pt x="275" y="1467"/>
                    <a:pt x="252" y="1467"/>
                    <a:pt x="237" y="1451"/>
                  </a:cubicBezTo>
                  <a:cubicBezTo>
                    <a:pt x="237" y="1451"/>
                    <a:pt x="244" y="1444"/>
                    <a:pt x="237" y="1436"/>
                  </a:cubicBezTo>
                  <a:cubicBezTo>
                    <a:pt x="222" y="1421"/>
                    <a:pt x="206" y="1398"/>
                    <a:pt x="183" y="1390"/>
                  </a:cubicBezTo>
                  <a:cubicBezTo>
                    <a:pt x="168" y="1390"/>
                    <a:pt x="153" y="1413"/>
                    <a:pt x="145" y="1413"/>
                  </a:cubicBezTo>
                  <a:cubicBezTo>
                    <a:pt x="122" y="1406"/>
                    <a:pt x="114" y="1375"/>
                    <a:pt x="99" y="1383"/>
                  </a:cubicBezTo>
                  <a:cubicBezTo>
                    <a:pt x="84" y="1383"/>
                    <a:pt x="99" y="1421"/>
                    <a:pt x="84" y="1421"/>
                  </a:cubicBezTo>
                  <a:cubicBezTo>
                    <a:pt x="69" y="1428"/>
                    <a:pt x="61" y="1406"/>
                    <a:pt x="46" y="1390"/>
                  </a:cubicBezTo>
                  <a:cubicBezTo>
                    <a:pt x="30" y="1375"/>
                    <a:pt x="15" y="1360"/>
                    <a:pt x="8" y="1337"/>
                  </a:cubicBezTo>
                  <a:cubicBezTo>
                    <a:pt x="0" y="1322"/>
                    <a:pt x="8" y="1299"/>
                    <a:pt x="15" y="1276"/>
                  </a:cubicBezTo>
                  <a:cubicBezTo>
                    <a:pt x="23" y="1253"/>
                    <a:pt x="46" y="1237"/>
                    <a:pt x="46" y="1215"/>
                  </a:cubicBezTo>
                  <a:cubicBezTo>
                    <a:pt x="38" y="1161"/>
                    <a:pt x="8" y="1123"/>
                    <a:pt x="8" y="1070"/>
                  </a:cubicBezTo>
                  <a:cubicBezTo>
                    <a:pt x="15" y="1054"/>
                    <a:pt x="46" y="1077"/>
                    <a:pt x="61" y="1062"/>
                  </a:cubicBezTo>
                  <a:cubicBezTo>
                    <a:pt x="84" y="1031"/>
                    <a:pt x="114" y="993"/>
                    <a:pt x="122" y="955"/>
                  </a:cubicBezTo>
                  <a:cubicBezTo>
                    <a:pt x="130" y="917"/>
                    <a:pt x="91" y="894"/>
                    <a:pt x="84" y="863"/>
                  </a:cubicBezTo>
                  <a:cubicBezTo>
                    <a:pt x="84" y="848"/>
                    <a:pt x="99" y="840"/>
                    <a:pt x="114" y="833"/>
                  </a:cubicBezTo>
                  <a:lnTo>
                    <a:pt x="114" y="833"/>
                  </a:lnTo>
                  <a:cubicBezTo>
                    <a:pt x="145" y="833"/>
                    <a:pt x="176" y="825"/>
                    <a:pt x="206" y="833"/>
                  </a:cubicBezTo>
                  <a:cubicBezTo>
                    <a:pt x="229" y="840"/>
                    <a:pt x="237" y="871"/>
                    <a:pt x="260" y="871"/>
                  </a:cubicBezTo>
                  <a:cubicBezTo>
                    <a:pt x="275" y="871"/>
                    <a:pt x="275" y="848"/>
                    <a:pt x="290" y="840"/>
                  </a:cubicBezTo>
                  <a:cubicBezTo>
                    <a:pt x="305" y="833"/>
                    <a:pt x="321" y="810"/>
                    <a:pt x="344" y="817"/>
                  </a:cubicBezTo>
                  <a:cubicBezTo>
                    <a:pt x="366" y="817"/>
                    <a:pt x="374" y="856"/>
                    <a:pt x="397" y="863"/>
                  </a:cubicBezTo>
                  <a:cubicBezTo>
                    <a:pt x="405" y="863"/>
                    <a:pt x="412" y="840"/>
                    <a:pt x="420" y="833"/>
                  </a:cubicBezTo>
                  <a:cubicBezTo>
                    <a:pt x="443" y="825"/>
                    <a:pt x="466" y="840"/>
                    <a:pt x="489" y="825"/>
                  </a:cubicBezTo>
                  <a:cubicBezTo>
                    <a:pt x="504" y="810"/>
                    <a:pt x="512" y="787"/>
                    <a:pt x="527" y="764"/>
                  </a:cubicBezTo>
                  <a:lnTo>
                    <a:pt x="527" y="764"/>
                  </a:lnTo>
                  <a:cubicBezTo>
                    <a:pt x="558" y="779"/>
                    <a:pt x="580" y="802"/>
                    <a:pt x="611" y="817"/>
                  </a:cubicBezTo>
                  <a:cubicBezTo>
                    <a:pt x="619" y="817"/>
                    <a:pt x="619" y="795"/>
                    <a:pt x="634" y="795"/>
                  </a:cubicBezTo>
                  <a:cubicBezTo>
                    <a:pt x="641" y="787"/>
                    <a:pt x="649" y="810"/>
                    <a:pt x="664" y="802"/>
                  </a:cubicBezTo>
                  <a:cubicBezTo>
                    <a:pt x="703" y="795"/>
                    <a:pt x="748" y="787"/>
                    <a:pt x="779" y="756"/>
                  </a:cubicBezTo>
                  <a:cubicBezTo>
                    <a:pt x="802" y="718"/>
                    <a:pt x="802" y="672"/>
                    <a:pt x="794" y="626"/>
                  </a:cubicBezTo>
                  <a:cubicBezTo>
                    <a:pt x="787" y="603"/>
                    <a:pt x="756" y="596"/>
                    <a:pt x="733" y="581"/>
                  </a:cubicBezTo>
                  <a:cubicBezTo>
                    <a:pt x="733" y="581"/>
                    <a:pt x="664" y="596"/>
                    <a:pt x="657" y="596"/>
                  </a:cubicBezTo>
                  <a:cubicBezTo>
                    <a:pt x="649" y="588"/>
                    <a:pt x="596" y="573"/>
                    <a:pt x="596" y="573"/>
                  </a:cubicBezTo>
                  <a:cubicBezTo>
                    <a:pt x="573" y="581"/>
                    <a:pt x="550" y="588"/>
                    <a:pt x="527" y="588"/>
                  </a:cubicBezTo>
                  <a:lnTo>
                    <a:pt x="527" y="588"/>
                  </a:lnTo>
                  <a:cubicBezTo>
                    <a:pt x="512" y="581"/>
                    <a:pt x="496" y="558"/>
                    <a:pt x="481" y="565"/>
                  </a:cubicBezTo>
                  <a:cubicBezTo>
                    <a:pt x="451" y="581"/>
                    <a:pt x="443" y="642"/>
                    <a:pt x="405" y="642"/>
                  </a:cubicBezTo>
                  <a:cubicBezTo>
                    <a:pt x="382" y="649"/>
                    <a:pt x="374" y="603"/>
                    <a:pt x="359" y="581"/>
                  </a:cubicBezTo>
                  <a:cubicBezTo>
                    <a:pt x="351" y="558"/>
                    <a:pt x="366" y="527"/>
                    <a:pt x="351" y="512"/>
                  </a:cubicBezTo>
                  <a:cubicBezTo>
                    <a:pt x="336" y="481"/>
                    <a:pt x="298" y="466"/>
                    <a:pt x="275" y="44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34"/>
            <p:cNvSpPr>
              <a:spLocks noChangeArrowheads="1"/>
            </p:cNvSpPr>
            <p:nvPr/>
          </p:nvSpPr>
          <p:spPr bwMode="auto">
            <a:xfrm>
              <a:off x="6186085" y="8159751"/>
              <a:ext cx="457170" cy="525463"/>
            </a:xfrm>
            <a:custGeom>
              <a:avLst/>
              <a:gdLst>
                <a:gd name="T0" fmla="*/ 305 w 1269"/>
                <a:gd name="T1" fmla="*/ 122 h 1460"/>
                <a:gd name="T2" fmla="*/ 305 w 1269"/>
                <a:gd name="T3" fmla="*/ 122 h 1460"/>
                <a:gd name="T4" fmla="*/ 412 w 1269"/>
                <a:gd name="T5" fmla="*/ 15 h 1460"/>
                <a:gd name="T6" fmla="*/ 527 w 1269"/>
                <a:gd name="T7" fmla="*/ 30 h 1460"/>
                <a:gd name="T8" fmla="*/ 527 w 1269"/>
                <a:gd name="T9" fmla="*/ 84 h 1460"/>
                <a:gd name="T10" fmla="*/ 603 w 1269"/>
                <a:gd name="T11" fmla="*/ 91 h 1460"/>
                <a:gd name="T12" fmla="*/ 580 w 1269"/>
                <a:gd name="T13" fmla="*/ 145 h 1460"/>
                <a:gd name="T14" fmla="*/ 672 w 1269"/>
                <a:gd name="T15" fmla="*/ 229 h 1460"/>
                <a:gd name="T16" fmla="*/ 748 w 1269"/>
                <a:gd name="T17" fmla="*/ 153 h 1460"/>
                <a:gd name="T18" fmla="*/ 794 w 1269"/>
                <a:gd name="T19" fmla="*/ 221 h 1460"/>
                <a:gd name="T20" fmla="*/ 794 w 1269"/>
                <a:gd name="T21" fmla="*/ 221 h 1460"/>
                <a:gd name="T22" fmla="*/ 756 w 1269"/>
                <a:gd name="T23" fmla="*/ 237 h 1460"/>
                <a:gd name="T24" fmla="*/ 840 w 1269"/>
                <a:gd name="T25" fmla="*/ 290 h 1460"/>
                <a:gd name="T26" fmla="*/ 794 w 1269"/>
                <a:gd name="T27" fmla="*/ 389 h 1460"/>
                <a:gd name="T28" fmla="*/ 1000 w 1269"/>
                <a:gd name="T29" fmla="*/ 344 h 1460"/>
                <a:gd name="T30" fmla="*/ 1008 w 1269"/>
                <a:gd name="T31" fmla="*/ 275 h 1460"/>
                <a:gd name="T32" fmla="*/ 1084 w 1269"/>
                <a:gd name="T33" fmla="*/ 305 h 1460"/>
                <a:gd name="T34" fmla="*/ 1054 w 1269"/>
                <a:gd name="T35" fmla="*/ 389 h 1460"/>
                <a:gd name="T36" fmla="*/ 1146 w 1269"/>
                <a:gd name="T37" fmla="*/ 435 h 1460"/>
                <a:gd name="T38" fmla="*/ 1115 w 1269"/>
                <a:gd name="T39" fmla="*/ 619 h 1460"/>
                <a:gd name="T40" fmla="*/ 1230 w 1269"/>
                <a:gd name="T41" fmla="*/ 626 h 1460"/>
                <a:gd name="T42" fmla="*/ 1253 w 1269"/>
                <a:gd name="T43" fmla="*/ 955 h 1460"/>
                <a:gd name="T44" fmla="*/ 1253 w 1269"/>
                <a:gd name="T45" fmla="*/ 955 h 1460"/>
                <a:gd name="T46" fmla="*/ 1130 w 1269"/>
                <a:gd name="T47" fmla="*/ 1016 h 1460"/>
                <a:gd name="T48" fmla="*/ 1031 w 1269"/>
                <a:gd name="T49" fmla="*/ 955 h 1460"/>
                <a:gd name="T50" fmla="*/ 1023 w 1269"/>
                <a:gd name="T51" fmla="*/ 1100 h 1460"/>
                <a:gd name="T52" fmla="*/ 1092 w 1269"/>
                <a:gd name="T53" fmla="*/ 1268 h 1460"/>
                <a:gd name="T54" fmla="*/ 932 w 1269"/>
                <a:gd name="T55" fmla="*/ 1367 h 1460"/>
                <a:gd name="T56" fmla="*/ 779 w 1269"/>
                <a:gd name="T57" fmla="*/ 1459 h 1460"/>
                <a:gd name="T58" fmla="*/ 779 w 1269"/>
                <a:gd name="T59" fmla="*/ 1459 h 1460"/>
                <a:gd name="T60" fmla="*/ 703 w 1269"/>
                <a:gd name="T61" fmla="*/ 1436 h 1460"/>
                <a:gd name="T62" fmla="*/ 649 w 1269"/>
                <a:gd name="T63" fmla="*/ 1436 h 1460"/>
                <a:gd name="T64" fmla="*/ 611 w 1269"/>
                <a:gd name="T65" fmla="*/ 1413 h 1460"/>
                <a:gd name="T66" fmla="*/ 580 w 1269"/>
                <a:gd name="T67" fmla="*/ 1337 h 1460"/>
                <a:gd name="T68" fmla="*/ 519 w 1269"/>
                <a:gd name="T69" fmla="*/ 1283 h 1460"/>
                <a:gd name="T70" fmla="*/ 466 w 1269"/>
                <a:gd name="T71" fmla="*/ 1245 h 1460"/>
                <a:gd name="T72" fmla="*/ 420 w 1269"/>
                <a:gd name="T73" fmla="*/ 1191 h 1460"/>
                <a:gd name="T74" fmla="*/ 351 w 1269"/>
                <a:gd name="T75" fmla="*/ 1245 h 1460"/>
                <a:gd name="T76" fmla="*/ 282 w 1269"/>
                <a:gd name="T77" fmla="*/ 1275 h 1460"/>
                <a:gd name="T78" fmla="*/ 275 w 1269"/>
                <a:gd name="T79" fmla="*/ 1222 h 1460"/>
                <a:gd name="T80" fmla="*/ 221 w 1269"/>
                <a:gd name="T81" fmla="*/ 1222 h 1460"/>
                <a:gd name="T82" fmla="*/ 198 w 1269"/>
                <a:gd name="T83" fmla="*/ 1138 h 1460"/>
                <a:gd name="T84" fmla="*/ 122 w 1269"/>
                <a:gd name="T85" fmla="*/ 1069 h 1460"/>
                <a:gd name="T86" fmla="*/ 122 w 1269"/>
                <a:gd name="T87" fmla="*/ 1069 h 1460"/>
                <a:gd name="T88" fmla="*/ 114 w 1269"/>
                <a:gd name="T89" fmla="*/ 1046 h 1460"/>
                <a:gd name="T90" fmla="*/ 84 w 1269"/>
                <a:gd name="T91" fmla="*/ 977 h 1460"/>
                <a:gd name="T92" fmla="*/ 92 w 1269"/>
                <a:gd name="T93" fmla="*/ 909 h 1460"/>
                <a:gd name="T94" fmla="*/ 23 w 1269"/>
                <a:gd name="T95" fmla="*/ 802 h 1460"/>
                <a:gd name="T96" fmla="*/ 61 w 1269"/>
                <a:gd name="T97" fmla="*/ 741 h 1460"/>
                <a:gd name="T98" fmla="*/ 0 w 1269"/>
                <a:gd name="T99" fmla="*/ 703 h 1460"/>
                <a:gd name="T100" fmla="*/ 122 w 1269"/>
                <a:gd name="T101" fmla="*/ 611 h 1460"/>
                <a:gd name="T102" fmla="*/ 53 w 1269"/>
                <a:gd name="T103" fmla="*/ 619 h 1460"/>
                <a:gd name="T104" fmla="*/ 76 w 1269"/>
                <a:gd name="T105" fmla="*/ 573 h 1460"/>
                <a:gd name="T106" fmla="*/ 84 w 1269"/>
                <a:gd name="T107" fmla="*/ 519 h 1460"/>
                <a:gd name="T108" fmla="*/ 107 w 1269"/>
                <a:gd name="T109" fmla="*/ 481 h 1460"/>
                <a:gd name="T110" fmla="*/ 122 w 1269"/>
                <a:gd name="T111" fmla="*/ 450 h 1460"/>
                <a:gd name="T112" fmla="*/ 229 w 1269"/>
                <a:gd name="T113" fmla="*/ 359 h 1460"/>
                <a:gd name="T114" fmla="*/ 305 w 1269"/>
                <a:gd name="T115" fmla="*/ 328 h 1460"/>
                <a:gd name="T116" fmla="*/ 221 w 1269"/>
                <a:gd name="T117" fmla="*/ 298 h 1460"/>
                <a:gd name="T118" fmla="*/ 229 w 1269"/>
                <a:gd name="T119" fmla="*/ 214 h 1460"/>
                <a:gd name="T120" fmla="*/ 267 w 1269"/>
                <a:gd name="T121" fmla="*/ 183 h 1460"/>
                <a:gd name="T122" fmla="*/ 305 w 1269"/>
                <a:gd name="T123" fmla="*/ 122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9" h="1460">
                  <a:moveTo>
                    <a:pt x="305" y="122"/>
                  </a:moveTo>
                  <a:lnTo>
                    <a:pt x="305" y="122"/>
                  </a:lnTo>
                  <a:cubicBezTo>
                    <a:pt x="344" y="84"/>
                    <a:pt x="367" y="30"/>
                    <a:pt x="412" y="15"/>
                  </a:cubicBezTo>
                  <a:cubicBezTo>
                    <a:pt x="450" y="0"/>
                    <a:pt x="489" y="23"/>
                    <a:pt x="527" y="30"/>
                  </a:cubicBezTo>
                  <a:cubicBezTo>
                    <a:pt x="527" y="30"/>
                    <a:pt x="519" y="84"/>
                    <a:pt x="527" y="84"/>
                  </a:cubicBezTo>
                  <a:lnTo>
                    <a:pt x="603" y="91"/>
                  </a:lnTo>
                  <a:cubicBezTo>
                    <a:pt x="603" y="91"/>
                    <a:pt x="573" y="137"/>
                    <a:pt x="580" y="145"/>
                  </a:cubicBezTo>
                  <a:cubicBezTo>
                    <a:pt x="580" y="153"/>
                    <a:pt x="672" y="229"/>
                    <a:pt x="672" y="229"/>
                  </a:cubicBezTo>
                  <a:cubicBezTo>
                    <a:pt x="703" y="206"/>
                    <a:pt x="710" y="153"/>
                    <a:pt x="748" y="153"/>
                  </a:cubicBezTo>
                  <a:cubicBezTo>
                    <a:pt x="779" y="145"/>
                    <a:pt x="779" y="198"/>
                    <a:pt x="794" y="221"/>
                  </a:cubicBezTo>
                  <a:lnTo>
                    <a:pt x="794" y="221"/>
                  </a:lnTo>
                  <a:cubicBezTo>
                    <a:pt x="779" y="229"/>
                    <a:pt x="748" y="221"/>
                    <a:pt x="756" y="237"/>
                  </a:cubicBezTo>
                  <a:cubicBezTo>
                    <a:pt x="771" y="260"/>
                    <a:pt x="832" y="260"/>
                    <a:pt x="840" y="290"/>
                  </a:cubicBezTo>
                  <a:cubicBezTo>
                    <a:pt x="848" y="328"/>
                    <a:pt x="756" y="374"/>
                    <a:pt x="794" y="389"/>
                  </a:cubicBezTo>
                  <a:cubicBezTo>
                    <a:pt x="863" y="412"/>
                    <a:pt x="939" y="382"/>
                    <a:pt x="1000" y="344"/>
                  </a:cubicBezTo>
                  <a:cubicBezTo>
                    <a:pt x="1023" y="336"/>
                    <a:pt x="985" y="283"/>
                    <a:pt x="1008" y="275"/>
                  </a:cubicBezTo>
                  <a:cubicBezTo>
                    <a:pt x="1031" y="260"/>
                    <a:pt x="1061" y="290"/>
                    <a:pt x="1084" y="305"/>
                  </a:cubicBezTo>
                  <a:cubicBezTo>
                    <a:pt x="1084" y="305"/>
                    <a:pt x="1054" y="382"/>
                    <a:pt x="1054" y="389"/>
                  </a:cubicBezTo>
                  <a:cubicBezTo>
                    <a:pt x="1046" y="405"/>
                    <a:pt x="1146" y="435"/>
                    <a:pt x="1146" y="435"/>
                  </a:cubicBezTo>
                  <a:cubicBezTo>
                    <a:pt x="1130" y="496"/>
                    <a:pt x="1084" y="558"/>
                    <a:pt x="1115" y="619"/>
                  </a:cubicBezTo>
                  <a:cubicBezTo>
                    <a:pt x="1130" y="649"/>
                    <a:pt x="1214" y="588"/>
                    <a:pt x="1230" y="626"/>
                  </a:cubicBezTo>
                  <a:cubicBezTo>
                    <a:pt x="1268" y="725"/>
                    <a:pt x="1245" y="840"/>
                    <a:pt x="1253" y="955"/>
                  </a:cubicBezTo>
                  <a:lnTo>
                    <a:pt x="1253" y="955"/>
                  </a:lnTo>
                  <a:cubicBezTo>
                    <a:pt x="1207" y="977"/>
                    <a:pt x="1176" y="1016"/>
                    <a:pt x="1130" y="1016"/>
                  </a:cubicBezTo>
                  <a:cubicBezTo>
                    <a:pt x="1092" y="1016"/>
                    <a:pt x="1061" y="932"/>
                    <a:pt x="1031" y="955"/>
                  </a:cubicBezTo>
                  <a:cubicBezTo>
                    <a:pt x="993" y="985"/>
                    <a:pt x="1016" y="1054"/>
                    <a:pt x="1023" y="1100"/>
                  </a:cubicBezTo>
                  <a:cubicBezTo>
                    <a:pt x="1031" y="1161"/>
                    <a:pt x="1107" y="1214"/>
                    <a:pt x="1092" y="1268"/>
                  </a:cubicBezTo>
                  <a:cubicBezTo>
                    <a:pt x="1069" y="1329"/>
                    <a:pt x="985" y="1337"/>
                    <a:pt x="932" y="1367"/>
                  </a:cubicBezTo>
                  <a:cubicBezTo>
                    <a:pt x="878" y="1398"/>
                    <a:pt x="832" y="1428"/>
                    <a:pt x="779" y="1459"/>
                  </a:cubicBezTo>
                  <a:lnTo>
                    <a:pt x="779" y="1459"/>
                  </a:lnTo>
                  <a:cubicBezTo>
                    <a:pt x="764" y="1444"/>
                    <a:pt x="725" y="1444"/>
                    <a:pt x="703" y="1436"/>
                  </a:cubicBezTo>
                  <a:cubicBezTo>
                    <a:pt x="672" y="1428"/>
                    <a:pt x="687" y="1413"/>
                    <a:pt x="649" y="1436"/>
                  </a:cubicBezTo>
                  <a:cubicBezTo>
                    <a:pt x="626" y="1444"/>
                    <a:pt x="626" y="1421"/>
                    <a:pt x="611" y="1413"/>
                  </a:cubicBezTo>
                  <a:cubicBezTo>
                    <a:pt x="611" y="1390"/>
                    <a:pt x="588" y="1360"/>
                    <a:pt x="580" y="1337"/>
                  </a:cubicBezTo>
                  <a:cubicBezTo>
                    <a:pt x="565" y="1314"/>
                    <a:pt x="542" y="1298"/>
                    <a:pt x="519" y="1283"/>
                  </a:cubicBezTo>
                  <a:cubicBezTo>
                    <a:pt x="504" y="1275"/>
                    <a:pt x="481" y="1260"/>
                    <a:pt x="466" y="1245"/>
                  </a:cubicBezTo>
                  <a:cubicBezTo>
                    <a:pt x="458" y="1230"/>
                    <a:pt x="420" y="1199"/>
                    <a:pt x="420" y="1191"/>
                  </a:cubicBezTo>
                  <a:cubicBezTo>
                    <a:pt x="405" y="1191"/>
                    <a:pt x="367" y="1237"/>
                    <a:pt x="351" y="1245"/>
                  </a:cubicBezTo>
                  <a:cubicBezTo>
                    <a:pt x="336" y="1252"/>
                    <a:pt x="290" y="1291"/>
                    <a:pt x="282" y="1275"/>
                  </a:cubicBezTo>
                  <a:cubicBezTo>
                    <a:pt x="275" y="1260"/>
                    <a:pt x="275" y="1245"/>
                    <a:pt x="275" y="1222"/>
                  </a:cubicBezTo>
                  <a:cubicBezTo>
                    <a:pt x="275" y="1214"/>
                    <a:pt x="229" y="1222"/>
                    <a:pt x="221" y="1222"/>
                  </a:cubicBezTo>
                  <a:cubicBezTo>
                    <a:pt x="214" y="1222"/>
                    <a:pt x="206" y="1146"/>
                    <a:pt x="198" y="1138"/>
                  </a:cubicBezTo>
                  <a:cubicBezTo>
                    <a:pt x="175" y="1108"/>
                    <a:pt x="145" y="1092"/>
                    <a:pt x="122" y="1069"/>
                  </a:cubicBezTo>
                  <a:lnTo>
                    <a:pt x="122" y="1069"/>
                  </a:lnTo>
                  <a:cubicBezTo>
                    <a:pt x="122" y="1062"/>
                    <a:pt x="114" y="1054"/>
                    <a:pt x="114" y="1046"/>
                  </a:cubicBezTo>
                  <a:cubicBezTo>
                    <a:pt x="114" y="1023"/>
                    <a:pt x="84" y="1000"/>
                    <a:pt x="84" y="977"/>
                  </a:cubicBezTo>
                  <a:cubicBezTo>
                    <a:pt x="76" y="955"/>
                    <a:pt x="92" y="932"/>
                    <a:pt x="92" y="909"/>
                  </a:cubicBezTo>
                  <a:cubicBezTo>
                    <a:pt x="92" y="894"/>
                    <a:pt x="38" y="810"/>
                    <a:pt x="23" y="802"/>
                  </a:cubicBezTo>
                  <a:cubicBezTo>
                    <a:pt x="23" y="787"/>
                    <a:pt x="76" y="764"/>
                    <a:pt x="61" y="741"/>
                  </a:cubicBezTo>
                  <a:cubicBezTo>
                    <a:pt x="53" y="718"/>
                    <a:pt x="8" y="718"/>
                    <a:pt x="0" y="703"/>
                  </a:cubicBezTo>
                  <a:cubicBezTo>
                    <a:pt x="0" y="687"/>
                    <a:pt x="137" y="664"/>
                    <a:pt x="122" y="611"/>
                  </a:cubicBezTo>
                  <a:cubicBezTo>
                    <a:pt x="114" y="611"/>
                    <a:pt x="53" y="634"/>
                    <a:pt x="53" y="619"/>
                  </a:cubicBezTo>
                  <a:cubicBezTo>
                    <a:pt x="38" y="611"/>
                    <a:pt x="69" y="580"/>
                    <a:pt x="76" y="573"/>
                  </a:cubicBezTo>
                  <a:cubicBezTo>
                    <a:pt x="92" y="558"/>
                    <a:pt x="92" y="535"/>
                    <a:pt x="84" y="519"/>
                  </a:cubicBezTo>
                  <a:cubicBezTo>
                    <a:pt x="76" y="504"/>
                    <a:pt x="99" y="496"/>
                    <a:pt x="107" y="481"/>
                  </a:cubicBezTo>
                  <a:cubicBezTo>
                    <a:pt x="114" y="473"/>
                    <a:pt x="114" y="458"/>
                    <a:pt x="122" y="450"/>
                  </a:cubicBezTo>
                  <a:cubicBezTo>
                    <a:pt x="145" y="420"/>
                    <a:pt x="191" y="359"/>
                    <a:pt x="229" y="359"/>
                  </a:cubicBezTo>
                  <a:cubicBezTo>
                    <a:pt x="260" y="359"/>
                    <a:pt x="305" y="374"/>
                    <a:pt x="305" y="328"/>
                  </a:cubicBezTo>
                  <a:cubicBezTo>
                    <a:pt x="290" y="328"/>
                    <a:pt x="198" y="351"/>
                    <a:pt x="221" y="298"/>
                  </a:cubicBezTo>
                  <a:cubicBezTo>
                    <a:pt x="237" y="283"/>
                    <a:pt x="237" y="237"/>
                    <a:pt x="229" y="214"/>
                  </a:cubicBezTo>
                  <a:cubicBezTo>
                    <a:pt x="221" y="198"/>
                    <a:pt x="260" y="191"/>
                    <a:pt x="267" y="183"/>
                  </a:cubicBezTo>
                  <a:cubicBezTo>
                    <a:pt x="290" y="176"/>
                    <a:pt x="313" y="145"/>
                    <a:pt x="305" y="1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35"/>
            <p:cNvSpPr>
              <a:spLocks noChangeArrowheads="1"/>
            </p:cNvSpPr>
            <p:nvPr/>
          </p:nvSpPr>
          <p:spPr bwMode="auto">
            <a:xfrm>
              <a:off x="5746376" y="7691438"/>
              <a:ext cx="552414" cy="1066800"/>
            </a:xfrm>
            <a:custGeom>
              <a:avLst/>
              <a:gdLst>
                <a:gd name="T0" fmla="*/ 1160 w 1535"/>
                <a:gd name="T1" fmla="*/ 8 h 2965"/>
                <a:gd name="T2" fmla="*/ 847 w 1535"/>
                <a:gd name="T3" fmla="*/ 31 h 2965"/>
                <a:gd name="T4" fmla="*/ 672 w 1535"/>
                <a:gd name="T5" fmla="*/ 100 h 2965"/>
                <a:gd name="T6" fmla="*/ 511 w 1535"/>
                <a:gd name="T7" fmla="*/ 199 h 2965"/>
                <a:gd name="T8" fmla="*/ 489 w 1535"/>
                <a:gd name="T9" fmla="*/ 520 h 2965"/>
                <a:gd name="T10" fmla="*/ 175 w 1535"/>
                <a:gd name="T11" fmla="*/ 588 h 2965"/>
                <a:gd name="T12" fmla="*/ 0 w 1535"/>
                <a:gd name="T13" fmla="*/ 879 h 2965"/>
                <a:gd name="T14" fmla="*/ 122 w 1535"/>
                <a:gd name="T15" fmla="*/ 993 h 2965"/>
                <a:gd name="T16" fmla="*/ 290 w 1535"/>
                <a:gd name="T17" fmla="*/ 1077 h 2965"/>
                <a:gd name="T18" fmla="*/ 305 w 1535"/>
                <a:gd name="T19" fmla="*/ 1245 h 2965"/>
                <a:gd name="T20" fmla="*/ 313 w 1535"/>
                <a:gd name="T21" fmla="*/ 1482 h 2965"/>
                <a:gd name="T22" fmla="*/ 275 w 1535"/>
                <a:gd name="T23" fmla="*/ 1650 h 2965"/>
                <a:gd name="T24" fmla="*/ 252 w 1535"/>
                <a:gd name="T25" fmla="*/ 2002 h 2965"/>
                <a:gd name="T26" fmla="*/ 305 w 1535"/>
                <a:gd name="T27" fmla="*/ 2101 h 2965"/>
                <a:gd name="T28" fmla="*/ 336 w 1535"/>
                <a:gd name="T29" fmla="*/ 2468 h 2965"/>
                <a:gd name="T30" fmla="*/ 175 w 1535"/>
                <a:gd name="T31" fmla="*/ 2865 h 2965"/>
                <a:gd name="T32" fmla="*/ 259 w 1535"/>
                <a:gd name="T33" fmla="*/ 2964 h 2965"/>
                <a:gd name="T34" fmla="*/ 511 w 1535"/>
                <a:gd name="T35" fmla="*/ 2911 h 2965"/>
                <a:gd name="T36" fmla="*/ 595 w 1535"/>
                <a:gd name="T37" fmla="*/ 2888 h 2965"/>
                <a:gd name="T38" fmla="*/ 748 w 1535"/>
                <a:gd name="T39" fmla="*/ 2804 h 2965"/>
                <a:gd name="T40" fmla="*/ 870 w 1535"/>
                <a:gd name="T41" fmla="*/ 2811 h 2965"/>
                <a:gd name="T42" fmla="*/ 924 w 1535"/>
                <a:gd name="T43" fmla="*/ 2872 h 2965"/>
                <a:gd name="T44" fmla="*/ 1000 w 1535"/>
                <a:gd name="T45" fmla="*/ 2781 h 2965"/>
                <a:gd name="T46" fmla="*/ 1206 w 1535"/>
                <a:gd name="T47" fmla="*/ 2796 h 2965"/>
                <a:gd name="T48" fmla="*/ 1389 w 1535"/>
                <a:gd name="T49" fmla="*/ 2605 h 2965"/>
                <a:gd name="T50" fmla="*/ 1343 w 1535"/>
                <a:gd name="T51" fmla="*/ 2368 h 2965"/>
                <a:gd name="T52" fmla="*/ 1305 w 1535"/>
                <a:gd name="T53" fmla="*/ 2276 h 2965"/>
                <a:gd name="T54" fmla="*/ 1282 w 1535"/>
                <a:gd name="T55" fmla="*/ 2040 h 2965"/>
                <a:gd name="T56" fmla="*/ 1274 w 1535"/>
                <a:gd name="T57" fmla="*/ 1918 h 2965"/>
                <a:gd name="T58" fmla="*/ 1328 w 1535"/>
                <a:gd name="T59" fmla="*/ 1780 h 2965"/>
                <a:gd name="T60" fmla="*/ 1526 w 1535"/>
                <a:gd name="T61" fmla="*/ 1627 h 2965"/>
                <a:gd name="T62" fmla="*/ 1488 w 1535"/>
                <a:gd name="T63" fmla="*/ 1482 h 2965"/>
                <a:gd name="T64" fmla="*/ 1412 w 1535"/>
                <a:gd name="T65" fmla="*/ 1452 h 2965"/>
                <a:gd name="T66" fmla="*/ 1121 w 1535"/>
                <a:gd name="T67" fmla="*/ 1245 h 2965"/>
                <a:gd name="T68" fmla="*/ 1213 w 1535"/>
                <a:gd name="T69" fmla="*/ 1077 h 2965"/>
                <a:gd name="T70" fmla="*/ 1419 w 1535"/>
                <a:gd name="T71" fmla="*/ 986 h 2965"/>
                <a:gd name="T72" fmla="*/ 1320 w 1535"/>
                <a:gd name="T73" fmla="*/ 940 h 2965"/>
                <a:gd name="T74" fmla="*/ 1297 w 1535"/>
                <a:gd name="T75" fmla="*/ 787 h 2965"/>
                <a:gd name="T76" fmla="*/ 1374 w 1535"/>
                <a:gd name="T77" fmla="*/ 611 h 2965"/>
                <a:gd name="T78" fmla="*/ 1503 w 1535"/>
                <a:gd name="T79" fmla="*/ 466 h 2965"/>
                <a:gd name="T80" fmla="*/ 1335 w 1535"/>
                <a:gd name="T81" fmla="*/ 329 h 2965"/>
                <a:gd name="T82" fmla="*/ 1206 w 1535"/>
                <a:gd name="T83" fmla="*/ 214 h 2965"/>
                <a:gd name="T84" fmla="*/ 1221 w 1535"/>
                <a:gd name="T85" fmla="*/ 54 h 2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35" h="2965">
                  <a:moveTo>
                    <a:pt x="1221" y="54"/>
                  </a:moveTo>
                  <a:lnTo>
                    <a:pt x="1221" y="54"/>
                  </a:lnTo>
                  <a:cubicBezTo>
                    <a:pt x="1206" y="39"/>
                    <a:pt x="1183" y="0"/>
                    <a:pt x="1160" y="8"/>
                  </a:cubicBezTo>
                  <a:cubicBezTo>
                    <a:pt x="1115" y="16"/>
                    <a:pt x="1100" y="69"/>
                    <a:pt x="1061" y="84"/>
                  </a:cubicBezTo>
                  <a:cubicBezTo>
                    <a:pt x="1023" y="92"/>
                    <a:pt x="985" y="69"/>
                    <a:pt x="947" y="61"/>
                  </a:cubicBezTo>
                  <a:cubicBezTo>
                    <a:pt x="916" y="54"/>
                    <a:pt x="878" y="46"/>
                    <a:pt x="847" y="31"/>
                  </a:cubicBezTo>
                  <a:lnTo>
                    <a:pt x="847" y="31"/>
                  </a:lnTo>
                  <a:cubicBezTo>
                    <a:pt x="825" y="54"/>
                    <a:pt x="794" y="77"/>
                    <a:pt x="764" y="84"/>
                  </a:cubicBezTo>
                  <a:cubicBezTo>
                    <a:pt x="733" y="100"/>
                    <a:pt x="703" y="100"/>
                    <a:pt x="672" y="100"/>
                  </a:cubicBezTo>
                  <a:lnTo>
                    <a:pt x="672" y="100"/>
                  </a:lnTo>
                  <a:cubicBezTo>
                    <a:pt x="657" y="123"/>
                    <a:pt x="641" y="161"/>
                    <a:pt x="611" y="176"/>
                  </a:cubicBezTo>
                  <a:cubicBezTo>
                    <a:pt x="580" y="191"/>
                    <a:pt x="534" y="176"/>
                    <a:pt x="511" y="199"/>
                  </a:cubicBezTo>
                  <a:cubicBezTo>
                    <a:pt x="489" y="222"/>
                    <a:pt x="496" y="252"/>
                    <a:pt x="496" y="283"/>
                  </a:cubicBezTo>
                  <a:cubicBezTo>
                    <a:pt x="496" y="329"/>
                    <a:pt x="527" y="375"/>
                    <a:pt x="527" y="421"/>
                  </a:cubicBezTo>
                  <a:cubicBezTo>
                    <a:pt x="527" y="459"/>
                    <a:pt x="511" y="497"/>
                    <a:pt x="489" y="520"/>
                  </a:cubicBezTo>
                  <a:cubicBezTo>
                    <a:pt x="458" y="543"/>
                    <a:pt x="412" y="535"/>
                    <a:pt x="382" y="550"/>
                  </a:cubicBezTo>
                  <a:cubicBezTo>
                    <a:pt x="366" y="558"/>
                    <a:pt x="359" y="581"/>
                    <a:pt x="336" y="588"/>
                  </a:cubicBezTo>
                  <a:cubicBezTo>
                    <a:pt x="282" y="596"/>
                    <a:pt x="221" y="558"/>
                    <a:pt x="175" y="588"/>
                  </a:cubicBezTo>
                  <a:cubicBezTo>
                    <a:pt x="130" y="611"/>
                    <a:pt x="137" y="680"/>
                    <a:pt x="122" y="726"/>
                  </a:cubicBezTo>
                  <a:cubicBezTo>
                    <a:pt x="107" y="764"/>
                    <a:pt x="84" y="795"/>
                    <a:pt x="61" y="825"/>
                  </a:cubicBezTo>
                  <a:cubicBezTo>
                    <a:pt x="38" y="848"/>
                    <a:pt x="15" y="863"/>
                    <a:pt x="0" y="879"/>
                  </a:cubicBezTo>
                  <a:lnTo>
                    <a:pt x="0" y="879"/>
                  </a:lnTo>
                  <a:cubicBezTo>
                    <a:pt x="46" y="886"/>
                    <a:pt x="99" y="871"/>
                    <a:pt x="130" y="902"/>
                  </a:cubicBezTo>
                  <a:cubicBezTo>
                    <a:pt x="153" y="925"/>
                    <a:pt x="122" y="963"/>
                    <a:pt x="122" y="993"/>
                  </a:cubicBezTo>
                  <a:cubicBezTo>
                    <a:pt x="130" y="1024"/>
                    <a:pt x="122" y="1085"/>
                    <a:pt x="160" y="1093"/>
                  </a:cubicBezTo>
                  <a:cubicBezTo>
                    <a:pt x="206" y="1100"/>
                    <a:pt x="244" y="1047"/>
                    <a:pt x="282" y="1016"/>
                  </a:cubicBezTo>
                  <a:lnTo>
                    <a:pt x="290" y="1077"/>
                  </a:lnTo>
                  <a:cubicBezTo>
                    <a:pt x="282" y="1085"/>
                    <a:pt x="259" y="1123"/>
                    <a:pt x="259" y="1123"/>
                  </a:cubicBezTo>
                  <a:cubicBezTo>
                    <a:pt x="259" y="1123"/>
                    <a:pt x="252" y="1177"/>
                    <a:pt x="252" y="1184"/>
                  </a:cubicBezTo>
                  <a:lnTo>
                    <a:pt x="305" y="1245"/>
                  </a:lnTo>
                  <a:cubicBezTo>
                    <a:pt x="328" y="1284"/>
                    <a:pt x="343" y="1329"/>
                    <a:pt x="359" y="1368"/>
                  </a:cubicBezTo>
                  <a:cubicBezTo>
                    <a:pt x="359" y="1368"/>
                    <a:pt x="412" y="1421"/>
                    <a:pt x="405" y="1421"/>
                  </a:cubicBezTo>
                  <a:cubicBezTo>
                    <a:pt x="397" y="1429"/>
                    <a:pt x="313" y="1482"/>
                    <a:pt x="313" y="1482"/>
                  </a:cubicBezTo>
                  <a:cubicBezTo>
                    <a:pt x="298" y="1497"/>
                    <a:pt x="267" y="1505"/>
                    <a:pt x="267" y="1520"/>
                  </a:cubicBezTo>
                  <a:cubicBezTo>
                    <a:pt x="275" y="1559"/>
                    <a:pt x="336" y="1574"/>
                    <a:pt x="336" y="1612"/>
                  </a:cubicBezTo>
                  <a:cubicBezTo>
                    <a:pt x="336" y="1635"/>
                    <a:pt x="282" y="1627"/>
                    <a:pt x="275" y="1650"/>
                  </a:cubicBezTo>
                  <a:cubicBezTo>
                    <a:pt x="259" y="1688"/>
                    <a:pt x="275" y="1727"/>
                    <a:pt x="275" y="1765"/>
                  </a:cubicBezTo>
                  <a:cubicBezTo>
                    <a:pt x="282" y="1818"/>
                    <a:pt x="298" y="1879"/>
                    <a:pt x="298" y="1933"/>
                  </a:cubicBezTo>
                  <a:cubicBezTo>
                    <a:pt x="290" y="1963"/>
                    <a:pt x="267" y="1979"/>
                    <a:pt x="252" y="2002"/>
                  </a:cubicBezTo>
                  <a:lnTo>
                    <a:pt x="252" y="2002"/>
                  </a:lnTo>
                  <a:cubicBezTo>
                    <a:pt x="275" y="2009"/>
                    <a:pt x="298" y="2009"/>
                    <a:pt x="313" y="2024"/>
                  </a:cubicBezTo>
                  <a:cubicBezTo>
                    <a:pt x="321" y="2047"/>
                    <a:pt x="298" y="2078"/>
                    <a:pt x="305" y="2101"/>
                  </a:cubicBezTo>
                  <a:cubicBezTo>
                    <a:pt x="321" y="2124"/>
                    <a:pt x="366" y="2109"/>
                    <a:pt x="382" y="2132"/>
                  </a:cubicBezTo>
                  <a:cubicBezTo>
                    <a:pt x="405" y="2162"/>
                    <a:pt x="420" y="2208"/>
                    <a:pt x="420" y="2246"/>
                  </a:cubicBezTo>
                  <a:cubicBezTo>
                    <a:pt x="405" y="2322"/>
                    <a:pt x="359" y="2391"/>
                    <a:pt x="336" y="2468"/>
                  </a:cubicBezTo>
                  <a:cubicBezTo>
                    <a:pt x="321" y="2521"/>
                    <a:pt x="336" y="2582"/>
                    <a:pt x="321" y="2628"/>
                  </a:cubicBezTo>
                  <a:cubicBezTo>
                    <a:pt x="305" y="2666"/>
                    <a:pt x="259" y="2674"/>
                    <a:pt x="244" y="2712"/>
                  </a:cubicBezTo>
                  <a:cubicBezTo>
                    <a:pt x="214" y="2758"/>
                    <a:pt x="198" y="2811"/>
                    <a:pt x="175" y="2865"/>
                  </a:cubicBezTo>
                  <a:lnTo>
                    <a:pt x="175" y="2865"/>
                  </a:lnTo>
                  <a:cubicBezTo>
                    <a:pt x="191" y="2880"/>
                    <a:pt x="198" y="2903"/>
                    <a:pt x="214" y="2918"/>
                  </a:cubicBezTo>
                  <a:cubicBezTo>
                    <a:pt x="229" y="2933"/>
                    <a:pt x="236" y="2964"/>
                    <a:pt x="259" y="2964"/>
                  </a:cubicBezTo>
                  <a:cubicBezTo>
                    <a:pt x="282" y="2964"/>
                    <a:pt x="275" y="2918"/>
                    <a:pt x="298" y="2911"/>
                  </a:cubicBezTo>
                  <a:cubicBezTo>
                    <a:pt x="328" y="2888"/>
                    <a:pt x="366" y="2880"/>
                    <a:pt x="405" y="2880"/>
                  </a:cubicBezTo>
                  <a:cubicBezTo>
                    <a:pt x="443" y="2880"/>
                    <a:pt x="481" y="2895"/>
                    <a:pt x="511" y="2911"/>
                  </a:cubicBezTo>
                  <a:cubicBezTo>
                    <a:pt x="519" y="2918"/>
                    <a:pt x="511" y="2933"/>
                    <a:pt x="511" y="2949"/>
                  </a:cubicBezTo>
                  <a:lnTo>
                    <a:pt x="511" y="2949"/>
                  </a:lnTo>
                  <a:cubicBezTo>
                    <a:pt x="542" y="2926"/>
                    <a:pt x="573" y="2911"/>
                    <a:pt x="595" y="2888"/>
                  </a:cubicBezTo>
                  <a:cubicBezTo>
                    <a:pt x="634" y="2849"/>
                    <a:pt x="672" y="2796"/>
                    <a:pt x="718" y="2773"/>
                  </a:cubicBezTo>
                  <a:cubicBezTo>
                    <a:pt x="733" y="2765"/>
                    <a:pt x="741" y="2788"/>
                    <a:pt x="748" y="2804"/>
                  </a:cubicBezTo>
                  <a:lnTo>
                    <a:pt x="748" y="2804"/>
                  </a:lnTo>
                  <a:cubicBezTo>
                    <a:pt x="764" y="2788"/>
                    <a:pt x="779" y="2758"/>
                    <a:pt x="802" y="2758"/>
                  </a:cubicBezTo>
                  <a:cubicBezTo>
                    <a:pt x="817" y="2758"/>
                    <a:pt x="809" y="2788"/>
                    <a:pt x="817" y="2804"/>
                  </a:cubicBezTo>
                  <a:cubicBezTo>
                    <a:pt x="832" y="2811"/>
                    <a:pt x="855" y="2804"/>
                    <a:pt x="870" y="2811"/>
                  </a:cubicBezTo>
                  <a:cubicBezTo>
                    <a:pt x="878" y="2826"/>
                    <a:pt x="870" y="2849"/>
                    <a:pt x="878" y="2865"/>
                  </a:cubicBezTo>
                  <a:cubicBezTo>
                    <a:pt x="893" y="2872"/>
                    <a:pt x="909" y="2872"/>
                    <a:pt x="924" y="2872"/>
                  </a:cubicBezTo>
                  <a:lnTo>
                    <a:pt x="924" y="2872"/>
                  </a:lnTo>
                  <a:cubicBezTo>
                    <a:pt x="970" y="2849"/>
                    <a:pt x="970" y="2849"/>
                    <a:pt x="970" y="2849"/>
                  </a:cubicBezTo>
                  <a:lnTo>
                    <a:pt x="970" y="2849"/>
                  </a:lnTo>
                  <a:cubicBezTo>
                    <a:pt x="978" y="2826"/>
                    <a:pt x="978" y="2788"/>
                    <a:pt x="1000" y="2781"/>
                  </a:cubicBezTo>
                  <a:cubicBezTo>
                    <a:pt x="1031" y="2773"/>
                    <a:pt x="1061" y="2811"/>
                    <a:pt x="1092" y="2811"/>
                  </a:cubicBezTo>
                  <a:cubicBezTo>
                    <a:pt x="1129" y="2819"/>
                    <a:pt x="1167" y="2804"/>
                    <a:pt x="1206" y="2796"/>
                  </a:cubicBezTo>
                  <a:lnTo>
                    <a:pt x="1206" y="2796"/>
                  </a:lnTo>
                  <a:cubicBezTo>
                    <a:pt x="1236" y="2773"/>
                    <a:pt x="1274" y="2758"/>
                    <a:pt x="1297" y="2727"/>
                  </a:cubicBezTo>
                  <a:cubicBezTo>
                    <a:pt x="1320" y="2704"/>
                    <a:pt x="1313" y="2666"/>
                    <a:pt x="1335" y="2643"/>
                  </a:cubicBezTo>
                  <a:cubicBezTo>
                    <a:pt x="1343" y="2628"/>
                    <a:pt x="1389" y="2628"/>
                    <a:pt x="1389" y="2605"/>
                  </a:cubicBezTo>
                  <a:cubicBezTo>
                    <a:pt x="1381" y="2567"/>
                    <a:pt x="1335" y="2544"/>
                    <a:pt x="1320" y="2513"/>
                  </a:cubicBezTo>
                  <a:cubicBezTo>
                    <a:pt x="1305" y="2483"/>
                    <a:pt x="1297" y="2452"/>
                    <a:pt x="1297" y="2422"/>
                  </a:cubicBezTo>
                  <a:cubicBezTo>
                    <a:pt x="1305" y="2399"/>
                    <a:pt x="1328" y="2384"/>
                    <a:pt x="1343" y="2368"/>
                  </a:cubicBezTo>
                  <a:lnTo>
                    <a:pt x="1343" y="2368"/>
                  </a:lnTo>
                  <a:cubicBezTo>
                    <a:pt x="1343" y="2361"/>
                    <a:pt x="1335" y="2353"/>
                    <a:pt x="1335" y="2345"/>
                  </a:cubicBezTo>
                  <a:cubicBezTo>
                    <a:pt x="1335" y="2322"/>
                    <a:pt x="1305" y="2299"/>
                    <a:pt x="1305" y="2276"/>
                  </a:cubicBezTo>
                  <a:cubicBezTo>
                    <a:pt x="1297" y="2254"/>
                    <a:pt x="1313" y="2231"/>
                    <a:pt x="1313" y="2208"/>
                  </a:cubicBezTo>
                  <a:cubicBezTo>
                    <a:pt x="1313" y="2193"/>
                    <a:pt x="1259" y="2109"/>
                    <a:pt x="1244" y="2101"/>
                  </a:cubicBezTo>
                  <a:cubicBezTo>
                    <a:pt x="1244" y="2086"/>
                    <a:pt x="1297" y="2063"/>
                    <a:pt x="1282" y="2040"/>
                  </a:cubicBezTo>
                  <a:cubicBezTo>
                    <a:pt x="1274" y="2017"/>
                    <a:pt x="1229" y="2017"/>
                    <a:pt x="1221" y="2002"/>
                  </a:cubicBezTo>
                  <a:cubicBezTo>
                    <a:pt x="1221" y="1986"/>
                    <a:pt x="1358" y="1963"/>
                    <a:pt x="1343" y="1910"/>
                  </a:cubicBezTo>
                  <a:cubicBezTo>
                    <a:pt x="1335" y="1910"/>
                    <a:pt x="1274" y="1933"/>
                    <a:pt x="1274" y="1918"/>
                  </a:cubicBezTo>
                  <a:cubicBezTo>
                    <a:pt x="1259" y="1910"/>
                    <a:pt x="1290" y="1879"/>
                    <a:pt x="1297" y="1872"/>
                  </a:cubicBezTo>
                  <a:cubicBezTo>
                    <a:pt x="1313" y="1857"/>
                    <a:pt x="1313" y="1834"/>
                    <a:pt x="1305" y="1818"/>
                  </a:cubicBezTo>
                  <a:cubicBezTo>
                    <a:pt x="1297" y="1803"/>
                    <a:pt x="1320" y="1795"/>
                    <a:pt x="1328" y="1780"/>
                  </a:cubicBezTo>
                  <a:cubicBezTo>
                    <a:pt x="1335" y="1772"/>
                    <a:pt x="1335" y="1757"/>
                    <a:pt x="1343" y="1749"/>
                  </a:cubicBezTo>
                  <a:cubicBezTo>
                    <a:pt x="1366" y="1719"/>
                    <a:pt x="1412" y="1658"/>
                    <a:pt x="1450" y="1658"/>
                  </a:cubicBezTo>
                  <a:cubicBezTo>
                    <a:pt x="1481" y="1658"/>
                    <a:pt x="1526" y="1673"/>
                    <a:pt x="1526" y="1627"/>
                  </a:cubicBezTo>
                  <a:cubicBezTo>
                    <a:pt x="1511" y="1627"/>
                    <a:pt x="1419" y="1650"/>
                    <a:pt x="1442" y="1597"/>
                  </a:cubicBezTo>
                  <a:cubicBezTo>
                    <a:pt x="1458" y="1582"/>
                    <a:pt x="1458" y="1536"/>
                    <a:pt x="1450" y="1513"/>
                  </a:cubicBezTo>
                  <a:cubicBezTo>
                    <a:pt x="1442" y="1497"/>
                    <a:pt x="1481" y="1490"/>
                    <a:pt x="1488" y="1482"/>
                  </a:cubicBezTo>
                  <a:cubicBezTo>
                    <a:pt x="1511" y="1475"/>
                    <a:pt x="1534" y="1444"/>
                    <a:pt x="1526" y="1421"/>
                  </a:cubicBezTo>
                  <a:lnTo>
                    <a:pt x="1526" y="1421"/>
                  </a:lnTo>
                  <a:cubicBezTo>
                    <a:pt x="1481" y="1421"/>
                    <a:pt x="1450" y="1444"/>
                    <a:pt x="1412" y="1452"/>
                  </a:cubicBezTo>
                  <a:cubicBezTo>
                    <a:pt x="1389" y="1452"/>
                    <a:pt x="1374" y="1444"/>
                    <a:pt x="1351" y="1444"/>
                  </a:cubicBezTo>
                  <a:cubicBezTo>
                    <a:pt x="1320" y="1383"/>
                    <a:pt x="1236" y="1345"/>
                    <a:pt x="1190" y="1291"/>
                  </a:cubicBezTo>
                  <a:cubicBezTo>
                    <a:pt x="1167" y="1276"/>
                    <a:pt x="1144" y="1261"/>
                    <a:pt x="1121" y="1245"/>
                  </a:cubicBezTo>
                  <a:cubicBezTo>
                    <a:pt x="1100" y="1215"/>
                    <a:pt x="1069" y="1200"/>
                    <a:pt x="1100" y="1169"/>
                  </a:cubicBezTo>
                  <a:cubicBezTo>
                    <a:pt x="1115" y="1146"/>
                    <a:pt x="1129" y="1115"/>
                    <a:pt x="1152" y="1115"/>
                  </a:cubicBezTo>
                  <a:cubicBezTo>
                    <a:pt x="1198" y="1115"/>
                    <a:pt x="1190" y="1100"/>
                    <a:pt x="1213" y="1077"/>
                  </a:cubicBezTo>
                  <a:cubicBezTo>
                    <a:pt x="1229" y="1070"/>
                    <a:pt x="1251" y="1077"/>
                    <a:pt x="1267" y="1070"/>
                  </a:cubicBezTo>
                  <a:cubicBezTo>
                    <a:pt x="1297" y="1054"/>
                    <a:pt x="1320" y="1062"/>
                    <a:pt x="1351" y="1054"/>
                  </a:cubicBezTo>
                  <a:cubicBezTo>
                    <a:pt x="1389" y="1054"/>
                    <a:pt x="1412" y="1016"/>
                    <a:pt x="1419" y="986"/>
                  </a:cubicBezTo>
                  <a:cubicBezTo>
                    <a:pt x="1458" y="963"/>
                    <a:pt x="1450" y="940"/>
                    <a:pt x="1450" y="902"/>
                  </a:cubicBezTo>
                  <a:cubicBezTo>
                    <a:pt x="1450" y="863"/>
                    <a:pt x="1427" y="810"/>
                    <a:pt x="1389" y="856"/>
                  </a:cubicBezTo>
                  <a:cubicBezTo>
                    <a:pt x="1374" y="879"/>
                    <a:pt x="1351" y="917"/>
                    <a:pt x="1320" y="940"/>
                  </a:cubicBezTo>
                  <a:cubicBezTo>
                    <a:pt x="1313" y="948"/>
                    <a:pt x="1244" y="1032"/>
                    <a:pt x="1259" y="955"/>
                  </a:cubicBezTo>
                  <a:cubicBezTo>
                    <a:pt x="1267" y="925"/>
                    <a:pt x="1290" y="879"/>
                    <a:pt x="1251" y="856"/>
                  </a:cubicBezTo>
                  <a:cubicBezTo>
                    <a:pt x="1251" y="818"/>
                    <a:pt x="1297" y="818"/>
                    <a:pt x="1297" y="787"/>
                  </a:cubicBezTo>
                  <a:cubicBezTo>
                    <a:pt x="1305" y="757"/>
                    <a:pt x="1328" y="734"/>
                    <a:pt x="1351" y="718"/>
                  </a:cubicBezTo>
                  <a:cubicBezTo>
                    <a:pt x="1366" y="703"/>
                    <a:pt x="1343" y="696"/>
                    <a:pt x="1343" y="680"/>
                  </a:cubicBezTo>
                  <a:cubicBezTo>
                    <a:pt x="1335" y="665"/>
                    <a:pt x="1366" y="619"/>
                    <a:pt x="1374" y="611"/>
                  </a:cubicBezTo>
                  <a:cubicBezTo>
                    <a:pt x="1389" y="596"/>
                    <a:pt x="1374" y="565"/>
                    <a:pt x="1389" y="558"/>
                  </a:cubicBezTo>
                  <a:cubicBezTo>
                    <a:pt x="1396" y="550"/>
                    <a:pt x="1419" y="543"/>
                    <a:pt x="1412" y="520"/>
                  </a:cubicBezTo>
                  <a:cubicBezTo>
                    <a:pt x="1404" y="482"/>
                    <a:pt x="1473" y="466"/>
                    <a:pt x="1503" y="466"/>
                  </a:cubicBezTo>
                  <a:cubicBezTo>
                    <a:pt x="1503" y="451"/>
                    <a:pt x="1481" y="421"/>
                    <a:pt x="1458" y="413"/>
                  </a:cubicBezTo>
                  <a:cubicBezTo>
                    <a:pt x="1412" y="398"/>
                    <a:pt x="1427" y="398"/>
                    <a:pt x="1419" y="359"/>
                  </a:cubicBezTo>
                  <a:cubicBezTo>
                    <a:pt x="1396" y="359"/>
                    <a:pt x="1358" y="352"/>
                    <a:pt x="1335" y="329"/>
                  </a:cubicBezTo>
                  <a:cubicBezTo>
                    <a:pt x="1305" y="306"/>
                    <a:pt x="1313" y="260"/>
                    <a:pt x="1274" y="298"/>
                  </a:cubicBezTo>
                  <a:cubicBezTo>
                    <a:pt x="1259" y="321"/>
                    <a:pt x="1244" y="298"/>
                    <a:pt x="1236" y="275"/>
                  </a:cubicBezTo>
                  <a:cubicBezTo>
                    <a:pt x="1213" y="245"/>
                    <a:pt x="1198" y="268"/>
                    <a:pt x="1206" y="214"/>
                  </a:cubicBezTo>
                  <a:cubicBezTo>
                    <a:pt x="1221" y="161"/>
                    <a:pt x="1167" y="153"/>
                    <a:pt x="1244" y="115"/>
                  </a:cubicBezTo>
                  <a:cubicBezTo>
                    <a:pt x="1267" y="77"/>
                    <a:pt x="1251" y="92"/>
                    <a:pt x="1221" y="61"/>
                  </a:cubicBezTo>
                  <a:cubicBezTo>
                    <a:pt x="1221" y="61"/>
                    <a:pt x="1221" y="61"/>
                    <a:pt x="1221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36"/>
            <p:cNvSpPr>
              <a:spLocks noChangeArrowheads="1"/>
            </p:cNvSpPr>
            <p:nvPr/>
          </p:nvSpPr>
          <p:spPr bwMode="auto">
            <a:xfrm>
              <a:off x="6692464" y="7521576"/>
              <a:ext cx="96832" cy="131763"/>
            </a:xfrm>
            <a:custGeom>
              <a:avLst/>
              <a:gdLst>
                <a:gd name="T0" fmla="*/ 184 w 269"/>
                <a:gd name="T1" fmla="*/ 69 h 367"/>
                <a:gd name="T2" fmla="*/ 184 w 269"/>
                <a:gd name="T3" fmla="*/ 69 h 367"/>
                <a:gd name="T4" fmla="*/ 115 w 269"/>
                <a:gd name="T5" fmla="*/ 0 h 367"/>
                <a:gd name="T6" fmla="*/ 16 w 269"/>
                <a:gd name="T7" fmla="*/ 53 h 367"/>
                <a:gd name="T8" fmla="*/ 54 w 269"/>
                <a:gd name="T9" fmla="*/ 152 h 367"/>
                <a:gd name="T10" fmla="*/ 54 w 269"/>
                <a:gd name="T11" fmla="*/ 252 h 367"/>
                <a:gd name="T12" fmla="*/ 92 w 269"/>
                <a:gd name="T13" fmla="*/ 359 h 367"/>
                <a:gd name="T14" fmla="*/ 145 w 269"/>
                <a:gd name="T15" fmla="*/ 298 h 367"/>
                <a:gd name="T16" fmla="*/ 184 w 269"/>
                <a:gd name="T17" fmla="*/ 344 h 367"/>
                <a:gd name="T18" fmla="*/ 268 w 269"/>
                <a:gd name="T19" fmla="*/ 321 h 367"/>
                <a:gd name="T20" fmla="*/ 191 w 269"/>
                <a:gd name="T21" fmla="*/ 152 h 367"/>
                <a:gd name="T22" fmla="*/ 184 w 269"/>
                <a:gd name="T23" fmla="*/ 69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9" h="367">
                  <a:moveTo>
                    <a:pt x="184" y="69"/>
                  </a:moveTo>
                  <a:lnTo>
                    <a:pt x="184" y="69"/>
                  </a:lnTo>
                  <a:cubicBezTo>
                    <a:pt x="168" y="38"/>
                    <a:pt x="145" y="8"/>
                    <a:pt x="115" y="0"/>
                  </a:cubicBezTo>
                  <a:cubicBezTo>
                    <a:pt x="77" y="0"/>
                    <a:pt x="31" y="15"/>
                    <a:pt x="16" y="53"/>
                  </a:cubicBezTo>
                  <a:cubicBezTo>
                    <a:pt x="0" y="84"/>
                    <a:pt x="54" y="122"/>
                    <a:pt x="54" y="152"/>
                  </a:cubicBezTo>
                  <a:cubicBezTo>
                    <a:pt x="61" y="191"/>
                    <a:pt x="46" y="221"/>
                    <a:pt x="54" y="252"/>
                  </a:cubicBezTo>
                  <a:cubicBezTo>
                    <a:pt x="61" y="290"/>
                    <a:pt x="61" y="344"/>
                    <a:pt x="92" y="359"/>
                  </a:cubicBezTo>
                  <a:cubicBezTo>
                    <a:pt x="115" y="366"/>
                    <a:pt x="123" y="305"/>
                    <a:pt x="145" y="298"/>
                  </a:cubicBezTo>
                  <a:cubicBezTo>
                    <a:pt x="168" y="298"/>
                    <a:pt x="168" y="344"/>
                    <a:pt x="184" y="344"/>
                  </a:cubicBezTo>
                  <a:cubicBezTo>
                    <a:pt x="214" y="351"/>
                    <a:pt x="268" y="351"/>
                    <a:pt x="268" y="321"/>
                  </a:cubicBezTo>
                  <a:cubicBezTo>
                    <a:pt x="268" y="260"/>
                    <a:pt x="214" y="214"/>
                    <a:pt x="191" y="152"/>
                  </a:cubicBezTo>
                  <a:cubicBezTo>
                    <a:pt x="184" y="122"/>
                    <a:pt x="199" y="91"/>
                    <a:pt x="184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37"/>
            <p:cNvSpPr>
              <a:spLocks noChangeArrowheads="1"/>
            </p:cNvSpPr>
            <p:nvPr/>
          </p:nvSpPr>
          <p:spPr bwMode="auto">
            <a:xfrm>
              <a:off x="6551186" y="7394576"/>
              <a:ext cx="488918" cy="574675"/>
            </a:xfrm>
            <a:custGeom>
              <a:avLst/>
              <a:gdLst>
                <a:gd name="T0" fmla="*/ 573 w 1360"/>
                <a:gd name="T1" fmla="*/ 421 h 1598"/>
                <a:gd name="T2" fmla="*/ 405 w 1360"/>
                <a:gd name="T3" fmla="*/ 405 h 1598"/>
                <a:gd name="T4" fmla="*/ 443 w 1360"/>
                <a:gd name="T5" fmla="*/ 604 h 1598"/>
                <a:gd name="T6" fmla="*/ 534 w 1360"/>
                <a:gd name="T7" fmla="*/ 650 h 1598"/>
                <a:gd name="T8" fmla="*/ 657 w 1360"/>
                <a:gd name="T9" fmla="*/ 673 h 1598"/>
                <a:gd name="T10" fmla="*/ 573 w 1360"/>
                <a:gd name="T11" fmla="*/ 421 h 1598"/>
                <a:gd name="T12" fmla="*/ 130 w 1360"/>
                <a:gd name="T13" fmla="*/ 566 h 1598"/>
                <a:gd name="T14" fmla="*/ 191 w 1360"/>
                <a:gd name="T15" fmla="*/ 428 h 1598"/>
                <a:gd name="T16" fmla="*/ 382 w 1360"/>
                <a:gd name="T17" fmla="*/ 337 h 1598"/>
                <a:gd name="T18" fmla="*/ 550 w 1360"/>
                <a:gd name="T19" fmla="*/ 107 h 1598"/>
                <a:gd name="T20" fmla="*/ 718 w 1360"/>
                <a:gd name="T21" fmla="*/ 85 h 1598"/>
                <a:gd name="T22" fmla="*/ 794 w 1360"/>
                <a:gd name="T23" fmla="*/ 31 h 1598"/>
                <a:gd name="T24" fmla="*/ 840 w 1360"/>
                <a:gd name="T25" fmla="*/ 8 h 1598"/>
                <a:gd name="T26" fmla="*/ 1062 w 1360"/>
                <a:gd name="T27" fmla="*/ 168 h 1598"/>
                <a:gd name="T28" fmla="*/ 1115 w 1360"/>
                <a:gd name="T29" fmla="*/ 329 h 1598"/>
                <a:gd name="T30" fmla="*/ 1145 w 1360"/>
                <a:gd name="T31" fmla="*/ 489 h 1598"/>
                <a:gd name="T32" fmla="*/ 1046 w 1360"/>
                <a:gd name="T33" fmla="*/ 657 h 1598"/>
                <a:gd name="T34" fmla="*/ 1039 w 1360"/>
                <a:gd name="T35" fmla="*/ 902 h 1598"/>
                <a:gd name="T36" fmla="*/ 1268 w 1360"/>
                <a:gd name="T37" fmla="*/ 986 h 1598"/>
                <a:gd name="T38" fmla="*/ 1206 w 1360"/>
                <a:gd name="T39" fmla="*/ 1123 h 1598"/>
                <a:gd name="T40" fmla="*/ 1245 w 1360"/>
                <a:gd name="T41" fmla="*/ 1253 h 1598"/>
                <a:gd name="T42" fmla="*/ 1352 w 1360"/>
                <a:gd name="T43" fmla="*/ 1291 h 1598"/>
                <a:gd name="T44" fmla="*/ 1359 w 1360"/>
                <a:gd name="T45" fmla="*/ 1337 h 1598"/>
                <a:gd name="T46" fmla="*/ 1291 w 1360"/>
                <a:gd name="T47" fmla="*/ 1452 h 1598"/>
                <a:gd name="T48" fmla="*/ 1222 w 1360"/>
                <a:gd name="T49" fmla="*/ 1589 h 1598"/>
                <a:gd name="T50" fmla="*/ 1069 w 1360"/>
                <a:gd name="T51" fmla="*/ 1597 h 1598"/>
                <a:gd name="T52" fmla="*/ 1008 w 1360"/>
                <a:gd name="T53" fmla="*/ 1543 h 1598"/>
                <a:gd name="T54" fmla="*/ 924 w 1360"/>
                <a:gd name="T55" fmla="*/ 1582 h 1598"/>
                <a:gd name="T56" fmla="*/ 878 w 1360"/>
                <a:gd name="T57" fmla="*/ 1498 h 1598"/>
                <a:gd name="T58" fmla="*/ 794 w 1360"/>
                <a:gd name="T59" fmla="*/ 1429 h 1598"/>
                <a:gd name="T60" fmla="*/ 725 w 1360"/>
                <a:gd name="T61" fmla="*/ 1482 h 1598"/>
                <a:gd name="T62" fmla="*/ 679 w 1360"/>
                <a:gd name="T63" fmla="*/ 1543 h 1598"/>
                <a:gd name="T64" fmla="*/ 427 w 1360"/>
                <a:gd name="T65" fmla="*/ 1559 h 1598"/>
                <a:gd name="T66" fmla="*/ 351 w 1360"/>
                <a:gd name="T67" fmla="*/ 1521 h 1598"/>
                <a:gd name="T68" fmla="*/ 366 w 1360"/>
                <a:gd name="T69" fmla="*/ 1429 h 1598"/>
                <a:gd name="T70" fmla="*/ 229 w 1360"/>
                <a:gd name="T71" fmla="*/ 1352 h 1598"/>
                <a:gd name="T72" fmla="*/ 244 w 1360"/>
                <a:gd name="T73" fmla="*/ 1246 h 1598"/>
                <a:gd name="T74" fmla="*/ 145 w 1360"/>
                <a:gd name="T75" fmla="*/ 1108 h 1598"/>
                <a:gd name="T76" fmla="*/ 76 w 1360"/>
                <a:gd name="T77" fmla="*/ 1001 h 1598"/>
                <a:gd name="T78" fmla="*/ 122 w 1360"/>
                <a:gd name="T79" fmla="*/ 955 h 1598"/>
                <a:gd name="T80" fmla="*/ 30 w 1360"/>
                <a:gd name="T81" fmla="*/ 871 h 1598"/>
                <a:gd name="T82" fmla="*/ 38 w 1360"/>
                <a:gd name="T83" fmla="*/ 726 h 1598"/>
                <a:gd name="T84" fmla="*/ 130 w 1360"/>
                <a:gd name="T85" fmla="*/ 566 h 1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0" h="1598">
                  <a:moveTo>
                    <a:pt x="573" y="421"/>
                  </a:moveTo>
                  <a:lnTo>
                    <a:pt x="573" y="421"/>
                  </a:lnTo>
                  <a:cubicBezTo>
                    <a:pt x="557" y="390"/>
                    <a:pt x="534" y="360"/>
                    <a:pt x="504" y="352"/>
                  </a:cubicBezTo>
                  <a:cubicBezTo>
                    <a:pt x="466" y="352"/>
                    <a:pt x="420" y="367"/>
                    <a:pt x="405" y="405"/>
                  </a:cubicBezTo>
                  <a:cubicBezTo>
                    <a:pt x="389" y="436"/>
                    <a:pt x="443" y="474"/>
                    <a:pt x="443" y="504"/>
                  </a:cubicBezTo>
                  <a:cubicBezTo>
                    <a:pt x="450" y="543"/>
                    <a:pt x="435" y="573"/>
                    <a:pt x="443" y="604"/>
                  </a:cubicBezTo>
                  <a:cubicBezTo>
                    <a:pt x="450" y="642"/>
                    <a:pt x="450" y="696"/>
                    <a:pt x="481" y="711"/>
                  </a:cubicBezTo>
                  <a:cubicBezTo>
                    <a:pt x="504" y="718"/>
                    <a:pt x="512" y="657"/>
                    <a:pt x="534" y="650"/>
                  </a:cubicBezTo>
                  <a:cubicBezTo>
                    <a:pt x="557" y="650"/>
                    <a:pt x="557" y="696"/>
                    <a:pt x="573" y="696"/>
                  </a:cubicBezTo>
                  <a:cubicBezTo>
                    <a:pt x="603" y="703"/>
                    <a:pt x="657" y="703"/>
                    <a:pt x="657" y="673"/>
                  </a:cubicBezTo>
                  <a:cubicBezTo>
                    <a:pt x="657" y="612"/>
                    <a:pt x="603" y="566"/>
                    <a:pt x="580" y="504"/>
                  </a:cubicBezTo>
                  <a:cubicBezTo>
                    <a:pt x="573" y="474"/>
                    <a:pt x="588" y="443"/>
                    <a:pt x="573" y="421"/>
                  </a:cubicBezTo>
                  <a:close/>
                  <a:moveTo>
                    <a:pt x="130" y="566"/>
                  </a:moveTo>
                  <a:lnTo>
                    <a:pt x="130" y="566"/>
                  </a:lnTo>
                  <a:cubicBezTo>
                    <a:pt x="130" y="535"/>
                    <a:pt x="130" y="504"/>
                    <a:pt x="137" y="474"/>
                  </a:cubicBezTo>
                  <a:cubicBezTo>
                    <a:pt x="153" y="459"/>
                    <a:pt x="175" y="443"/>
                    <a:pt x="191" y="428"/>
                  </a:cubicBezTo>
                  <a:cubicBezTo>
                    <a:pt x="206" y="398"/>
                    <a:pt x="214" y="360"/>
                    <a:pt x="244" y="344"/>
                  </a:cubicBezTo>
                  <a:cubicBezTo>
                    <a:pt x="282" y="321"/>
                    <a:pt x="343" y="360"/>
                    <a:pt x="382" y="337"/>
                  </a:cubicBezTo>
                  <a:cubicBezTo>
                    <a:pt x="435" y="306"/>
                    <a:pt x="473" y="245"/>
                    <a:pt x="512" y="191"/>
                  </a:cubicBezTo>
                  <a:cubicBezTo>
                    <a:pt x="534" y="168"/>
                    <a:pt x="519" y="115"/>
                    <a:pt x="550" y="107"/>
                  </a:cubicBezTo>
                  <a:cubicBezTo>
                    <a:pt x="588" y="100"/>
                    <a:pt x="618" y="161"/>
                    <a:pt x="664" y="153"/>
                  </a:cubicBezTo>
                  <a:cubicBezTo>
                    <a:pt x="687" y="146"/>
                    <a:pt x="687" y="100"/>
                    <a:pt x="718" y="85"/>
                  </a:cubicBezTo>
                  <a:cubicBezTo>
                    <a:pt x="725" y="77"/>
                    <a:pt x="741" y="85"/>
                    <a:pt x="748" y="85"/>
                  </a:cubicBezTo>
                  <a:cubicBezTo>
                    <a:pt x="771" y="69"/>
                    <a:pt x="779" y="46"/>
                    <a:pt x="794" y="31"/>
                  </a:cubicBezTo>
                  <a:lnTo>
                    <a:pt x="794" y="31"/>
                  </a:lnTo>
                  <a:cubicBezTo>
                    <a:pt x="809" y="23"/>
                    <a:pt x="825" y="0"/>
                    <a:pt x="840" y="8"/>
                  </a:cubicBezTo>
                  <a:cubicBezTo>
                    <a:pt x="870" y="16"/>
                    <a:pt x="886" y="46"/>
                    <a:pt x="909" y="62"/>
                  </a:cubicBezTo>
                  <a:cubicBezTo>
                    <a:pt x="962" y="100"/>
                    <a:pt x="1016" y="123"/>
                    <a:pt x="1062" y="168"/>
                  </a:cubicBezTo>
                  <a:cubicBezTo>
                    <a:pt x="1077" y="184"/>
                    <a:pt x="1062" y="207"/>
                    <a:pt x="1069" y="229"/>
                  </a:cubicBezTo>
                  <a:cubicBezTo>
                    <a:pt x="1084" y="260"/>
                    <a:pt x="1107" y="291"/>
                    <a:pt x="1115" y="329"/>
                  </a:cubicBezTo>
                  <a:cubicBezTo>
                    <a:pt x="1115" y="367"/>
                    <a:pt x="1100" y="405"/>
                    <a:pt x="1107" y="436"/>
                  </a:cubicBezTo>
                  <a:cubicBezTo>
                    <a:pt x="1115" y="459"/>
                    <a:pt x="1138" y="474"/>
                    <a:pt x="1145" y="489"/>
                  </a:cubicBezTo>
                  <a:cubicBezTo>
                    <a:pt x="1153" y="520"/>
                    <a:pt x="1168" y="550"/>
                    <a:pt x="1153" y="573"/>
                  </a:cubicBezTo>
                  <a:cubicBezTo>
                    <a:pt x="1130" y="612"/>
                    <a:pt x="1069" y="619"/>
                    <a:pt x="1046" y="657"/>
                  </a:cubicBezTo>
                  <a:cubicBezTo>
                    <a:pt x="1023" y="696"/>
                    <a:pt x="1008" y="741"/>
                    <a:pt x="1008" y="787"/>
                  </a:cubicBezTo>
                  <a:cubicBezTo>
                    <a:pt x="1008" y="825"/>
                    <a:pt x="1008" y="871"/>
                    <a:pt x="1039" y="902"/>
                  </a:cubicBezTo>
                  <a:cubicBezTo>
                    <a:pt x="1077" y="932"/>
                    <a:pt x="1138" y="925"/>
                    <a:pt x="1191" y="940"/>
                  </a:cubicBezTo>
                  <a:cubicBezTo>
                    <a:pt x="1222" y="955"/>
                    <a:pt x="1252" y="963"/>
                    <a:pt x="1268" y="986"/>
                  </a:cubicBezTo>
                  <a:cubicBezTo>
                    <a:pt x="1283" y="1009"/>
                    <a:pt x="1298" y="1039"/>
                    <a:pt x="1291" y="1062"/>
                  </a:cubicBezTo>
                  <a:cubicBezTo>
                    <a:pt x="1275" y="1093"/>
                    <a:pt x="1229" y="1093"/>
                    <a:pt x="1206" y="1123"/>
                  </a:cubicBezTo>
                  <a:cubicBezTo>
                    <a:pt x="1191" y="1146"/>
                    <a:pt x="1184" y="1177"/>
                    <a:pt x="1191" y="1207"/>
                  </a:cubicBezTo>
                  <a:cubicBezTo>
                    <a:pt x="1191" y="1230"/>
                    <a:pt x="1222" y="1238"/>
                    <a:pt x="1245" y="1253"/>
                  </a:cubicBezTo>
                  <a:cubicBezTo>
                    <a:pt x="1275" y="1268"/>
                    <a:pt x="1314" y="1276"/>
                    <a:pt x="1352" y="1291"/>
                  </a:cubicBezTo>
                  <a:lnTo>
                    <a:pt x="1352" y="1291"/>
                  </a:lnTo>
                  <a:cubicBezTo>
                    <a:pt x="1359" y="1337"/>
                    <a:pt x="1359" y="1337"/>
                    <a:pt x="1359" y="1337"/>
                  </a:cubicBezTo>
                  <a:lnTo>
                    <a:pt x="1359" y="1337"/>
                  </a:lnTo>
                  <a:cubicBezTo>
                    <a:pt x="1336" y="1360"/>
                    <a:pt x="1306" y="1375"/>
                    <a:pt x="1291" y="1406"/>
                  </a:cubicBezTo>
                  <a:cubicBezTo>
                    <a:pt x="1283" y="1421"/>
                    <a:pt x="1291" y="1436"/>
                    <a:pt x="1291" y="1452"/>
                  </a:cubicBezTo>
                  <a:cubicBezTo>
                    <a:pt x="1291" y="1482"/>
                    <a:pt x="1298" y="1513"/>
                    <a:pt x="1283" y="1543"/>
                  </a:cubicBezTo>
                  <a:cubicBezTo>
                    <a:pt x="1268" y="1566"/>
                    <a:pt x="1245" y="1582"/>
                    <a:pt x="1222" y="1589"/>
                  </a:cubicBezTo>
                  <a:cubicBezTo>
                    <a:pt x="1191" y="1597"/>
                    <a:pt x="1161" y="1574"/>
                    <a:pt x="1130" y="1582"/>
                  </a:cubicBezTo>
                  <a:cubicBezTo>
                    <a:pt x="1107" y="1582"/>
                    <a:pt x="1092" y="1589"/>
                    <a:pt x="1069" y="1597"/>
                  </a:cubicBezTo>
                  <a:lnTo>
                    <a:pt x="1069" y="1597"/>
                  </a:lnTo>
                  <a:cubicBezTo>
                    <a:pt x="1046" y="1582"/>
                    <a:pt x="1031" y="1543"/>
                    <a:pt x="1008" y="1543"/>
                  </a:cubicBezTo>
                  <a:cubicBezTo>
                    <a:pt x="977" y="1543"/>
                    <a:pt x="947" y="1566"/>
                    <a:pt x="924" y="1582"/>
                  </a:cubicBezTo>
                  <a:lnTo>
                    <a:pt x="924" y="1582"/>
                  </a:lnTo>
                  <a:cubicBezTo>
                    <a:pt x="916" y="1566"/>
                    <a:pt x="909" y="1543"/>
                    <a:pt x="901" y="1528"/>
                  </a:cubicBezTo>
                  <a:cubicBezTo>
                    <a:pt x="893" y="1513"/>
                    <a:pt x="886" y="1505"/>
                    <a:pt x="878" y="1498"/>
                  </a:cubicBezTo>
                  <a:cubicBezTo>
                    <a:pt x="863" y="1467"/>
                    <a:pt x="878" y="1436"/>
                    <a:pt x="855" y="1421"/>
                  </a:cubicBezTo>
                  <a:cubicBezTo>
                    <a:pt x="840" y="1406"/>
                    <a:pt x="809" y="1413"/>
                    <a:pt x="794" y="1429"/>
                  </a:cubicBezTo>
                  <a:cubicBezTo>
                    <a:pt x="779" y="1436"/>
                    <a:pt x="794" y="1459"/>
                    <a:pt x="779" y="1467"/>
                  </a:cubicBezTo>
                  <a:cubicBezTo>
                    <a:pt x="764" y="1482"/>
                    <a:pt x="741" y="1467"/>
                    <a:pt x="725" y="1482"/>
                  </a:cubicBezTo>
                  <a:cubicBezTo>
                    <a:pt x="710" y="1498"/>
                    <a:pt x="695" y="1521"/>
                    <a:pt x="679" y="1543"/>
                  </a:cubicBezTo>
                  <a:lnTo>
                    <a:pt x="679" y="1543"/>
                  </a:lnTo>
                  <a:cubicBezTo>
                    <a:pt x="626" y="1521"/>
                    <a:pt x="588" y="1467"/>
                    <a:pt x="534" y="1467"/>
                  </a:cubicBezTo>
                  <a:cubicBezTo>
                    <a:pt x="489" y="1475"/>
                    <a:pt x="466" y="1528"/>
                    <a:pt x="427" y="1559"/>
                  </a:cubicBezTo>
                  <a:lnTo>
                    <a:pt x="427" y="1559"/>
                  </a:lnTo>
                  <a:cubicBezTo>
                    <a:pt x="351" y="1521"/>
                    <a:pt x="351" y="1521"/>
                    <a:pt x="351" y="1521"/>
                  </a:cubicBezTo>
                  <a:lnTo>
                    <a:pt x="351" y="1521"/>
                  </a:lnTo>
                  <a:cubicBezTo>
                    <a:pt x="359" y="1490"/>
                    <a:pt x="366" y="1459"/>
                    <a:pt x="366" y="1429"/>
                  </a:cubicBezTo>
                  <a:cubicBezTo>
                    <a:pt x="366" y="1406"/>
                    <a:pt x="366" y="1375"/>
                    <a:pt x="343" y="1360"/>
                  </a:cubicBezTo>
                  <a:cubicBezTo>
                    <a:pt x="313" y="1345"/>
                    <a:pt x="259" y="1375"/>
                    <a:pt x="229" y="1352"/>
                  </a:cubicBezTo>
                  <a:cubicBezTo>
                    <a:pt x="214" y="1322"/>
                    <a:pt x="244" y="1284"/>
                    <a:pt x="244" y="1246"/>
                  </a:cubicBezTo>
                  <a:lnTo>
                    <a:pt x="244" y="1246"/>
                  </a:lnTo>
                  <a:cubicBezTo>
                    <a:pt x="237" y="1223"/>
                    <a:pt x="229" y="1200"/>
                    <a:pt x="214" y="1184"/>
                  </a:cubicBezTo>
                  <a:cubicBezTo>
                    <a:pt x="198" y="1154"/>
                    <a:pt x="160" y="1138"/>
                    <a:pt x="145" y="1108"/>
                  </a:cubicBezTo>
                  <a:cubicBezTo>
                    <a:pt x="137" y="1093"/>
                    <a:pt x="153" y="1070"/>
                    <a:pt x="137" y="1054"/>
                  </a:cubicBezTo>
                  <a:cubicBezTo>
                    <a:pt x="122" y="1032"/>
                    <a:pt x="99" y="1016"/>
                    <a:pt x="76" y="1001"/>
                  </a:cubicBezTo>
                  <a:lnTo>
                    <a:pt x="76" y="1001"/>
                  </a:lnTo>
                  <a:cubicBezTo>
                    <a:pt x="91" y="986"/>
                    <a:pt x="114" y="978"/>
                    <a:pt x="122" y="955"/>
                  </a:cubicBezTo>
                  <a:cubicBezTo>
                    <a:pt x="137" y="917"/>
                    <a:pt x="168" y="864"/>
                    <a:pt x="137" y="833"/>
                  </a:cubicBezTo>
                  <a:cubicBezTo>
                    <a:pt x="114" y="810"/>
                    <a:pt x="68" y="879"/>
                    <a:pt x="30" y="871"/>
                  </a:cubicBezTo>
                  <a:cubicBezTo>
                    <a:pt x="7" y="864"/>
                    <a:pt x="0" y="833"/>
                    <a:pt x="0" y="810"/>
                  </a:cubicBezTo>
                  <a:cubicBezTo>
                    <a:pt x="0" y="779"/>
                    <a:pt x="15" y="749"/>
                    <a:pt x="38" y="726"/>
                  </a:cubicBezTo>
                  <a:cubicBezTo>
                    <a:pt x="61" y="696"/>
                    <a:pt x="107" y="688"/>
                    <a:pt x="130" y="650"/>
                  </a:cubicBezTo>
                  <a:cubicBezTo>
                    <a:pt x="145" y="627"/>
                    <a:pt x="130" y="596"/>
                    <a:pt x="130" y="56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38"/>
            <p:cNvSpPr>
              <a:spLocks noChangeArrowheads="1"/>
            </p:cNvSpPr>
            <p:nvPr/>
          </p:nvSpPr>
          <p:spPr bwMode="auto">
            <a:xfrm>
              <a:off x="6948035" y="7137400"/>
              <a:ext cx="266683" cy="184150"/>
            </a:xfrm>
            <a:custGeom>
              <a:avLst/>
              <a:gdLst>
                <a:gd name="T0" fmla="*/ 0 w 741"/>
                <a:gd name="T1" fmla="*/ 46 h 513"/>
                <a:gd name="T2" fmla="*/ 0 w 741"/>
                <a:gd name="T3" fmla="*/ 46 h 513"/>
                <a:gd name="T4" fmla="*/ 53 w 741"/>
                <a:gd name="T5" fmla="*/ 100 h 513"/>
                <a:gd name="T6" fmla="*/ 84 w 741"/>
                <a:gd name="T7" fmla="*/ 191 h 513"/>
                <a:gd name="T8" fmla="*/ 145 w 741"/>
                <a:gd name="T9" fmla="*/ 214 h 513"/>
                <a:gd name="T10" fmla="*/ 152 w 741"/>
                <a:gd name="T11" fmla="*/ 253 h 513"/>
                <a:gd name="T12" fmla="*/ 214 w 741"/>
                <a:gd name="T13" fmla="*/ 283 h 513"/>
                <a:gd name="T14" fmla="*/ 198 w 741"/>
                <a:gd name="T15" fmla="*/ 352 h 513"/>
                <a:gd name="T16" fmla="*/ 320 w 741"/>
                <a:gd name="T17" fmla="*/ 398 h 513"/>
                <a:gd name="T18" fmla="*/ 259 w 741"/>
                <a:gd name="T19" fmla="*/ 474 h 513"/>
                <a:gd name="T20" fmla="*/ 381 w 741"/>
                <a:gd name="T21" fmla="*/ 505 h 513"/>
                <a:gd name="T22" fmla="*/ 519 w 741"/>
                <a:gd name="T23" fmla="*/ 482 h 513"/>
                <a:gd name="T24" fmla="*/ 542 w 741"/>
                <a:gd name="T25" fmla="*/ 443 h 513"/>
                <a:gd name="T26" fmla="*/ 603 w 741"/>
                <a:gd name="T27" fmla="*/ 420 h 513"/>
                <a:gd name="T28" fmla="*/ 626 w 741"/>
                <a:gd name="T29" fmla="*/ 428 h 513"/>
                <a:gd name="T30" fmla="*/ 641 w 741"/>
                <a:gd name="T31" fmla="*/ 474 h 513"/>
                <a:gd name="T32" fmla="*/ 687 w 741"/>
                <a:gd name="T33" fmla="*/ 474 h 513"/>
                <a:gd name="T34" fmla="*/ 740 w 741"/>
                <a:gd name="T35" fmla="*/ 443 h 513"/>
                <a:gd name="T36" fmla="*/ 740 w 741"/>
                <a:gd name="T37" fmla="*/ 443 h 513"/>
                <a:gd name="T38" fmla="*/ 718 w 741"/>
                <a:gd name="T39" fmla="*/ 375 h 513"/>
                <a:gd name="T40" fmla="*/ 672 w 741"/>
                <a:gd name="T41" fmla="*/ 329 h 513"/>
                <a:gd name="T42" fmla="*/ 641 w 741"/>
                <a:gd name="T43" fmla="*/ 260 h 513"/>
                <a:gd name="T44" fmla="*/ 641 w 741"/>
                <a:gd name="T45" fmla="*/ 199 h 513"/>
                <a:gd name="T46" fmla="*/ 580 w 741"/>
                <a:gd name="T47" fmla="*/ 184 h 513"/>
                <a:gd name="T48" fmla="*/ 534 w 741"/>
                <a:gd name="T49" fmla="*/ 61 h 513"/>
                <a:gd name="T50" fmla="*/ 534 w 741"/>
                <a:gd name="T51" fmla="*/ 61 h 513"/>
                <a:gd name="T52" fmla="*/ 473 w 741"/>
                <a:gd name="T53" fmla="*/ 39 h 513"/>
                <a:gd name="T54" fmla="*/ 450 w 741"/>
                <a:gd name="T55" fmla="*/ 69 h 513"/>
                <a:gd name="T56" fmla="*/ 412 w 741"/>
                <a:gd name="T57" fmla="*/ 153 h 513"/>
                <a:gd name="T58" fmla="*/ 389 w 741"/>
                <a:gd name="T59" fmla="*/ 123 h 513"/>
                <a:gd name="T60" fmla="*/ 381 w 741"/>
                <a:gd name="T61" fmla="*/ 77 h 513"/>
                <a:gd name="T62" fmla="*/ 351 w 741"/>
                <a:gd name="T63" fmla="*/ 31 h 513"/>
                <a:gd name="T64" fmla="*/ 145 w 741"/>
                <a:gd name="T65" fmla="*/ 8 h 513"/>
                <a:gd name="T66" fmla="*/ 91 w 741"/>
                <a:gd name="T67" fmla="*/ 46 h 513"/>
                <a:gd name="T68" fmla="*/ 0 w 741"/>
                <a:gd name="T69" fmla="*/ 46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1" h="513">
                  <a:moveTo>
                    <a:pt x="0" y="46"/>
                  </a:moveTo>
                  <a:lnTo>
                    <a:pt x="0" y="46"/>
                  </a:lnTo>
                  <a:cubicBezTo>
                    <a:pt x="15" y="69"/>
                    <a:pt x="38" y="77"/>
                    <a:pt x="53" y="100"/>
                  </a:cubicBezTo>
                  <a:cubicBezTo>
                    <a:pt x="68" y="130"/>
                    <a:pt x="61" y="168"/>
                    <a:pt x="84" y="191"/>
                  </a:cubicBezTo>
                  <a:cubicBezTo>
                    <a:pt x="99" y="214"/>
                    <a:pt x="129" y="199"/>
                    <a:pt x="145" y="214"/>
                  </a:cubicBezTo>
                  <a:cubicBezTo>
                    <a:pt x="152" y="222"/>
                    <a:pt x="145" y="245"/>
                    <a:pt x="152" y="253"/>
                  </a:cubicBezTo>
                  <a:cubicBezTo>
                    <a:pt x="175" y="268"/>
                    <a:pt x="206" y="260"/>
                    <a:pt x="214" y="283"/>
                  </a:cubicBezTo>
                  <a:cubicBezTo>
                    <a:pt x="221" y="306"/>
                    <a:pt x="183" y="336"/>
                    <a:pt x="198" y="352"/>
                  </a:cubicBezTo>
                  <a:cubicBezTo>
                    <a:pt x="229" y="382"/>
                    <a:pt x="298" y="359"/>
                    <a:pt x="320" y="398"/>
                  </a:cubicBezTo>
                  <a:cubicBezTo>
                    <a:pt x="328" y="428"/>
                    <a:pt x="244" y="451"/>
                    <a:pt x="259" y="474"/>
                  </a:cubicBezTo>
                  <a:cubicBezTo>
                    <a:pt x="282" y="512"/>
                    <a:pt x="343" y="505"/>
                    <a:pt x="381" y="505"/>
                  </a:cubicBezTo>
                  <a:cubicBezTo>
                    <a:pt x="427" y="505"/>
                    <a:pt x="473" y="497"/>
                    <a:pt x="519" y="482"/>
                  </a:cubicBezTo>
                  <a:cubicBezTo>
                    <a:pt x="534" y="474"/>
                    <a:pt x="534" y="451"/>
                    <a:pt x="542" y="443"/>
                  </a:cubicBezTo>
                  <a:cubicBezTo>
                    <a:pt x="557" y="428"/>
                    <a:pt x="580" y="420"/>
                    <a:pt x="603" y="420"/>
                  </a:cubicBezTo>
                  <a:cubicBezTo>
                    <a:pt x="611" y="420"/>
                    <a:pt x="618" y="420"/>
                    <a:pt x="626" y="428"/>
                  </a:cubicBezTo>
                  <a:cubicBezTo>
                    <a:pt x="634" y="436"/>
                    <a:pt x="626" y="466"/>
                    <a:pt x="641" y="474"/>
                  </a:cubicBezTo>
                  <a:cubicBezTo>
                    <a:pt x="649" y="482"/>
                    <a:pt x="672" y="474"/>
                    <a:pt x="687" y="474"/>
                  </a:cubicBezTo>
                  <a:cubicBezTo>
                    <a:pt x="702" y="466"/>
                    <a:pt x="725" y="459"/>
                    <a:pt x="740" y="443"/>
                  </a:cubicBezTo>
                  <a:lnTo>
                    <a:pt x="740" y="443"/>
                  </a:lnTo>
                  <a:cubicBezTo>
                    <a:pt x="733" y="420"/>
                    <a:pt x="733" y="398"/>
                    <a:pt x="718" y="375"/>
                  </a:cubicBezTo>
                  <a:cubicBezTo>
                    <a:pt x="702" y="359"/>
                    <a:pt x="679" y="352"/>
                    <a:pt x="672" y="329"/>
                  </a:cubicBezTo>
                  <a:cubicBezTo>
                    <a:pt x="656" y="314"/>
                    <a:pt x="649" y="283"/>
                    <a:pt x="641" y="260"/>
                  </a:cubicBezTo>
                  <a:cubicBezTo>
                    <a:pt x="634" y="245"/>
                    <a:pt x="649" y="214"/>
                    <a:pt x="641" y="199"/>
                  </a:cubicBezTo>
                  <a:cubicBezTo>
                    <a:pt x="626" y="184"/>
                    <a:pt x="595" y="199"/>
                    <a:pt x="580" y="184"/>
                  </a:cubicBezTo>
                  <a:cubicBezTo>
                    <a:pt x="557" y="153"/>
                    <a:pt x="550" y="100"/>
                    <a:pt x="534" y="61"/>
                  </a:cubicBezTo>
                  <a:lnTo>
                    <a:pt x="534" y="61"/>
                  </a:lnTo>
                  <a:cubicBezTo>
                    <a:pt x="511" y="54"/>
                    <a:pt x="496" y="39"/>
                    <a:pt x="473" y="39"/>
                  </a:cubicBezTo>
                  <a:cubicBezTo>
                    <a:pt x="458" y="39"/>
                    <a:pt x="458" y="61"/>
                    <a:pt x="450" y="69"/>
                  </a:cubicBezTo>
                  <a:cubicBezTo>
                    <a:pt x="435" y="100"/>
                    <a:pt x="443" y="138"/>
                    <a:pt x="412" y="153"/>
                  </a:cubicBezTo>
                  <a:cubicBezTo>
                    <a:pt x="404" y="168"/>
                    <a:pt x="397" y="138"/>
                    <a:pt x="389" y="123"/>
                  </a:cubicBezTo>
                  <a:cubicBezTo>
                    <a:pt x="381" y="107"/>
                    <a:pt x="389" y="92"/>
                    <a:pt x="381" y="77"/>
                  </a:cubicBezTo>
                  <a:cubicBezTo>
                    <a:pt x="374" y="61"/>
                    <a:pt x="366" y="39"/>
                    <a:pt x="351" y="31"/>
                  </a:cubicBezTo>
                  <a:cubicBezTo>
                    <a:pt x="282" y="16"/>
                    <a:pt x="214" y="0"/>
                    <a:pt x="145" y="8"/>
                  </a:cubicBezTo>
                  <a:cubicBezTo>
                    <a:pt x="122" y="8"/>
                    <a:pt x="114" y="39"/>
                    <a:pt x="91" y="46"/>
                  </a:cubicBezTo>
                  <a:cubicBezTo>
                    <a:pt x="61" y="54"/>
                    <a:pt x="30" y="46"/>
                    <a:pt x="0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39"/>
            <p:cNvSpPr>
              <a:spLocks noChangeArrowheads="1"/>
            </p:cNvSpPr>
            <p:nvPr/>
          </p:nvSpPr>
          <p:spPr bwMode="auto">
            <a:xfrm>
              <a:off x="6819456" y="7097713"/>
              <a:ext cx="484156" cy="762000"/>
            </a:xfrm>
            <a:custGeom>
              <a:avLst/>
              <a:gdLst>
                <a:gd name="T0" fmla="*/ 924 w 1345"/>
                <a:gd name="T1" fmla="*/ 1428 h 2116"/>
                <a:gd name="T2" fmla="*/ 847 w 1345"/>
                <a:gd name="T3" fmla="*/ 1397 h 2116"/>
                <a:gd name="T4" fmla="*/ 763 w 1345"/>
                <a:gd name="T5" fmla="*/ 1497 h 2116"/>
                <a:gd name="T6" fmla="*/ 748 w 1345"/>
                <a:gd name="T7" fmla="*/ 1596 h 2116"/>
                <a:gd name="T8" fmla="*/ 886 w 1345"/>
                <a:gd name="T9" fmla="*/ 1665 h 2116"/>
                <a:gd name="T10" fmla="*/ 970 w 1345"/>
                <a:gd name="T11" fmla="*/ 1550 h 2116"/>
                <a:gd name="T12" fmla="*/ 924 w 1345"/>
                <a:gd name="T13" fmla="*/ 1428 h 2116"/>
                <a:gd name="T14" fmla="*/ 679 w 1345"/>
                <a:gd name="T15" fmla="*/ 2054 h 2116"/>
                <a:gd name="T16" fmla="*/ 611 w 1345"/>
                <a:gd name="T17" fmla="*/ 2115 h 2116"/>
                <a:gd name="T18" fmla="*/ 504 w 1345"/>
                <a:gd name="T19" fmla="*/ 2077 h 2116"/>
                <a:gd name="T20" fmla="*/ 465 w 1345"/>
                <a:gd name="T21" fmla="*/ 1947 h 2116"/>
                <a:gd name="T22" fmla="*/ 527 w 1345"/>
                <a:gd name="T23" fmla="*/ 1810 h 2116"/>
                <a:gd name="T24" fmla="*/ 298 w 1345"/>
                <a:gd name="T25" fmla="*/ 1726 h 2116"/>
                <a:gd name="T26" fmla="*/ 305 w 1345"/>
                <a:gd name="T27" fmla="*/ 1481 h 2116"/>
                <a:gd name="T28" fmla="*/ 404 w 1345"/>
                <a:gd name="T29" fmla="*/ 1313 h 2116"/>
                <a:gd name="T30" fmla="*/ 374 w 1345"/>
                <a:gd name="T31" fmla="*/ 1153 h 2116"/>
                <a:gd name="T32" fmla="*/ 321 w 1345"/>
                <a:gd name="T33" fmla="*/ 992 h 2116"/>
                <a:gd name="T34" fmla="*/ 99 w 1345"/>
                <a:gd name="T35" fmla="*/ 832 h 2116"/>
                <a:gd name="T36" fmla="*/ 53 w 1345"/>
                <a:gd name="T37" fmla="*/ 855 h 2116"/>
                <a:gd name="T38" fmla="*/ 61 w 1345"/>
                <a:gd name="T39" fmla="*/ 778 h 2116"/>
                <a:gd name="T40" fmla="*/ 23 w 1345"/>
                <a:gd name="T41" fmla="*/ 565 h 2116"/>
                <a:gd name="T42" fmla="*/ 0 w 1345"/>
                <a:gd name="T43" fmla="*/ 435 h 2116"/>
                <a:gd name="T44" fmla="*/ 23 w 1345"/>
                <a:gd name="T45" fmla="*/ 412 h 2116"/>
                <a:gd name="T46" fmla="*/ 7 w 1345"/>
                <a:gd name="T47" fmla="*/ 290 h 2116"/>
                <a:gd name="T48" fmla="*/ 61 w 1345"/>
                <a:gd name="T49" fmla="*/ 221 h 2116"/>
                <a:gd name="T50" fmla="*/ 99 w 1345"/>
                <a:gd name="T51" fmla="*/ 76 h 2116"/>
                <a:gd name="T52" fmla="*/ 160 w 1345"/>
                <a:gd name="T53" fmla="*/ 76 h 2116"/>
                <a:gd name="T54" fmla="*/ 183 w 1345"/>
                <a:gd name="T55" fmla="*/ 0 h 2116"/>
                <a:gd name="T56" fmla="*/ 221 w 1345"/>
                <a:gd name="T57" fmla="*/ 15 h 2116"/>
                <a:gd name="T58" fmla="*/ 290 w 1345"/>
                <a:gd name="T59" fmla="*/ 45 h 2116"/>
                <a:gd name="T60" fmla="*/ 328 w 1345"/>
                <a:gd name="T61" fmla="*/ 45 h 2116"/>
                <a:gd name="T62" fmla="*/ 359 w 1345"/>
                <a:gd name="T63" fmla="*/ 152 h 2116"/>
                <a:gd name="T64" fmla="*/ 412 w 1345"/>
                <a:gd name="T65" fmla="*/ 206 h 2116"/>
                <a:gd name="T66" fmla="*/ 504 w 1345"/>
                <a:gd name="T67" fmla="*/ 320 h 2116"/>
                <a:gd name="T68" fmla="*/ 573 w 1345"/>
                <a:gd name="T69" fmla="*/ 389 h 2116"/>
                <a:gd name="T70" fmla="*/ 679 w 1345"/>
                <a:gd name="T71" fmla="*/ 504 h 2116"/>
                <a:gd name="T72" fmla="*/ 740 w 1345"/>
                <a:gd name="T73" fmla="*/ 611 h 2116"/>
                <a:gd name="T74" fmla="*/ 901 w 1345"/>
                <a:gd name="T75" fmla="*/ 549 h 2116"/>
                <a:gd name="T76" fmla="*/ 985 w 1345"/>
                <a:gd name="T77" fmla="*/ 534 h 2116"/>
                <a:gd name="T78" fmla="*/ 1046 w 1345"/>
                <a:gd name="T79" fmla="*/ 580 h 2116"/>
                <a:gd name="T80" fmla="*/ 1099 w 1345"/>
                <a:gd name="T81" fmla="*/ 549 h 2116"/>
                <a:gd name="T82" fmla="*/ 1161 w 1345"/>
                <a:gd name="T83" fmla="*/ 603 h 2116"/>
                <a:gd name="T84" fmla="*/ 1298 w 1345"/>
                <a:gd name="T85" fmla="*/ 611 h 2116"/>
                <a:gd name="T86" fmla="*/ 1336 w 1345"/>
                <a:gd name="T87" fmla="*/ 641 h 2116"/>
                <a:gd name="T88" fmla="*/ 1283 w 1345"/>
                <a:gd name="T89" fmla="*/ 733 h 2116"/>
                <a:gd name="T90" fmla="*/ 1245 w 1345"/>
                <a:gd name="T91" fmla="*/ 954 h 2116"/>
                <a:gd name="T92" fmla="*/ 1122 w 1345"/>
                <a:gd name="T93" fmla="*/ 1168 h 2116"/>
                <a:gd name="T94" fmla="*/ 1084 w 1345"/>
                <a:gd name="T95" fmla="*/ 1344 h 2116"/>
                <a:gd name="T96" fmla="*/ 1084 w 1345"/>
                <a:gd name="T97" fmla="*/ 1688 h 2116"/>
                <a:gd name="T98" fmla="*/ 970 w 1345"/>
                <a:gd name="T99" fmla="*/ 1703 h 2116"/>
                <a:gd name="T100" fmla="*/ 878 w 1345"/>
                <a:gd name="T101" fmla="*/ 1833 h 2116"/>
                <a:gd name="T102" fmla="*/ 786 w 1345"/>
                <a:gd name="T103" fmla="*/ 1962 h 2116"/>
                <a:gd name="T104" fmla="*/ 664 w 1345"/>
                <a:gd name="T105" fmla="*/ 1970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5" h="2116">
                  <a:moveTo>
                    <a:pt x="924" y="1428"/>
                  </a:moveTo>
                  <a:lnTo>
                    <a:pt x="924" y="1428"/>
                  </a:lnTo>
                  <a:cubicBezTo>
                    <a:pt x="909" y="1420"/>
                    <a:pt x="886" y="1451"/>
                    <a:pt x="863" y="1443"/>
                  </a:cubicBezTo>
                  <a:cubicBezTo>
                    <a:pt x="855" y="1436"/>
                    <a:pt x="863" y="1397"/>
                    <a:pt x="847" y="1397"/>
                  </a:cubicBezTo>
                  <a:cubicBezTo>
                    <a:pt x="832" y="1390"/>
                    <a:pt x="817" y="1413"/>
                    <a:pt x="809" y="1420"/>
                  </a:cubicBezTo>
                  <a:cubicBezTo>
                    <a:pt x="786" y="1443"/>
                    <a:pt x="779" y="1474"/>
                    <a:pt x="763" y="1497"/>
                  </a:cubicBezTo>
                  <a:cubicBezTo>
                    <a:pt x="748" y="1512"/>
                    <a:pt x="725" y="1512"/>
                    <a:pt x="718" y="1535"/>
                  </a:cubicBezTo>
                  <a:cubicBezTo>
                    <a:pt x="718" y="1558"/>
                    <a:pt x="733" y="1573"/>
                    <a:pt x="748" y="1596"/>
                  </a:cubicBezTo>
                  <a:cubicBezTo>
                    <a:pt x="763" y="1611"/>
                    <a:pt x="786" y="1619"/>
                    <a:pt x="802" y="1626"/>
                  </a:cubicBezTo>
                  <a:cubicBezTo>
                    <a:pt x="825" y="1642"/>
                    <a:pt x="855" y="1665"/>
                    <a:pt x="886" y="1665"/>
                  </a:cubicBezTo>
                  <a:cubicBezTo>
                    <a:pt x="909" y="1672"/>
                    <a:pt x="939" y="1657"/>
                    <a:pt x="954" y="1634"/>
                  </a:cubicBezTo>
                  <a:cubicBezTo>
                    <a:pt x="970" y="1611"/>
                    <a:pt x="970" y="1581"/>
                    <a:pt x="970" y="1550"/>
                  </a:cubicBezTo>
                  <a:cubicBezTo>
                    <a:pt x="970" y="1527"/>
                    <a:pt x="962" y="1504"/>
                    <a:pt x="954" y="1481"/>
                  </a:cubicBezTo>
                  <a:cubicBezTo>
                    <a:pt x="954" y="1458"/>
                    <a:pt x="947" y="1436"/>
                    <a:pt x="924" y="1428"/>
                  </a:cubicBezTo>
                  <a:close/>
                  <a:moveTo>
                    <a:pt x="679" y="2054"/>
                  </a:moveTo>
                  <a:lnTo>
                    <a:pt x="679" y="2054"/>
                  </a:lnTo>
                  <a:lnTo>
                    <a:pt x="679" y="2054"/>
                  </a:lnTo>
                  <a:cubicBezTo>
                    <a:pt x="611" y="2115"/>
                    <a:pt x="611" y="2115"/>
                    <a:pt x="611" y="2115"/>
                  </a:cubicBezTo>
                  <a:lnTo>
                    <a:pt x="611" y="2115"/>
                  </a:lnTo>
                  <a:cubicBezTo>
                    <a:pt x="573" y="2100"/>
                    <a:pt x="534" y="2092"/>
                    <a:pt x="504" y="2077"/>
                  </a:cubicBezTo>
                  <a:cubicBezTo>
                    <a:pt x="481" y="2062"/>
                    <a:pt x="450" y="2054"/>
                    <a:pt x="450" y="2031"/>
                  </a:cubicBezTo>
                  <a:cubicBezTo>
                    <a:pt x="443" y="2001"/>
                    <a:pt x="450" y="1970"/>
                    <a:pt x="465" y="1947"/>
                  </a:cubicBezTo>
                  <a:cubicBezTo>
                    <a:pt x="488" y="1917"/>
                    <a:pt x="534" y="1917"/>
                    <a:pt x="550" y="1886"/>
                  </a:cubicBezTo>
                  <a:cubicBezTo>
                    <a:pt x="557" y="1863"/>
                    <a:pt x="542" y="1833"/>
                    <a:pt x="527" y="1810"/>
                  </a:cubicBezTo>
                  <a:cubicBezTo>
                    <a:pt x="511" y="1787"/>
                    <a:pt x="481" y="1779"/>
                    <a:pt x="450" y="1764"/>
                  </a:cubicBezTo>
                  <a:cubicBezTo>
                    <a:pt x="397" y="1749"/>
                    <a:pt x="336" y="1756"/>
                    <a:pt x="298" y="1726"/>
                  </a:cubicBezTo>
                  <a:cubicBezTo>
                    <a:pt x="267" y="1695"/>
                    <a:pt x="267" y="1649"/>
                    <a:pt x="267" y="1611"/>
                  </a:cubicBezTo>
                  <a:cubicBezTo>
                    <a:pt x="267" y="1565"/>
                    <a:pt x="282" y="1520"/>
                    <a:pt x="305" y="1481"/>
                  </a:cubicBezTo>
                  <a:cubicBezTo>
                    <a:pt x="328" y="1443"/>
                    <a:pt x="389" y="1436"/>
                    <a:pt x="412" y="1397"/>
                  </a:cubicBezTo>
                  <a:cubicBezTo>
                    <a:pt x="427" y="1374"/>
                    <a:pt x="412" y="1344"/>
                    <a:pt x="404" y="1313"/>
                  </a:cubicBezTo>
                  <a:cubicBezTo>
                    <a:pt x="397" y="1298"/>
                    <a:pt x="374" y="1283"/>
                    <a:pt x="366" y="1260"/>
                  </a:cubicBezTo>
                  <a:cubicBezTo>
                    <a:pt x="359" y="1229"/>
                    <a:pt x="374" y="1191"/>
                    <a:pt x="374" y="1153"/>
                  </a:cubicBezTo>
                  <a:cubicBezTo>
                    <a:pt x="366" y="1115"/>
                    <a:pt x="343" y="1084"/>
                    <a:pt x="328" y="1053"/>
                  </a:cubicBezTo>
                  <a:cubicBezTo>
                    <a:pt x="321" y="1031"/>
                    <a:pt x="336" y="1008"/>
                    <a:pt x="321" y="992"/>
                  </a:cubicBezTo>
                  <a:cubicBezTo>
                    <a:pt x="275" y="947"/>
                    <a:pt x="221" y="924"/>
                    <a:pt x="168" y="886"/>
                  </a:cubicBezTo>
                  <a:cubicBezTo>
                    <a:pt x="145" y="870"/>
                    <a:pt x="129" y="840"/>
                    <a:pt x="99" y="832"/>
                  </a:cubicBezTo>
                  <a:cubicBezTo>
                    <a:pt x="84" y="824"/>
                    <a:pt x="68" y="847"/>
                    <a:pt x="53" y="855"/>
                  </a:cubicBezTo>
                  <a:lnTo>
                    <a:pt x="53" y="855"/>
                  </a:lnTo>
                  <a:cubicBezTo>
                    <a:pt x="53" y="840"/>
                    <a:pt x="53" y="824"/>
                    <a:pt x="53" y="809"/>
                  </a:cubicBezTo>
                  <a:cubicBezTo>
                    <a:pt x="53" y="801"/>
                    <a:pt x="61" y="794"/>
                    <a:pt x="61" y="778"/>
                  </a:cubicBezTo>
                  <a:cubicBezTo>
                    <a:pt x="53" y="748"/>
                    <a:pt x="30" y="725"/>
                    <a:pt x="23" y="687"/>
                  </a:cubicBezTo>
                  <a:cubicBezTo>
                    <a:pt x="15" y="649"/>
                    <a:pt x="23" y="611"/>
                    <a:pt x="23" y="565"/>
                  </a:cubicBezTo>
                  <a:cubicBezTo>
                    <a:pt x="23" y="542"/>
                    <a:pt x="30" y="511"/>
                    <a:pt x="23" y="488"/>
                  </a:cubicBezTo>
                  <a:cubicBezTo>
                    <a:pt x="23" y="465"/>
                    <a:pt x="7" y="450"/>
                    <a:pt x="0" y="435"/>
                  </a:cubicBezTo>
                  <a:lnTo>
                    <a:pt x="0" y="435"/>
                  </a:lnTo>
                  <a:cubicBezTo>
                    <a:pt x="7" y="427"/>
                    <a:pt x="23" y="420"/>
                    <a:pt x="23" y="412"/>
                  </a:cubicBezTo>
                  <a:cubicBezTo>
                    <a:pt x="38" y="389"/>
                    <a:pt x="61" y="366"/>
                    <a:pt x="61" y="336"/>
                  </a:cubicBezTo>
                  <a:cubicBezTo>
                    <a:pt x="53" y="313"/>
                    <a:pt x="23" y="305"/>
                    <a:pt x="7" y="290"/>
                  </a:cubicBezTo>
                  <a:lnTo>
                    <a:pt x="7" y="290"/>
                  </a:lnTo>
                  <a:cubicBezTo>
                    <a:pt x="23" y="267"/>
                    <a:pt x="53" y="244"/>
                    <a:pt x="61" y="221"/>
                  </a:cubicBezTo>
                  <a:cubicBezTo>
                    <a:pt x="76" y="190"/>
                    <a:pt x="68" y="160"/>
                    <a:pt x="76" y="129"/>
                  </a:cubicBezTo>
                  <a:cubicBezTo>
                    <a:pt x="76" y="114"/>
                    <a:pt x="91" y="99"/>
                    <a:pt x="99" y="76"/>
                  </a:cubicBezTo>
                  <a:lnTo>
                    <a:pt x="99" y="76"/>
                  </a:lnTo>
                  <a:cubicBezTo>
                    <a:pt x="122" y="76"/>
                    <a:pt x="145" y="91"/>
                    <a:pt x="160" y="76"/>
                  </a:cubicBezTo>
                  <a:cubicBezTo>
                    <a:pt x="175" y="68"/>
                    <a:pt x="160" y="45"/>
                    <a:pt x="160" y="38"/>
                  </a:cubicBezTo>
                  <a:cubicBezTo>
                    <a:pt x="168" y="22"/>
                    <a:pt x="175" y="7"/>
                    <a:pt x="183" y="0"/>
                  </a:cubicBezTo>
                  <a:lnTo>
                    <a:pt x="183" y="0"/>
                  </a:lnTo>
                  <a:cubicBezTo>
                    <a:pt x="198" y="0"/>
                    <a:pt x="206" y="7"/>
                    <a:pt x="221" y="15"/>
                  </a:cubicBezTo>
                  <a:lnTo>
                    <a:pt x="244" y="0"/>
                  </a:lnTo>
                  <a:cubicBezTo>
                    <a:pt x="244" y="7"/>
                    <a:pt x="290" y="45"/>
                    <a:pt x="290" y="45"/>
                  </a:cubicBezTo>
                  <a:cubicBezTo>
                    <a:pt x="305" y="45"/>
                    <a:pt x="313" y="45"/>
                    <a:pt x="328" y="45"/>
                  </a:cubicBezTo>
                  <a:lnTo>
                    <a:pt x="328" y="45"/>
                  </a:lnTo>
                  <a:cubicBezTo>
                    <a:pt x="336" y="61"/>
                    <a:pt x="351" y="76"/>
                    <a:pt x="359" y="91"/>
                  </a:cubicBezTo>
                  <a:cubicBezTo>
                    <a:pt x="366" y="114"/>
                    <a:pt x="359" y="129"/>
                    <a:pt x="359" y="152"/>
                  </a:cubicBezTo>
                  <a:lnTo>
                    <a:pt x="359" y="152"/>
                  </a:lnTo>
                  <a:cubicBezTo>
                    <a:pt x="374" y="175"/>
                    <a:pt x="397" y="183"/>
                    <a:pt x="412" y="206"/>
                  </a:cubicBezTo>
                  <a:cubicBezTo>
                    <a:pt x="427" y="236"/>
                    <a:pt x="420" y="274"/>
                    <a:pt x="443" y="297"/>
                  </a:cubicBezTo>
                  <a:cubicBezTo>
                    <a:pt x="458" y="320"/>
                    <a:pt x="488" y="305"/>
                    <a:pt x="504" y="320"/>
                  </a:cubicBezTo>
                  <a:cubicBezTo>
                    <a:pt x="511" y="328"/>
                    <a:pt x="504" y="351"/>
                    <a:pt x="511" y="359"/>
                  </a:cubicBezTo>
                  <a:cubicBezTo>
                    <a:pt x="534" y="374"/>
                    <a:pt x="565" y="366"/>
                    <a:pt x="573" y="389"/>
                  </a:cubicBezTo>
                  <a:cubicBezTo>
                    <a:pt x="580" y="412"/>
                    <a:pt x="542" y="442"/>
                    <a:pt x="557" y="458"/>
                  </a:cubicBezTo>
                  <a:cubicBezTo>
                    <a:pt x="588" y="488"/>
                    <a:pt x="657" y="465"/>
                    <a:pt x="679" y="504"/>
                  </a:cubicBezTo>
                  <a:cubicBezTo>
                    <a:pt x="687" y="534"/>
                    <a:pt x="603" y="557"/>
                    <a:pt x="618" y="580"/>
                  </a:cubicBezTo>
                  <a:cubicBezTo>
                    <a:pt x="641" y="618"/>
                    <a:pt x="702" y="611"/>
                    <a:pt x="740" y="611"/>
                  </a:cubicBezTo>
                  <a:cubicBezTo>
                    <a:pt x="786" y="611"/>
                    <a:pt x="832" y="603"/>
                    <a:pt x="878" y="588"/>
                  </a:cubicBezTo>
                  <a:cubicBezTo>
                    <a:pt x="893" y="580"/>
                    <a:pt x="893" y="557"/>
                    <a:pt x="901" y="549"/>
                  </a:cubicBezTo>
                  <a:cubicBezTo>
                    <a:pt x="916" y="534"/>
                    <a:pt x="939" y="526"/>
                    <a:pt x="962" y="526"/>
                  </a:cubicBezTo>
                  <a:cubicBezTo>
                    <a:pt x="970" y="526"/>
                    <a:pt x="977" y="526"/>
                    <a:pt x="985" y="534"/>
                  </a:cubicBezTo>
                  <a:cubicBezTo>
                    <a:pt x="993" y="542"/>
                    <a:pt x="985" y="572"/>
                    <a:pt x="1000" y="580"/>
                  </a:cubicBezTo>
                  <a:cubicBezTo>
                    <a:pt x="1008" y="588"/>
                    <a:pt x="1031" y="580"/>
                    <a:pt x="1046" y="580"/>
                  </a:cubicBezTo>
                  <a:cubicBezTo>
                    <a:pt x="1061" y="572"/>
                    <a:pt x="1084" y="565"/>
                    <a:pt x="1099" y="549"/>
                  </a:cubicBezTo>
                  <a:lnTo>
                    <a:pt x="1099" y="549"/>
                  </a:lnTo>
                  <a:cubicBezTo>
                    <a:pt x="1122" y="549"/>
                    <a:pt x="1145" y="542"/>
                    <a:pt x="1161" y="549"/>
                  </a:cubicBezTo>
                  <a:cubicBezTo>
                    <a:pt x="1168" y="565"/>
                    <a:pt x="1153" y="588"/>
                    <a:pt x="1161" y="603"/>
                  </a:cubicBezTo>
                  <a:cubicBezTo>
                    <a:pt x="1176" y="618"/>
                    <a:pt x="1199" y="626"/>
                    <a:pt x="1222" y="626"/>
                  </a:cubicBezTo>
                  <a:cubicBezTo>
                    <a:pt x="1245" y="626"/>
                    <a:pt x="1268" y="618"/>
                    <a:pt x="1298" y="611"/>
                  </a:cubicBezTo>
                  <a:lnTo>
                    <a:pt x="1298" y="611"/>
                  </a:lnTo>
                  <a:cubicBezTo>
                    <a:pt x="1306" y="626"/>
                    <a:pt x="1329" y="626"/>
                    <a:pt x="1336" y="641"/>
                  </a:cubicBezTo>
                  <a:cubicBezTo>
                    <a:pt x="1344" y="672"/>
                    <a:pt x="1344" y="702"/>
                    <a:pt x="1329" y="725"/>
                  </a:cubicBezTo>
                  <a:cubicBezTo>
                    <a:pt x="1321" y="740"/>
                    <a:pt x="1290" y="717"/>
                    <a:pt x="1283" y="733"/>
                  </a:cubicBezTo>
                  <a:cubicBezTo>
                    <a:pt x="1268" y="786"/>
                    <a:pt x="1290" y="847"/>
                    <a:pt x="1283" y="901"/>
                  </a:cubicBezTo>
                  <a:cubicBezTo>
                    <a:pt x="1275" y="924"/>
                    <a:pt x="1260" y="939"/>
                    <a:pt x="1245" y="954"/>
                  </a:cubicBezTo>
                  <a:cubicBezTo>
                    <a:pt x="1207" y="977"/>
                    <a:pt x="1138" y="970"/>
                    <a:pt x="1115" y="1015"/>
                  </a:cubicBezTo>
                  <a:cubicBezTo>
                    <a:pt x="1092" y="1061"/>
                    <a:pt x="1138" y="1115"/>
                    <a:pt x="1122" y="1168"/>
                  </a:cubicBezTo>
                  <a:cubicBezTo>
                    <a:pt x="1122" y="1199"/>
                    <a:pt x="1084" y="1206"/>
                    <a:pt x="1077" y="1229"/>
                  </a:cubicBezTo>
                  <a:cubicBezTo>
                    <a:pt x="1069" y="1267"/>
                    <a:pt x="1077" y="1306"/>
                    <a:pt x="1084" y="1344"/>
                  </a:cubicBezTo>
                  <a:cubicBezTo>
                    <a:pt x="1099" y="1428"/>
                    <a:pt x="1153" y="1504"/>
                    <a:pt x="1153" y="1588"/>
                  </a:cubicBezTo>
                  <a:cubicBezTo>
                    <a:pt x="1153" y="1626"/>
                    <a:pt x="1107" y="1649"/>
                    <a:pt x="1084" y="1688"/>
                  </a:cubicBezTo>
                  <a:lnTo>
                    <a:pt x="1084" y="1688"/>
                  </a:lnTo>
                  <a:cubicBezTo>
                    <a:pt x="1046" y="1695"/>
                    <a:pt x="1008" y="1688"/>
                    <a:pt x="970" y="1703"/>
                  </a:cubicBezTo>
                  <a:cubicBezTo>
                    <a:pt x="947" y="1718"/>
                    <a:pt x="932" y="1741"/>
                    <a:pt x="916" y="1764"/>
                  </a:cubicBezTo>
                  <a:cubicBezTo>
                    <a:pt x="901" y="1787"/>
                    <a:pt x="893" y="1817"/>
                    <a:pt x="878" y="1833"/>
                  </a:cubicBezTo>
                  <a:cubicBezTo>
                    <a:pt x="863" y="1848"/>
                    <a:pt x="840" y="1856"/>
                    <a:pt x="832" y="1871"/>
                  </a:cubicBezTo>
                  <a:cubicBezTo>
                    <a:pt x="809" y="1894"/>
                    <a:pt x="817" y="1940"/>
                    <a:pt x="786" y="1962"/>
                  </a:cubicBezTo>
                  <a:cubicBezTo>
                    <a:pt x="771" y="1970"/>
                    <a:pt x="740" y="1947"/>
                    <a:pt x="710" y="1947"/>
                  </a:cubicBezTo>
                  <a:cubicBezTo>
                    <a:pt x="695" y="1955"/>
                    <a:pt x="672" y="1955"/>
                    <a:pt x="664" y="1970"/>
                  </a:cubicBezTo>
                  <a:cubicBezTo>
                    <a:pt x="657" y="1993"/>
                    <a:pt x="672" y="2024"/>
                    <a:pt x="679" y="205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0"/>
            <p:cNvSpPr>
              <a:spLocks noChangeArrowheads="1"/>
            </p:cNvSpPr>
            <p:nvPr/>
          </p:nvSpPr>
          <p:spPr bwMode="auto">
            <a:xfrm>
              <a:off x="7076614" y="7599363"/>
              <a:ext cx="90482" cy="101600"/>
            </a:xfrm>
            <a:custGeom>
              <a:avLst/>
              <a:gdLst>
                <a:gd name="T0" fmla="*/ 206 w 253"/>
                <a:gd name="T1" fmla="*/ 38 h 283"/>
                <a:gd name="T2" fmla="*/ 206 w 253"/>
                <a:gd name="T3" fmla="*/ 38 h 283"/>
                <a:gd name="T4" fmla="*/ 145 w 253"/>
                <a:gd name="T5" fmla="*/ 53 h 283"/>
                <a:gd name="T6" fmla="*/ 129 w 253"/>
                <a:gd name="T7" fmla="*/ 7 h 283"/>
                <a:gd name="T8" fmla="*/ 91 w 253"/>
                <a:gd name="T9" fmla="*/ 30 h 283"/>
                <a:gd name="T10" fmla="*/ 45 w 253"/>
                <a:gd name="T11" fmla="*/ 107 h 283"/>
                <a:gd name="T12" fmla="*/ 0 w 253"/>
                <a:gd name="T13" fmla="*/ 145 h 283"/>
                <a:gd name="T14" fmla="*/ 30 w 253"/>
                <a:gd name="T15" fmla="*/ 206 h 283"/>
                <a:gd name="T16" fmla="*/ 84 w 253"/>
                <a:gd name="T17" fmla="*/ 236 h 283"/>
                <a:gd name="T18" fmla="*/ 168 w 253"/>
                <a:gd name="T19" fmla="*/ 275 h 283"/>
                <a:gd name="T20" fmla="*/ 236 w 253"/>
                <a:gd name="T21" fmla="*/ 244 h 283"/>
                <a:gd name="T22" fmla="*/ 252 w 253"/>
                <a:gd name="T23" fmla="*/ 160 h 283"/>
                <a:gd name="T24" fmla="*/ 236 w 253"/>
                <a:gd name="T25" fmla="*/ 91 h 283"/>
                <a:gd name="T26" fmla="*/ 206 w 253"/>
                <a:gd name="T27" fmla="*/ 3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3" h="283">
                  <a:moveTo>
                    <a:pt x="206" y="38"/>
                  </a:moveTo>
                  <a:lnTo>
                    <a:pt x="206" y="38"/>
                  </a:lnTo>
                  <a:cubicBezTo>
                    <a:pt x="191" y="30"/>
                    <a:pt x="168" y="61"/>
                    <a:pt x="145" y="53"/>
                  </a:cubicBezTo>
                  <a:cubicBezTo>
                    <a:pt x="137" y="46"/>
                    <a:pt x="145" y="7"/>
                    <a:pt x="129" y="7"/>
                  </a:cubicBezTo>
                  <a:cubicBezTo>
                    <a:pt x="114" y="0"/>
                    <a:pt x="99" y="23"/>
                    <a:pt x="91" y="30"/>
                  </a:cubicBezTo>
                  <a:cubicBezTo>
                    <a:pt x="68" y="53"/>
                    <a:pt x="61" y="84"/>
                    <a:pt x="45" y="107"/>
                  </a:cubicBezTo>
                  <a:cubicBezTo>
                    <a:pt x="30" y="122"/>
                    <a:pt x="7" y="122"/>
                    <a:pt x="0" y="145"/>
                  </a:cubicBezTo>
                  <a:cubicBezTo>
                    <a:pt x="0" y="168"/>
                    <a:pt x="15" y="183"/>
                    <a:pt x="30" y="206"/>
                  </a:cubicBezTo>
                  <a:cubicBezTo>
                    <a:pt x="45" y="221"/>
                    <a:pt x="68" y="229"/>
                    <a:pt x="84" y="236"/>
                  </a:cubicBezTo>
                  <a:cubicBezTo>
                    <a:pt x="107" y="252"/>
                    <a:pt x="137" y="275"/>
                    <a:pt x="168" y="275"/>
                  </a:cubicBezTo>
                  <a:cubicBezTo>
                    <a:pt x="191" y="282"/>
                    <a:pt x="221" y="267"/>
                    <a:pt x="236" y="244"/>
                  </a:cubicBezTo>
                  <a:cubicBezTo>
                    <a:pt x="252" y="221"/>
                    <a:pt x="252" y="191"/>
                    <a:pt x="252" y="160"/>
                  </a:cubicBezTo>
                  <a:cubicBezTo>
                    <a:pt x="252" y="137"/>
                    <a:pt x="244" y="114"/>
                    <a:pt x="236" y="91"/>
                  </a:cubicBezTo>
                  <a:cubicBezTo>
                    <a:pt x="236" y="68"/>
                    <a:pt x="229" y="46"/>
                    <a:pt x="206" y="3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1"/>
            <p:cNvSpPr>
              <a:spLocks noChangeArrowheads="1"/>
            </p:cNvSpPr>
            <p:nvPr/>
          </p:nvSpPr>
          <p:spPr bwMode="auto">
            <a:xfrm>
              <a:off x="7038517" y="7589838"/>
              <a:ext cx="503205" cy="550862"/>
            </a:xfrm>
            <a:custGeom>
              <a:avLst/>
              <a:gdLst>
                <a:gd name="T0" fmla="*/ 809 w 1398"/>
                <a:gd name="T1" fmla="*/ 817 h 1528"/>
                <a:gd name="T2" fmla="*/ 679 w 1398"/>
                <a:gd name="T3" fmla="*/ 764 h 1528"/>
                <a:gd name="T4" fmla="*/ 596 w 1398"/>
                <a:gd name="T5" fmla="*/ 901 h 1528"/>
                <a:gd name="T6" fmla="*/ 672 w 1398"/>
                <a:gd name="T7" fmla="*/ 1023 h 1528"/>
                <a:gd name="T8" fmla="*/ 771 w 1398"/>
                <a:gd name="T9" fmla="*/ 970 h 1528"/>
                <a:gd name="T10" fmla="*/ 832 w 1398"/>
                <a:gd name="T11" fmla="*/ 855 h 1528"/>
                <a:gd name="T12" fmla="*/ 0 w 1398"/>
                <a:gd name="T13" fmla="*/ 748 h 1528"/>
                <a:gd name="T14" fmla="*/ 68 w 1398"/>
                <a:gd name="T15" fmla="*/ 687 h 1528"/>
                <a:gd name="T16" fmla="*/ 53 w 1398"/>
                <a:gd name="T17" fmla="*/ 603 h 1528"/>
                <a:gd name="T18" fmla="*/ 175 w 1398"/>
                <a:gd name="T19" fmla="*/ 595 h 1528"/>
                <a:gd name="T20" fmla="*/ 267 w 1398"/>
                <a:gd name="T21" fmla="*/ 466 h 1528"/>
                <a:gd name="T22" fmla="*/ 359 w 1398"/>
                <a:gd name="T23" fmla="*/ 336 h 1528"/>
                <a:gd name="T24" fmla="*/ 473 w 1398"/>
                <a:gd name="T25" fmla="*/ 321 h 1528"/>
                <a:gd name="T26" fmla="*/ 596 w 1398"/>
                <a:gd name="T27" fmla="*/ 504 h 1528"/>
                <a:gd name="T28" fmla="*/ 763 w 1398"/>
                <a:gd name="T29" fmla="*/ 420 h 1528"/>
                <a:gd name="T30" fmla="*/ 932 w 1398"/>
                <a:gd name="T31" fmla="*/ 420 h 1528"/>
                <a:gd name="T32" fmla="*/ 1023 w 1398"/>
                <a:gd name="T33" fmla="*/ 244 h 1528"/>
                <a:gd name="T34" fmla="*/ 1138 w 1398"/>
                <a:gd name="T35" fmla="*/ 76 h 1528"/>
                <a:gd name="T36" fmla="*/ 1207 w 1398"/>
                <a:gd name="T37" fmla="*/ 0 h 1528"/>
                <a:gd name="T38" fmla="*/ 1222 w 1398"/>
                <a:gd name="T39" fmla="*/ 191 h 1528"/>
                <a:gd name="T40" fmla="*/ 1367 w 1398"/>
                <a:gd name="T41" fmla="*/ 435 h 1528"/>
                <a:gd name="T42" fmla="*/ 1397 w 1398"/>
                <a:gd name="T43" fmla="*/ 565 h 1528"/>
                <a:gd name="T44" fmla="*/ 1214 w 1398"/>
                <a:gd name="T45" fmla="*/ 618 h 1528"/>
                <a:gd name="T46" fmla="*/ 1229 w 1398"/>
                <a:gd name="T47" fmla="*/ 756 h 1528"/>
                <a:gd name="T48" fmla="*/ 1191 w 1398"/>
                <a:gd name="T49" fmla="*/ 978 h 1528"/>
                <a:gd name="T50" fmla="*/ 1298 w 1398"/>
                <a:gd name="T51" fmla="*/ 1092 h 1528"/>
                <a:gd name="T52" fmla="*/ 1359 w 1398"/>
                <a:gd name="T53" fmla="*/ 1161 h 1528"/>
                <a:gd name="T54" fmla="*/ 1123 w 1398"/>
                <a:gd name="T55" fmla="*/ 1161 h 1528"/>
                <a:gd name="T56" fmla="*/ 962 w 1398"/>
                <a:gd name="T57" fmla="*/ 1306 h 1528"/>
                <a:gd name="T58" fmla="*/ 863 w 1398"/>
                <a:gd name="T59" fmla="*/ 1443 h 1528"/>
                <a:gd name="T60" fmla="*/ 733 w 1398"/>
                <a:gd name="T61" fmla="*/ 1505 h 1528"/>
                <a:gd name="T62" fmla="*/ 626 w 1398"/>
                <a:gd name="T63" fmla="*/ 1527 h 1528"/>
                <a:gd name="T64" fmla="*/ 206 w 1398"/>
                <a:gd name="T65" fmla="*/ 1130 h 1528"/>
                <a:gd name="T66" fmla="*/ 61 w 1398"/>
                <a:gd name="T67" fmla="*/ 962 h 1528"/>
                <a:gd name="T68" fmla="*/ 76 w 1398"/>
                <a:gd name="T69" fmla="*/ 901 h 1528"/>
                <a:gd name="T70" fmla="*/ 7 w 1398"/>
                <a:gd name="T71" fmla="*/ 794 h 1528"/>
                <a:gd name="T72" fmla="*/ 0 w 1398"/>
                <a:gd name="T73" fmla="*/ 74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8" h="1528">
                  <a:moveTo>
                    <a:pt x="809" y="817"/>
                  </a:moveTo>
                  <a:lnTo>
                    <a:pt x="809" y="817"/>
                  </a:lnTo>
                  <a:cubicBezTo>
                    <a:pt x="786" y="809"/>
                    <a:pt x="748" y="825"/>
                    <a:pt x="725" y="817"/>
                  </a:cubicBezTo>
                  <a:cubicBezTo>
                    <a:pt x="702" y="809"/>
                    <a:pt x="702" y="748"/>
                    <a:pt x="679" y="764"/>
                  </a:cubicBezTo>
                  <a:cubicBezTo>
                    <a:pt x="649" y="786"/>
                    <a:pt x="657" y="840"/>
                    <a:pt x="634" y="878"/>
                  </a:cubicBezTo>
                  <a:cubicBezTo>
                    <a:pt x="626" y="893"/>
                    <a:pt x="588" y="886"/>
                    <a:pt x="596" y="901"/>
                  </a:cubicBezTo>
                  <a:cubicBezTo>
                    <a:pt x="603" y="924"/>
                    <a:pt x="634" y="932"/>
                    <a:pt x="657" y="947"/>
                  </a:cubicBezTo>
                  <a:cubicBezTo>
                    <a:pt x="657" y="947"/>
                    <a:pt x="672" y="1016"/>
                    <a:pt x="672" y="1023"/>
                  </a:cubicBezTo>
                  <a:cubicBezTo>
                    <a:pt x="672" y="1031"/>
                    <a:pt x="740" y="1023"/>
                    <a:pt x="740" y="1023"/>
                  </a:cubicBezTo>
                  <a:cubicBezTo>
                    <a:pt x="740" y="1023"/>
                    <a:pt x="756" y="970"/>
                    <a:pt x="771" y="970"/>
                  </a:cubicBezTo>
                  <a:cubicBezTo>
                    <a:pt x="779" y="970"/>
                    <a:pt x="840" y="924"/>
                    <a:pt x="840" y="924"/>
                  </a:cubicBezTo>
                  <a:cubicBezTo>
                    <a:pt x="832" y="901"/>
                    <a:pt x="840" y="878"/>
                    <a:pt x="832" y="855"/>
                  </a:cubicBezTo>
                  <a:cubicBezTo>
                    <a:pt x="825" y="840"/>
                    <a:pt x="825" y="825"/>
                    <a:pt x="809" y="817"/>
                  </a:cubicBezTo>
                  <a:close/>
                  <a:moveTo>
                    <a:pt x="0" y="748"/>
                  </a:moveTo>
                  <a:lnTo>
                    <a:pt x="0" y="748"/>
                  </a:lnTo>
                  <a:cubicBezTo>
                    <a:pt x="68" y="687"/>
                    <a:pt x="68" y="687"/>
                    <a:pt x="68" y="687"/>
                  </a:cubicBezTo>
                  <a:lnTo>
                    <a:pt x="68" y="687"/>
                  </a:lnTo>
                  <a:cubicBezTo>
                    <a:pt x="61" y="657"/>
                    <a:pt x="46" y="626"/>
                    <a:pt x="53" y="603"/>
                  </a:cubicBezTo>
                  <a:cubicBezTo>
                    <a:pt x="61" y="588"/>
                    <a:pt x="84" y="588"/>
                    <a:pt x="99" y="580"/>
                  </a:cubicBezTo>
                  <a:cubicBezTo>
                    <a:pt x="129" y="580"/>
                    <a:pt x="160" y="603"/>
                    <a:pt x="175" y="595"/>
                  </a:cubicBezTo>
                  <a:cubicBezTo>
                    <a:pt x="206" y="573"/>
                    <a:pt x="198" y="527"/>
                    <a:pt x="221" y="504"/>
                  </a:cubicBezTo>
                  <a:cubicBezTo>
                    <a:pt x="229" y="489"/>
                    <a:pt x="252" y="481"/>
                    <a:pt x="267" y="466"/>
                  </a:cubicBezTo>
                  <a:cubicBezTo>
                    <a:pt x="282" y="450"/>
                    <a:pt x="290" y="420"/>
                    <a:pt x="305" y="397"/>
                  </a:cubicBezTo>
                  <a:cubicBezTo>
                    <a:pt x="321" y="374"/>
                    <a:pt x="336" y="351"/>
                    <a:pt x="359" y="336"/>
                  </a:cubicBezTo>
                  <a:cubicBezTo>
                    <a:pt x="397" y="321"/>
                    <a:pt x="435" y="328"/>
                    <a:pt x="473" y="321"/>
                  </a:cubicBezTo>
                  <a:lnTo>
                    <a:pt x="473" y="321"/>
                  </a:lnTo>
                  <a:cubicBezTo>
                    <a:pt x="481" y="374"/>
                    <a:pt x="466" y="435"/>
                    <a:pt x="496" y="481"/>
                  </a:cubicBezTo>
                  <a:cubicBezTo>
                    <a:pt x="519" y="511"/>
                    <a:pt x="565" y="511"/>
                    <a:pt x="596" y="504"/>
                  </a:cubicBezTo>
                  <a:cubicBezTo>
                    <a:pt x="626" y="496"/>
                    <a:pt x="649" y="466"/>
                    <a:pt x="679" y="458"/>
                  </a:cubicBezTo>
                  <a:cubicBezTo>
                    <a:pt x="710" y="443"/>
                    <a:pt x="733" y="428"/>
                    <a:pt x="763" y="420"/>
                  </a:cubicBezTo>
                  <a:cubicBezTo>
                    <a:pt x="794" y="420"/>
                    <a:pt x="817" y="428"/>
                    <a:pt x="840" y="428"/>
                  </a:cubicBezTo>
                  <a:cubicBezTo>
                    <a:pt x="871" y="428"/>
                    <a:pt x="909" y="435"/>
                    <a:pt x="932" y="420"/>
                  </a:cubicBezTo>
                  <a:cubicBezTo>
                    <a:pt x="962" y="389"/>
                    <a:pt x="970" y="343"/>
                    <a:pt x="985" y="313"/>
                  </a:cubicBezTo>
                  <a:cubicBezTo>
                    <a:pt x="1000" y="290"/>
                    <a:pt x="1008" y="267"/>
                    <a:pt x="1023" y="244"/>
                  </a:cubicBezTo>
                  <a:cubicBezTo>
                    <a:pt x="1038" y="229"/>
                    <a:pt x="1061" y="221"/>
                    <a:pt x="1077" y="206"/>
                  </a:cubicBezTo>
                  <a:cubicBezTo>
                    <a:pt x="1107" y="168"/>
                    <a:pt x="1107" y="114"/>
                    <a:pt x="1138" y="76"/>
                  </a:cubicBezTo>
                  <a:cubicBezTo>
                    <a:pt x="1153" y="46"/>
                    <a:pt x="1184" y="23"/>
                    <a:pt x="1207" y="0"/>
                  </a:cubicBezTo>
                  <a:lnTo>
                    <a:pt x="1207" y="0"/>
                  </a:lnTo>
                  <a:cubicBezTo>
                    <a:pt x="1222" y="23"/>
                    <a:pt x="1229" y="53"/>
                    <a:pt x="1237" y="76"/>
                  </a:cubicBezTo>
                  <a:cubicBezTo>
                    <a:pt x="1237" y="76"/>
                    <a:pt x="1222" y="183"/>
                    <a:pt x="1222" y="191"/>
                  </a:cubicBezTo>
                  <a:cubicBezTo>
                    <a:pt x="1229" y="198"/>
                    <a:pt x="1283" y="290"/>
                    <a:pt x="1283" y="290"/>
                  </a:cubicBezTo>
                  <a:cubicBezTo>
                    <a:pt x="1313" y="336"/>
                    <a:pt x="1352" y="382"/>
                    <a:pt x="1367" y="435"/>
                  </a:cubicBezTo>
                  <a:cubicBezTo>
                    <a:pt x="1390" y="473"/>
                    <a:pt x="1390" y="519"/>
                    <a:pt x="1397" y="565"/>
                  </a:cubicBezTo>
                  <a:lnTo>
                    <a:pt x="1397" y="565"/>
                  </a:lnTo>
                  <a:cubicBezTo>
                    <a:pt x="1359" y="588"/>
                    <a:pt x="1321" y="611"/>
                    <a:pt x="1275" y="634"/>
                  </a:cubicBezTo>
                  <a:cubicBezTo>
                    <a:pt x="1275" y="634"/>
                    <a:pt x="1222" y="611"/>
                    <a:pt x="1214" y="618"/>
                  </a:cubicBezTo>
                  <a:cubicBezTo>
                    <a:pt x="1214" y="626"/>
                    <a:pt x="1176" y="672"/>
                    <a:pt x="1176" y="672"/>
                  </a:cubicBezTo>
                  <a:cubicBezTo>
                    <a:pt x="1199" y="703"/>
                    <a:pt x="1229" y="725"/>
                    <a:pt x="1229" y="756"/>
                  </a:cubicBezTo>
                  <a:cubicBezTo>
                    <a:pt x="1237" y="794"/>
                    <a:pt x="1222" y="832"/>
                    <a:pt x="1214" y="870"/>
                  </a:cubicBezTo>
                  <a:cubicBezTo>
                    <a:pt x="1207" y="901"/>
                    <a:pt x="1184" y="939"/>
                    <a:pt x="1191" y="978"/>
                  </a:cubicBezTo>
                  <a:cubicBezTo>
                    <a:pt x="1191" y="993"/>
                    <a:pt x="1222" y="978"/>
                    <a:pt x="1237" y="993"/>
                  </a:cubicBezTo>
                  <a:cubicBezTo>
                    <a:pt x="1260" y="1023"/>
                    <a:pt x="1275" y="1061"/>
                    <a:pt x="1298" y="1092"/>
                  </a:cubicBezTo>
                  <a:cubicBezTo>
                    <a:pt x="1321" y="1115"/>
                    <a:pt x="1336" y="1138"/>
                    <a:pt x="1359" y="1161"/>
                  </a:cubicBezTo>
                  <a:lnTo>
                    <a:pt x="1359" y="1161"/>
                  </a:lnTo>
                  <a:cubicBezTo>
                    <a:pt x="1329" y="1176"/>
                    <a:pt x="1306" y="1207"/>
                    <a:pt x="1283" y="1199"/>
                  </a:cubicBezTo>
                  <a:cubicBezTo>
                    <a:pt x="1222" y="1199"/>
                    <a:pt x="1168" y="1130"/>
                    <a:pt x="1123" y="1161"/>
                  </a:cubicBezTo>
                  <a:cubicBezTo>
                    <a:pt x="1077" y="1184"/>
                    <a:pt x="1130" y="1283"/>
                    <a:pt x="1092" y="1321"/>
                  </a:cubicBezTo>
                  <a:cubicBezTo>
                    <a:pt x="1061" y="1352"/>
                    <a:pt x="1008" y="1298"/>
                    <a:pt x="962" y="1306"/>
                  </a:cubicBezTo>
                  <a:cubicBezTo>
                    <a:pt x="932" y="1314"/>
                    <a:pt x="893" y="1336"/>
                    <a:pt x="871" y="1367"/>
                  </a:cubicBezTo>
                  <a:cubicBezTo>
                    <a:pt x="863" y="1390"/>
                    <a:pt x="886" y="1428"/>
                    <a:pt x="863" y="1443"/>
                  </a:cubicBezTo>
                  <a:cubicBezTo>
                    <a:pt x="848" y="1459"/>
                    <a:pt x="817" y="1413"/>
                    <a:pt x="802" y="1420"/>
                  </a:cubicBezTo>
                  <a:cubicBezTo>
                    <a:pt x="763" y="1436"/>
                    <a:pt x="763" y="1489"/>
                    <a:pt x="733" y="1505"/>
                  </a:cubicBezTo>
                  <a:cubicBezTo>
                    <a:pt x="702" y="1527"/>
                    <a:pt x="664" y="1520"/>
                    <a:pt x="626" y="1527"/>
                  </a:cubicBezTo>
                  <a:lnTo>
                    <a:pt x="626" y="1527"/>
                  </a:lnTo>
                  <a:cubicBezTo>
                    <a:pt x="565" y="1443"/>
                    <a:pt x="519" y="1344"/>
                    <a:pt x="443" y="1268"/>
                  </a:cubicBezTo>
                  <a:cubicBezTo>
                    <a:pt x="374" y="1207"/>
                    <a:pt x="282" y="1184"/>
                    <a:pt x="206" y="1130"/>
                  </a:cubicBezTo>
                  <a:cubicBezTo>
                    <a:pt x="152" y="1092"/>
                    <a:pt x="107" y="1061"/>
                    <a:pt x="68" y="1016"/>
                  </a:cubicBezTo>
                  <a:cubicBezTo>
                    <a:pt x="53" y="1000"/>
                    <a:pt x="61" y="978"/>
                    <a:pt x="61" y="962"/>
                  </a:cubicBezTo>
                  <a:cubicBezTo>
                    <a:pt x="53" y="947"/>
                    <a:pt x="46" y="932"/>
                    <a:pt x="46" y="916"/>
                  </a:cubicBezTo>
                  <a:cubicBezTo>
                    <a:pt x="53" y="909"/>
                    <a:pt x="76" y="909"/>
                    <a:pt x="76" y="901"/>
                  </a:cubicBezTo>
                  <a:cubicBezTo>
                    <a:pt x="84" y="886"/>
                    <a:pt x="84" y="870"/>
                    <a:pt x="76" y="863"/>
                  </a:cubicBezTo>
                  <a:cubicBezTo>
                    <a:pt x="61" y="832"/>
                    <a:pt x="30" y="817"/>
                    <a:pt x="7" y="794"/>
                  </a:cubicBezTo>
                  <a:lnTo>
                    <a:pt x="7" y="794"/>
                  </a:lnTo>
                  <a:cubicBezTo>
                    <a:pt x="0" y="748"/>
                    <a:pt x="0" y="748"/>
                    <a:pt x="0" y="74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42"/>
            <p:cNvSpPr>
              <a:spLocks noChangeArrowheads="1"/>
            </p:cNvSpPr>
            <p:nvPr/>
          </p:nvSpPr>
          <p:spPr bwMode="auto">
            <a:xfrm>
              <a:off x="7249641" y="7859713"/>
              <a:ext cx="90481" cy="101600"/>
            </a:xfrm>
            <a:custGeom>
              <a:avLst/>
              <a:gdLst>
                <a:gd name="T0" fmla="*/ 221 w 253"/>
                <a:gd name="T1" fmla="*/ 69 h 284"/>
                <a:gd name="T2" fmla="*/ 221 w 253"/>
                <a:gd name="T3" fmla="*/ 69 h 284"/>
                <a:gd name="T4" fmla="*/ 137 w 253"/>
                <a:gd name="T5" fmla="*/ 69 h 284"/>
                <a:gd name="T6" fmla="*/ 91 w 253"/>
                <a:gd name="T7" fmla="*/ 16 h 284"/>
                <a:gd name="T8" fmla="*/ 46 w 253"/>
                <a:gd name="T9" fmla="*/ 130 h 284"/>
                <a:gd name="T10" fmla="*/ 8 w 253"/>
                <a:gd name="T11" fmla="*/ 153 h 284"/>
                <a:gd name="T12" fmla="*/ 69 w 253"/>
                <a:gd name="T13" fmla="*/ 199 h 284"/>
                <a:gd name="T14" fmla="*/ 84 w 253"/>
                <a:gd name="T15" fmla="*/ 275 h 284"/>
                <a:gd name="T16" fmla="*/ 152 w 253"/>
                <a:gd name="T17" fmla="*/ 275 h 284"/>
                <a:gd name="T18" fmla="*/ 183 w 253"/>
                <a:gd name="T19" fmla="*/ 222 h 284"/>
                <a:gd name="T20" fmla="*/ 252 w 253"/>
                <a:gd name="T21" fmla="*/ 176 h 284"/>
                <a:gd name="T22" fmla="*/ 244 w 253"/>
                <a:gd name="T23" fmla="*/ 107 h 284"/>
                <a:gd name="T24" fmla="*/ 221 w 253"/>
                <a:gd name="T25" fmla="*/ 6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" h="284">
                  <a:moveTo>
                    <a:pt x="221" y="69"/>
                  </a:moveTo>
                  <a:lnTo>
                    <a:pt x="221" y="69"/>
                  </a:lnTo>
                  <a:cubicBezTo>
                    <a:pt x="198" y="61"/>
                    <a:pt x="160" y="77"/>
                    <a:pt x="137" y="69"/>
                  </a:cubicBezTo>
                  <a:cubicBezTo>
                    <a:pt x="114" y="61"/>
                    <a:pt x="114" y="0"/>
                    <a:pt x="91" y="16"/>
                  </a:cubicBezTo>
                  <a:cubicBezTo>
                    <a:pt x="61" y="38"/>
                    <a:pt x="69" y="92"/>
                    <a:pt x="46" y="130"/>
                  </a:cubicBezTo>
                  <a:cubicBezTo>
                    <a:pt x="38" y="145"/>
                    <a:pt x="0" y="138"/>
                    <a:pt x="8" y="153"/>
                  </a:cubicBezTo>
                  <a:cubicBezTo>
                    <a:pt x="15" y="176"/>
                    <a:pt x="46" y="184"/>
                    <a:pt x="69" y="199"/>
                  </a:cubicBezTo>
                  <a:cubicBezTo>
                    <a:pt x="69" y="199"/>
                    <a:pt x="84" y="268"/>
                    <a:pt x="84" y="275"/>
                  </a:cubicBezTo>
                  <a:cubicBezTo>
                    <a:pt x="84" y="283"/>
                    <a:pt x="152" y="275"/>
                    <a:pt x="152" y="275"/>
                  </a:cubicBezTo>
                  <a:cubicBezTo>
                    <a:pt x="152" y="275"/>
                    <a:pt x="168" y="222"/>
                    <a:pt x="183" y="222"/>
                  </a:cubicBezTo>
                  <a:cubicBezTo>
                    <a:pt x="191" y="222"/>
                    <a:pt x="252" y="176"/>
                    <a:pt x="252" y="176"/>
                  </a:cubicBezTo>
                  <a:cubicBezTo>
                    <a:pt x="244" y="153"/>
                    <a:pt x="252" y="130"/>
                    <a:pt x="244" y="107"/>
                  </a:cubicBezTo>
                  <a:cubicBezTo>
                    <a:pt x="237" y="92"/>
                    <a:pt x="237" y="77"/>
                    <a:pt x="221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43"/>
            <p:cNvSpPr>
              <a:spLocks noChangeArrowheads="1"/>
            </p:cNvSpPr>
            <p:nvPr/>
          </p:nvSpPr>
          <p:spPr bwMode="auto">
            <a:xfrm>
              <a:off x="7203606" y="7134225"/>
              <a:ext cx="376213" cy="641350"/>
            </a:xfrm>
            <a:custGeom>
              <a:avLst/>
              <a:gdLst>
                <a:gd name="T0" fmla="*/ 267 w 1047"/>
                <a:gd name="T1" fmla="*/ 1229 h 1780"/>
                <a:gd name="T2" fmla="*/ 176 w 1047"/>
                <a:gd name="T3" fmla="*/ 1283 h 1780"/>
                <a:gd name="T4" fmla="*/ 130 w 1047"/>
                <a:gd name="T5" fmla="*/ 1359 h 1780"/>
                <a:gd name="T6" fmla="*/ 214 w 1047"/>
                <a:gd name="T7" fmla="*/ 1451 h 1780"/>
                <a:gd name="T8" fmla="*/ 244 w 1047"/>
                <a:gd name="T9" fmla="*/ 1520 h 1780"/>
                <a:gd name="T10" fmla="*/ 359 w 1047"/>
                <a:gd name="T11" fmla="*/ 1359 h 1780"/>
                <a:gd name="T12" fmla="*/ 267 w 1047"/>
                <a:gd name="T13" fmla="*/ 1229 h 1780"/>
                <a:gd name="T14" fmla="*/ 15 w 1047"/>
                <a:gd name="T15" fmla="*/ 1589 h 1780"/>
                <a:gd name="T16" fmla="*/ 15 w 1047"/>
                <a:gd name="T17" fmla="*/ 1245 h 1780"/>
                <a:gd name="T18" fmla="*/ 53 w 1047"/>
                <a:gd name="T19" fmla="*/ 1069 h 1780"/>
                <a:gd name="T20" fmla="*/ 176 w 1047"/>
                <a:gd name="T21" fmla="*/ 855 h 1780"/>
                <a:gd name="T22" fmla="*/ 214 w 1047"/>
                <a:gd name="T23" fmla="*/ 634 h 1780"/>
                <a:gd name="T24" fmla="*/ 267 w 1047"/>
                <a:gd name="T25" fmla="*/ 542 h 1780"/>
                <a:gd name="T26" fmla="*/ 229 w 1047"/>
                <a:gd name="T27" fmla="*/ 512 h 1780"/>
                <a:gd name="T28" fmla="*/ 290 w 1047"/>
                <a:gd name="T29" fmla="*/ 389 h 1780"/>
                <a:gd name="T30" fmla="*/ 351 w 1047"/>
                <a:gd name="T31" fmla="*/ 252 h 1780"/>
                <a:gd name="T32" fmla="*/ 435 w 1047"/>
                <a:gd name="T33" fmla="*/ 206 h 1780"/>
                <a:gd name="T34" fmla="*/ 557 w 1047"/>
                <a:gd name="T35" fmla="*/ 68 h 1780"/>
                <a:gd name="T36" fmla="*/ 642 w 1047"/>
                <a:gd name="T37" fmla="*/ 0 h 1780"/>
                <a:gd name="T38" fmla="*/ 665 w 1047"/>
                <a:gd name="T39" fmla="*/ 99 h 1780"/>
                <a:gd name="T40" fmla="*/ 840 w 1047"/>
                <a:gd name="T41" fmla="*/ 122 h 1780"/>
                <a:gd name="T42" fmla="*/ 810 w 1047"/>
                <a:gd name="T43" fmla="*/ 198 h 1780"/>
                <a:gd name="T44" fmla="*/ 848 w 1047"/>
                <a:gd name="T45" fmla="*/ 359 h 1780"/>
                <a:gd name="T46" fmla="*/ 932 w 1047"/>
                <a:gd name="T47" fmla="*/ 527 h 1780"/>
                <a:gd name="T48" fmla="*/ 878 w 1047"/>
                <a:gd name="T49" fmla="*/ 664 h 1780"/>
                <a:gd name="T50" fmla="*/ 1039 w 1047"/>
                <a:gd name="T51" fmla="*/ 664 h 1780"/>
                <a:gd name="T52" fmla="*/ 955 w 1047"/>
                <a:gd name="T53" fmla="*/ 764 h 1780"/>
                <a:gd name="T54" fmla="*/ 970 w 1047"/>
                <a:gd name="T55" fmla="*/ 871 h 1780"/>
                <a:gd name="T56" fmla="*/ 909 w 1047"/>
                <a:gd name="T57" fmla="*/ 1000 h 1780"/>
                <a:gd name="T58" fmla="*/ 894 w 1047"/>
                <a:gd name="T59" fmla="*/ 1130 h 1780"/>
                <a:gd name="T60" fmla="*/ 749 w 1047"/>
                <a:gd name="T61" fmla="*/ 1268 h 1780"/>
                <a:gd name="T62" fmla="*/ 680 w 1047"/>
                <a:gd name="T63" fmla="*/ 1344 h 1780"/>
                <a:gd name="T64" fmla="*/ 565 w 1047"/>
                <a:gd name="T65" fmla="*/ 1512 h 1780"/>
                <a:gd name="T66" fmla="*/ 474 w 1047"/>
                <a:gd name="T67" fmla="*/ 1688 h 1780"/>
                <a:gd name="T68" fmla="*/ 305 w 1047"/>
                <a:gd name="T69" fmla="*/ 1688 h 1780"/>
                <a:gd name="T70" fmla="*/ 138 w 1047"/>
                <a:gd name="T71" fmla="*/ 1772 h 1780"/>
                <a:gd name="T72" fmla="*/ 15 w 1047"/>
                <a:gd name="T73" fmla="*/ 1589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7" h="1780">
                  <a:moveTo>
                    <a:pt x="267" y="1229"/>
                  </a:moveTo>
                  <a:lnTo>
                    <a:pt x="267" y="1229"/>
                  </a:lnTo>
                  <a:cubicBezTo>
                    <a:pt x="244" y="1207"/>
                    <a:pt x="206" y="1191"/>
                    <a:pt x="183" y="1207"/>
                  </a:cubicBezTo>
                  <a:cubicBezTo>
                    <a:pt x="160" y="1214"/>
                    <a:pt x="183" y="1260"/>
                    <a:pt x="176" y="1283"/>
                  </a:cubicBezTo>
                  <a:cubicBezTo>
                    <a:pt x="168" y="1291"/>
                    <a:pt x="138" y="1283"/>
                    <a:pt x="130" y="1298"/>
                  </a:cubicBezTo>
                  <a:cubicBezTo>
                    <a:pt x="122" y="1321"/>
                    <a:pt x="122" y="1344"/>
                    <a:pt x="130" y="1359"/>
                  </a:cubicBezTo>
                  <a:cubicBezTo>
                    <a:pt x="145" y="1382"/>
                    <a:pt x="183" y="1390"/>
                    <a:pt x="199" y="1413"/>
                  </a:cubicBezTo>
                  <a:cubicBezTo>
                    <a:pt x="206" y="1421"/>
                    <a:pt x="221" y="1436"/>
                    <a:pt x="214" y="1451"/>
                  </a:cubicBezTo>
                  <a:cubicBezTo>
                    <a:pt x="214" y="1466"/>
                    <a:pt x="176" y="1466"/>
                    <a:pt x="183" y="1482"/>
                  </a:cubicBezTo>
                  <a:cubicBezTo>
                    <a:pt x="191" y="1504"/>
                    <a:pt x="221" y="1535"/>
                    <a:pt x="244" y="1520"/>
                  </a:cubicBezTo>
                  <a:cubicBezTo>
                    <a:pt x="275" y="1489"/>
                    <a:pt x="237" y="1436"/>
                    <a:pt x="267" y="1405"/>
                  </a:cubicBezTo>
                  <a:cubicBezTo>
                    <a:pt x="282" y="1375"/>
                    <a:pt x="351" y="1398"/>
                    <a:pt x="359" y="1359"/>
                  </a:cubicBezTo>
                  <a:cubicBezTo>
                    <a:pt x="367" y="1329"/>
                    <a:pt x="305" y="1314"/>
                    <a:pt x="290" y="1283"/>
                  </a:cubicBezTo>
                  <a:cubicBezTo>
                    <a:pt x="275" y="1268"/>
                    <a:pt x="282" y="1237"/>
                    <a:pt x="267" y="1229"/>
                  </a:cubicBezTo>
                  <a:close/>
                  <a:moveTo>
                    <a:pt x="15" y="1589"/>
                  </a:moveTo>
                  <a:lnTo>
                    <a:pt x="15" y="1589"/>
                  </a:lnTo>
                  <a:cubicBezTo>
                    <a:pt x="38" y="1550"/>
                    <a:pt x="84" y="1527"/>
                    <a:pt x="84" y="1489"/>
                  </a:cubicBezTo>
                  <a:cubicBezTo>
                    <a:pt x="84" y="1405"/>
                    <a:pt x="30" y="1329"/>
                    <a:pt x="15" y="1245"/>
                  </a:cubicBezTo>
                  <a:cubicBezTo>
                    <a:pt x="8" y="1207"/>
                    <a:pt x="0" y="1168"/>
                    <a:pt x="8" y="1130"/>
                  </a:cubicBezTo>
                  <a:cubicBezTo>
                    <a:pt x="15" y="1107"/>
                    <a:pt x="53" y="1100"/>
                    <a:pt x="53" y="1069"/>
                  </a:cubicBezTo>
                  <a:cubicBezTo>
                    <a:pt x="69" y="1016"/>
                    <a:pt x="23" y="962"/>
                    <a:pt x="46" y="916"/>
                  </a:cubicBezTo>
                  <a:cubicBezTo>
                    <a:pt x="69" y="871"/>
                    <a:pt x="138" y="878"/>
                    <a:pt x="176" y="855"/>
                  </a:cubicBezTo>
                  <a:cubicBezTo>
                    <a:pt x="191" y="840"/>
                    <a:pt x="206" y="825"/>
                    <a:pt x="214" y="802"/>
                  </a:cubicBezTo>
                  <a:cubicBezTo>
                    <a:pt x="221" y="748"/>
                    <a:pt x="199" y="687"/>
                    <a:pt x="214" y="634"/>
                  </a:cubicBezTo>
                  <a:cubicBezTo>
                    <a:pt x="221" y="618"/>
                    <a:pt x="252" y="641"/>
                    <a:pt x="260" y="626"/>
                  </a:cubicBezTo>
                  <a:cubicBezTo>
                    <a:pt x="275" y="603"/>
                    <a:pt x="275" y="573"/>
                    <a:pt x="267" y="542"/>
                  </a:cubicBezTo>
                  <a:cubicBezTo>
                    <a:pt x="260" y="527"/>
                    <a:pt x="237" y="527"/>
                    <a:pt x="229" y="512"/>
                  </a:cubicBezTo>
                  <a:lnTo>
                    <a:pt x="229" y="512"/>
                  </a:lnTo>
                  <a:cubicBezTo>
                    <a:pt x="252" y="489"/>
                    <a:pt x="298" y="466"/>
                    <a:pt x="313" y="435"/>
                  </a:cubicBezTo>
                  <a:cubicBezTo>
                    <a:pt x="321" y="420"/>
                    <a:pt x="282" y="405"/>
                    <a:pt x="290" y="389"/>
                  </a:cubicBezTo>
                  <a:cubicBezTo>
                    <a:pt x="290" y="366"/>
                    <a:pt x="321" y="359"/>
                    <a:pt x="336" y="336"/>
                  </a:cubicBezTo>
                  <a:cubicBezTo>
                    <a:pt x="344" y="313"/>
                    <a:pt x="344" y="282"/>
                    <a:pt x="351" y="252"/>
                  </a:cubicBezTo>
                  <a:lnTo>
                    <a:pt x="351" y="252"/>
                  </a:lnTo>
                  <a:cubicBezTo>
                    <a:pt x="382" y="237"/>
                    <a:pt x="405" y="221"/>
                    <a:pt x="435" y="206"/>
                  </a:cubicBezTo>
                  <a:cubicBezTo>
                    <a:pt x="466" y="198"/>
                    <a:pt x="504" y="214"/>
                    <a:pt x="527" y="191"/>
                  </a:cubicBezTo>
                  <a:cubicBezTo>
                    <a:pt x="557" y="160"/>
                    <a:pt x="535" y="107"/>
                    <a:pt x="557" y="68"/>
                  </a:cubicBezTo>
                  <a:cubicBezTo>
                    <a:pt x="573" y="38"/>
                    <a:pt x="611" y="23"/>
                    <a:pt x="642" y="0"/>
                  </a:cubicBezTo>
                  <a:lnTo>
                    <a:pt x="642" y="0"/>
                  </a:lnTo>
                  <a:cubicBezTo>
                    <a:pt x="649" y="23"/>
                    <a:pt x="672" y="46"/>
                    <a:pt x="680" y="68"/>
                  </a:cubicBezTo>
                  <a:cubicBezTo>
                    <a:pt x="680" y="76"/>
                    <a:pt x="657" y="91"/>
                    <a:pt x="665" y="99"/>
                  </a:cubicBezTo>
                  <a:cubicBezTo>
                    <a:pt x="695" y="107"/>
                    <a:pt x="726" y="91"/>
                    <a:pt x="756" y="99"/>
                  </a:cubicBezTo>
                  <a:cubicBezTo>
                    <a:pt x="787" y="99"/>
                    <a:pt x="817" y="114"/>
                    <a:pt x="840" y="122"/>
                  </a:cubicBezTo>
                  <a:lnTo>
                    <a:pt x="840" y="122"/>
                  </a:lnTo>
                  <a:cubicBezTo>
                    <a:pt x="832" y="145"/>
                    <a:pt x="802" y="168"/>
                    <a:pt x="810" y="198"/>
                  </a:cubicBezTo>
                  <a:cubicBezTo>
                    <a:pt x="825" y="221"/>
                    <a:pt x="878" y="221"/>
                    <a:pt x="886" y="252"/>
                  </a:cubicBezTo>
                  <a:cubicBezTo>
                    <a:pt x="894" y="290"/>
                    <a:pt x="840" y="321"/>
                    <a:pt x="848" y="359"/>
                  </a:cubicBezTo>
                  <a:cubicBezTo>
                    <a:pt x="855" y="382"/>
                    <a:pt x="901" y="374"/>
                    <a:pt x="909" y="397"/>
                  </a:cubicBezTo>
                  <a:cubicBezTo>
                    <a:pt x="932" y="435"/>
                    <a:pt x="932" y="489"/>
                    <a:pt x="932" y="527"/>
                  </a:cubicBezTo>
                  <a:cubicBezTo>
                    <a:pt x="932" y="542"/>
                    <a:pt x="909" y="550"/>
                    <a:pt x="909" y="557"/>
                  </a:cubicBezTo>
                  <a:cubicBezTo>
                    <a:pt x="894" y="596"/>
                    <a:pt x="848" y="649"/>
                    <a:pt x="878" y="664"/>
                  </a:cubicBezTo>
                  <a:cubicBezTo>
                    <a:pt x="917" y="695"/>
                    <a:pt x="978" y="634"/>
                    <a:pt x="1024" y="634"/>
                  </a:cubicBezTo>
                  <a:cubicBezTo>
                    <a:pt x="1031" y="634"/>
                    <a:pt x="1039" y="649"/>
                    <a:pt x="1039" y="664"/>
                  </a:cubicBezTo>
                  <a:cubicBezTo>
                    <a:pt x="1046" y="687"/>
                    <a:pt x="1046" y="718"/>
                    <a:pt x="1031" y="741"/>
                  </a:cubicBezTo>
                  <a:cubicBezTo>
                    <a:pt x="1016" y="764"/>
                    <a:pt x="970" y="741"/>
                    <a:pt x="955" y="764"/>
                  </a:cubicBezTo>
                  <a:cubicBezTo>
                    <a:pt x="932" y="787"/>
                    <a:pt x="924" y="817"/>
                    <a:pt x="924" y="848"/>
                  </a:cubicBezTo>
                  <a:cubicBezTo>
                    <a:pt x="932" y="863"/>
                    <a:pt x="970" y="855"/>
                    <a:pt x="970" y="871"/>
                  </a:cubicBezTo>
                  <a:cubicBezTo>
                    <a:pt x="978" y="893"/>
                    <a:pt x="962" y="916"/>
                    <a:pt x="955" y="939"/>
                  </a:cubicBezTo>
                  <a:cubicBezTo>
                    <a:pt x="947" y="962"/>
                    <a:pt x="924" y="977"/>
                    <a:pt x="909" y="1000"/>
                  </a:cubicBezTo>
                  <a:cubicBezTo>
                    <a:pt x="894" y="1016"/>
                    <a:pt x="871" y="1031"/>
                    <a:pt x="871" y="1054"/>
                  </a:cubicBezTo>
                  <a:cubicBezTo>
                    <a:pt x="871" y="1085"/>
                    <a:pt x="909" y="1107"/>
                    <a:pt x="894" y="1130"/>
                  </a:cubicBezTo>
                  <a:cubicBezTo>
                    <a:pt x="886" y="1153"/>
                    <a:pt x="840" y="1138"/>
                    <a:pt x="817" y="1153"/>
                  </a:cubicBezTo>
                  <a:cubicBezTo>
                    <a:pt x="787" y="1184"/>
                    <a:pt x="771" y="1229"/>
                    <a:pt x="749" y="1268"/>
                  </a:cubicBezTo>
                  <a:lnTo>
                    <a:pt x="749" y="1268"/>
                  </a:lnTo>
                  <a:cubicBezTo>
                    <a:pt x="726" y="1291"/>
                    <a:pt x="695" y="1314"/>
                    <a:pt x="680" y="1344"/>
                  </a:cubicBezTo>
                  <a:cubicBezTo>
                    <a:pt x="649" y="1382"/>
                    <a:pt x="649" y="1436"/>
                    <a:pt x="619" y="1474"/>
                  </a:cubicBezTo>
                  <a:cubicBezTo>
                    <a:pt x="603" y="1489"/>
                    <a:pt x="580" y="1497"/>
                    <a:pt x="565" y="1512"/>
                  </a:cubicBezTo>
                  <a:cubicBezTo>
                    <a:pt x="550" y="1535"/>
                    <a:pt x="542" y="1558"/>
                    <a:pt x="527" y="1581"/>
                  </a:cubicBezTo>
                  <a:cubicBezTo>
                    <a:pt x="512" y="1611"/>
                    <a:pt x="504" y="1657"/>
                    <a:pt x="474" y="1688"/>
                  </a:cubicBezTo>
                  <a:cubicBezTo>
                    <a:pt x="451" y="1703"/>
                    <a:pt x="413" y="1696"/>
                    <a:pt x="382" y="1696"/>
                  </a:cubicBezTo>
                  <a:cubicBezTo>
                    <a:pt x="359" y="1696"/>
                    <a:pt x="336" y="1688"/>
                    <a:pt x="305" y="1688"/>
                  </a:cubicBezTo>
                  <a:cubicBezTo>
                    <a:pt x="275" y="1696"/>
                    <a:pt x="252" y="1711"/>
                    <a:pt x="221" y="1726"/>
                  </a:cubicBezTo>
                  <a:cubicBezTo>
                    <a:pt x="191" y="1734"/>
                    <a:pt x="168" y="1764"/>
                    <a:pt x="138" y="1772"/>
                  </a:cubicBezTo>
                  <a:cubicBezTo>
                    <a:pt x="107" y="1779"/>
                    <a:pt x="61" y="1779"/>
                    <a:pt x="38" y="1749"/>
                  </a:cubicBezTo>
                  <a:cubicBezTo>
                    <a:pt x="8" y="1703"/>
                    <a:pt x="23" y="1642"/>
                    <a:pt x="15" y="158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44"/>
            <p:cNvSpPr>
              <a:spLocks noChangeArrowheads="1"/>
            </p:cNvSpPr>
            <p:nvPr/>
          </p:nvSpPr>
          <p:spPr bwMode="auto">
            <a:xfrm>
              <a:off x="7248053" y="7562851"/>
              <a:ext cx="88894" cy="123825"/>
            </a:xfrm>
            <a:custGeom>
              <a:avLst/>
              <a:gdLst>
                <a:gd name="T0" fmla="*/ 145 w 246"/>
                <a:gd name="T1" fmla="*/ 38 h 345"/>
                <a:gd name="T2" fmla="*/ 145 w 246"/>
                <a:gd name="T3" fmla="*/ 38 h 345"/>
                <a:gd name="T4" fmla="*/ 61 w 246"/>
                <a:gd name="T5" fmla="*/ 16 h 345"/>
                <a:gd name="T6" fmla="*/ 54 w 246"/>
                <a:gd name="T7" fmla="*/ 92 h 345"/>
                <a:gd name="T8" fmla="*/ 8 w 246"/>
                <a:gd name="T9" fmla="*/ 107 h 345"/>
                <a:gd name="T10" fmla="*/ 8 w 246"/>
                <a:gd name="T11" fmla="*/ 168 h 345"/>
                <a:gd name="T12" fmla="*/ 77 w 246"/>
                <a:gd name="T13" fmla="*/ 222 h 345"/>
                <a:gd name="T14" fmla="*/ 92 w 246"/>
                <a:gd name="T15" fmla="*/ 260 h 345"/>
                <a:gd name="T16" fmla="*/ 61 w 246"/>
                <a:gd name="T17" fmla="*/ 291 h 345"/>
                <a:gd name="T18" fmla="*/ 122 w 246"/>
                <a:gd name="T19" fmla="*/ 329 h 345"/>
                <a:gd name="T20" fmla="*/ 145 w 246"/>
                <a:gd name="T21" fmla="*/ 214 h 345"/>
                <a:gd name="T22" fmla="*/ 237 w 246"/>
                <a:gd name="T23" fmla="*/ 168 h 345"/>
                <a:gd name="T24" fmla="*/ 168 w 246"/>
                <a:gd name="T25" fmla="*/ 92 h 345"/>
                <a:gd name="T26" fmla="*/ 145 w 246"/>
                <a:gd name="T27" fmla="*/ 3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6" h="345">
                  <a:moveTo>
                    <a:pt x="145" y="38"/>
                  </a:moveTo>
                  <a:lnTo>
                    <a:pt x="145" y="38"/>
                  </a:lnTo>
                  <a:cubicBezTo>
                    <a:pt x="122" y="16"/>
                    <a:pt x="84" y="0"/>
                    <a:pt x="61" y="16"/>
                  </a:cubicBezTo>
                  <a:cubicBezTo>
                    <a:pt x="38" y="23"/>
                    <a:pt x="61" y="69"/>
                    <a:pt x="54" y="92"/>
                  </a:cubicBezTo>
                  <a:cubicBezTo>
                    <a:pt x="46" y="100"/>
                    <a:pt x="16" y="92"/>
                    <a:pt x="8" y="107"/>
                  </a:cubicBezTo>
                  <a:cubicBezTo>
                    <a:pt x="0" y="130"/>
                    <a:pt x="0" y="153"/>
                    <a:pt x="8" y="168"/>
                  </a:cubicBezTo>
                  <a:cubicBezTo>
                    <a:pt x="23" y="191"/>
                    <a:pt x="61" y="199"/>
                    <a:pt x="77" y="222"/>
                  </a:cubicBezTo>
                  <a:cubicBezTo>
                    <a:pt x="84" y="230"/>
                    <a:pt x="99" y="245"/>
                    <a:pt x="92" y="260"/>
                  </a:cubicBezTo>
                  <a:cubicBezTo>
                    <a:pt x="92" y="275"/>
                    <a:pt x="54" y="275"/>
                    <a:pt x="61" y="291"/>
                  </a:cubicBezTo>
                  <a:cubicBezTo>
                    <a:pt x="69" y="313"/>
                    <a:pt x="99" y="344"/>
                    <a:pt x="122" y="329"/>
                  </a:cubicBezTo>
                  <a:cubicBezTo>
                    <a:pt x="153" y="298"/>
                    <a:pt x="115" y="245"/>
                    <a:pt x="145" y="214"/>
                  </a:cubicBezTo>
                  <a:cubicBezTo>
                    <a:pt x="160" y="184"/>
                    <a:pt x="229" y="207"/>
                    <a:pt x="237" y="168"/>
                  </a:cubicBezTo>
                  <a:cubicBezTo>
                    <a:pt x="245" y="138"/>
                    <a:pt x="183" y="123"/>
                    <a:pt x="168" y="92"/>
                  </a:cubicBezTo>
                  <a:cubicBezTo>
                    <a:pt x="153" y="77"/>
                    <a:pt x="160" y="46"/>
                    <a:pt x="145" y="3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45"/>
            <p:cNvSpPr>
              <a:spLocks noChangeArrowheads="1"/>
            </p:cNvSpPr>
            <p:nvPr/>
          </p:nvSpPr>
          <p:spPr bwMode="auto">
            <a:xfrm>
              <a:off x="7473463" y="7024689"/>
              <a:ext cx="725441" cy="896937"/>
            </a:xfrm>
            <a:custGeom>
              <a:avLst/>
              <a:gdLst>
                <a:gd name="T0" fmla="*/ 0 w 2017"/>
                <a:gd name="T1" fmla="*/ 1574 h 2491"/>
                <a:gd name="T2" fmla="*/ 145 w 2017"/>
                <a:gd name="T3" fmla="*/ 1436 h 2491"/>
                <a:gd name="T4" fmla="*/ 160 w 2017"/>
                <a:gd name="T5" fmla="*/ 1306 h 2491"/>
                <a:gd name="T6" fmla="*/ 221 w 2017"/>
                <a:gd name="T7" fmla="*/ 1177 h 2491"/>
                <a:gd name="T8" fmla="*/ 206 w 2017"/>
                <a:gd name="T9" fmla="*/ 1070 h 2491"/>
                <a:gd name="T10" fmla="*/ 290 w 2017"/>
                <a:gd name="T11" fmla="*/ 970 h 2491"/>
                <a:gd name="T12" fmla="*/ 129 w 2017"/>
                <a:gd name="T13" fmla="*/ 970 h 2491"/>
                <a:gd name="T14" fmla="*/ 183 w 2017"/>
                <a:gd name="T15" fmla="*/ 833 h 2491"/>
                <a:gd name="T16" fmla="*/ 99 w 2017"/>
                <a:gd name="T17" fmla="*/ 665 h 2491"/>
                <a:gd name="T18" fmla="*/ 61 w 2017"/>
                <a:gd name="T19" fmla="*/ 504 h 2491"/>
                <a:gd name="T20" fmla="*/ 91 w 2017"/>
                <a:gd name="T21" fmla="*/ 428 h 2491"/>
                <a:gd name="T22" fmla="*/ 374 w 2017"/>
                <a:gd name="T23" fmla="*/ 283 h 2491"/>
                <a:gd name="T24" fmla="*/ 588 w 2017"/>
                <a:gd name="T25" fmla="*/ 367 h 2491"/>
                <a:gd name="T26" fmla="*/ 725 w 2017"/>
                <a:gd name="T27" fmla="*/ 252 h 2491"/>
                <a:gd name="T28" fmla="*/ 580 w 2017"/>
                <a:gd name="T29" fmla="*/ 191 h 2491"/>
                <a:gd name="T30" fmla="*/ 825 w 2017"/>
                <a:gd name="T31" fmla="*/ 145 h 2491"/>
                <a:gd name="T32" fmla="*/ 901 w 2017"/>
                <a:gd name="T33" fmla="*/ 8 h 2491"/>
                <a:gd name="T34" fmla="*/ 1031 w 2017"/>
                <a:gd name="T35" fmla="*/ 138 h 2491"/>
                <a:gd name="T36" fmla="*/ 1084 w 2017"/>
                <a:gd name="T37" fmla="*/ 374 h 2491"/>
                <a:gd name="T38" fmla="*/ 1206 w 2017"/>
                <a:gd name="T39" fmla="*/ 420 h 2491"/>
                <a:gd name="T40" fmla="*/ 1229 w 2017"/>
                <a:gd name="T41" fmla="*/ 313 h 2491"/>
                <a:gd name="T42" fmla="*/ 1374 w 2017"/>
                <a:gd name="T43" fmla="*/ 184 h 2491"/>
                <a:gd name="T44" fmla="*/ 1504 w 2017"/>
                <a:gd name="T45" fmla="*/ 283 h 2491"/>
                <a:gd name="T46" fmla="*/ 1840 w 2017"/>
                <a:gd name="T47" fmla="*/ 833 h 2491"/>
                <a:gd name="T48" fmla="*/ 1665 w 2017"/>
                <a:gd name="T49" fmla="*/ 1574 h 2491"/>
                <a:gd name="T50" fmla="*/ 1443 w 2017"/>
                <a:gd name="T51" fmla="*/ 1895 h 2491"/>
                <a:gd name="T52" fmla="*/ 1772 w 2017"/>
                <a:gd name="T53" fmla="*/ 2101 h 2491"/>
                <a:gd name="T54" fmla="*/ 1741 w 2017"/>
                <a:gd name="T55" fmla="*/ 2169 h 2491"/>
                <a:gd name="T56" fmla="*/ 1680 w 2017"/>
                <a:gd name="T57" fmla="*/ 2269 h 2491"/>
                <a:gd name="T58" fmla="*/ 1588 w 2017"/>
                <a:gd name="T59" fmla="*/ 2299 h 2491"/>
                <a:gd name="T60" fmla="*/ 1390 w 2017"/>
                <a:gd name="T61" fmla="*/ 2315 h 2491"/>
                <a:gd name="T62" fmla="*/ 1275 w 2017"/>
                <a:gd name="T63" fmla="*/ 2437 h 2491"/>
                <a:gd name="T64" fmla="*/ 1161 w 2017"/>
                <a:gd name="T65" fmla="*/ 2414 h 2491"/>
                <a:gd name="T66" fmla="*/ 969 w 2017"/>
                <a:gd name="T67" fmla="*/ 2444 h 2491"/>
                <a:gd name="T68" fmla="*/ 802 w 2017"/>
                <a:gd name="T69" fmla="*/ 2421 h 2491"/>
                <a:gd name="T70" fmla="*/ 603 w 2017"/>
                <a:gd name="T71" fmla="*/ 2437 h 2491"/>
                <a:gd name="T72" fmla="*/ 473 w 2017"/>
                <a:gd name="T73" fmla="*/ 2421 h 2491"/>
                <a:gd name="T74" fmla="*/ 565 w 2017"/>
                <a:gd name="T75" fmla="*/ 2299 h 2491"/>
                <a:gd name="T76" fmla="*/ 435 w 2017"/>
                <a:gd name="T77" fmla="*/ 2254 h 2491"/>
                <a:gd name="T78" fmla="*/ 190 w 2017"/>
                <a:gd name="T79" fmla="*/ 2139 h 2491"/>
                <a:gd name="T80" fmla="*/ 160 w 2017"/>
                <a:gd name="T81" fmla="*/ 2009 h 2491"/>
                <a:gd name="T82" fmla="*/ 15 w 2017"/>
                <a:gd name="T83" fmla="*/ 1765 h 2491"/>
                <a:gd name="T84" fmla="*/ 0 w 2017"/>
                <a:gd name="T85" fmla="*/ 1574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7" h="2491">
                  <a:moveTo>
                    <a:pt x="0" y="1574"/>
                  </a:moveTo>
                  <a:lnTo>
                    <a:pt x="0" y="1574"/>
                  </a:lnTo>
                  <a:cubicBezTo>
                    <a:pt x="22" y="1535"/>
                    <a:pt x="38" y="1490"/>
                    <a:pt x="68" y="1459"/>
                  </a:cubicBezTo>
                  <a:cubicBezTo>
                    <a:pt x="91" y="1444"/>
                    <a:pt x="137" y="1459"/>
                    <a:pt x="145" y="1436"/>
                  </a:cubicBezTo>
                  <a:cubicBezTo>
                    <a:pt x="160" y="1413"/>
                    <a:pt x="122" y="1391"/>
                    <a:pt x="122" y="1360"/>
                  </a:cubicBezTo>
                  <a:cubicBezTo>
                    <a:pt x="122" y="1337"/>
                    <a:pt x="145" y="1322"/>
                    <a:pt x="160" y="1306"/>
                  </a:cubicBezTo>
                  <a:cubicBezTo>
                    <a:pt x="175" y="1283"/>
                    <a:pt x="198" y="1268"/>
                    <a:pt x="206" y="1245"/>
                  </a:cubicBezTo>
                  <a:cubicBezTo>
                    <a:pt x="213" y="1222"/>
                    <a:pt x="229" y="1199"/>
                    <a:pt x="221" y="1177"/>
                  </a:cubicBezTo>
                  <a:cubicBezTo>
                    <a:pt x="221" y="1161"/>
                    <a:pt x="183" y="1169"/>
                    <a:pt x="175" y="1154"/>
                  </a:cubicBezTo>
                  <a:cubicBezTo>
                    <a:pt x="175" y="1123"/>
                    <a:pt x="183" y="1093"/>
                    <a:pt x="206" y="1070"/>
                  </a:cubicBezTo>
                  <a:cubicBezTo>
                    <a:pt x="221" y="1047"/>
                    <a:pt x="267" y="1070"/>
                    <a:pt x="282" y="1047"/>
                  </a:cubicBezTo>
                  <a:cubicBezTo>
                    <a:pt x="297" y="1024"/>
                    <a:pt x="297" y="993"/>
                    <a:pt x="290" y="970"/>
                  </a:cubicBezTo>
                  <a:cubicBezTo>
                    <a:pt x="290" y="955"/>
                    <a:pt x="282" y="940"/>
                    <a:pt x="275" y="940"/>
                  </a:cubicBezTo>
                  <a:cubicBezTo>
                    <a:pt x="229" y="940"/>
                    <a:pt x="168" y="1001"/>
                    <a:pt x="129" y="970"/>
                  </a:cubicBezTo>
                  <a:cubicBezTo>
                    <a:pt x="99" y="955"/>
                    <a:pt x="145" y="902"/>
                    <a:pt x="160" y="863"/>
                  </a:cubicBezTo>
                  <a:cubicBezTo>
                    <a:pt x="160" y="856"/>
                    <a:pt x="183" y="848"/>
                    <a:pt x="183" y="833"/>
                  </a:cubicBezTo>
                  <a:cubicBezTo>
                    <a:pt x="183" y="795"/>
                    <a:pt x="183" y="741"/>
                    <a:pt x="160" y="703"/>
                  </a:cubicBezTo>
                  <a:cubicBezTo>
                    <a:pt x="152" y="680"/>
                    <a:pt x="106" y="688"/>
                    <a:pt x="99" y="665"/>
                  </a:cubicBezTo>
                  <a:cubicBezTo>
                    <a:pt x="91" y="627"/>
                    <a:pt x="145" y="596"/>
                    <a:pt x="137" y="558"/>
                  </a:cubicBezTo>
                  <a:cubicBezTo>
                    <a:pt x="129" y="527"/>
                    <a:pt x="76" y="527"/>
                    <a:pt x="61" y="504"/>
                  </a:cubicBezTo>
                  <a:cubicBezTo>
                    <a:pt x="53" y="474"/>
                    <a:pt x="83" y="451"/>
                    <a:pt x="91" y="428"/>
                  </a:cubicBezTo>
                  <a:lnTo>
                    <a:pt x="91" y="428"/>
                  </a:lnTo>
                  <a:cubicBezTo>
                    <a:pt x="137" y="367"/>
                    <a:pt x="160" y="283"/>
                    <a:pt x="229" y="245"/>
                  </a:cubicBezTo>
                  <a:cubicBezTo>
                    <a:pt x="275" y="222"/>
                    <a:pt x="343" y="245"/>
                    <a:pt x="374" y="283"/>
                  </a:cubicBezTo>
                  <a:cubicBezTo>
                    <a:pt x="404" y="313"/>
                    <a:pt x="336" y="405"/>
                    <a:pt x="381" y="428"/>
                  </a:cubicBezTo>
                  <a:cubicBezTo>
                    <a:pt x="450" y="451"/>
                    <a:pt x="534" y="405"/>
                    <a:pt x="588" y="367"/>
                  </a:cubicBezTo>
                  <a:cubicBezTo>
                    <a:pt x="618" y="352"/>
                    <a:pt x="565" y="298"/>
                    <a:pt x="588" y="283"/>
                  </a:cubicBezTo>
                  <a:cubicBezTo>
                    <a:pt x="626" y="252"/>
                    <a:pt x="687" y="283"/>
                    <a:pt x="725" y="252"/>
                  </a:cubicBezTo>
                  <a:cubicBezTo>
                    <a:pt x="740" y="229"/>
                    <a:pt x="694" y="207"/>
                    <a:pt x="672" y="191"/>
                  </a:cubicBezTo>
                  <a:cubicBezTo>
                    <a:pt x="641" y="184"/>
                    <a:pt x="588" y="222"/>
                    <a:pt x="580" y="191"/>
                  </a:cubicBezTo>
                  <a:cubicBezTo>
                    <a:pt x="572" y="153"/>
                    <a:pt x="626" y="130"/>
                    <a:pt x="656" y="122"/>
                  </a:cubicBezTo>
                  <a:cubicBezTo>
                    <a:pt x="710" y="115"/>
                    <a:pt x="771" y="168"/>
                    <a:pt x="825" y="145"/>
                  </a:cubicBezTo>
                  <a:cubicBezTo>
                    <a:pt x="863" y="122"/>
                    <a:pt x="840" y="54"/>
                    <a:pt x="863" y="16"/>
                  </a:cubicBezTo>
                  <a:cubicBezTo>
                    <a:pt x="863" y="0"/>
                    <a:pt x="886" y="8"/>
                    <a:pt x="901" y="8"/>
                  </a:cubicBezTo>
                  <a:lnTo>
                    <a:pt x="901" y="8"/>
                  </a:lnTo>
                  <a:cubicBezTo>
                    <a:pt x="947" y="54"/>
                    <a:pt x="1008" y="84"/>
                    <a:pt x="1031" y="138"/>
                  </a:cubicBezTo>
                  <a:cubicBezTo>
                    <a:pt x="1046" y="168"/>
                    <a:pt x="992" y="207"/>
                    <a:pt x="1008" y="237"/>
                  </a:cubicBezTo>
                  <a:cubicBezTo>
                    <a:pt x="1015" y="291"/>
                    <a:pt x="1061" y="329"/>
                    <a:pt x="1084" y="374"/>
                  </a:cubicBezTo>
                  <a:cubicBezTo>
                    <a:pt x="1107" y="405"/>
                    <a:pt x="1115" y="451"/>
                    <a:pt x="1145" y="466"/>
                  </a:cubicBezTo>
                  <a:cubicBezTo>
                    <a:pt x="1168" y="474"/>
                    <a:pt x="1199" y="443"/>
                    <a:pt x="1206" y="420"/>
                  </a:cubicBezTo>
                  <a:cubicBezTo>
                    <a:pt x="1206" y="397"/>
                    <a:pt x="1168" y="390"/>
                    <a:pt x="1168" y="374"/>
                  </a:cubicBezTo>
                  <a:cubicBezTo>
                    <a:pt x="1176" y="352"/>
                    <a:pt x="1214" y="336"/>
                    <a:pt x="1229" y="313"/>
                  </a:cubicBezTo>
                  <a:cubicBezTo>
                    <a:pt x="1237" y="298"/>
                    <a:pt x="1229" y="268"/>
                    <a:pt x="1252" y="252"/>
                  </a:cubicBezTo>
                  <a:cubicBezTo>
                    <a:pt x="1290" y="214"/>
                    <a:pt x="1328" y="214"/>
                    <a:pt x="1374" y="184"/>
                  </a:cubicBezTo>
                  <a:lnTo>
                    <a:pt x="1374" y="184"/>
                  </a:lnTo>
                  <a:cubicBezTo>
                    <a:pt x="1413" y="222"/>
                    <a:pt x="1443" y="252"/>
                    <a:pt x="1504" y="283"/>
                  </a:cubicBezTo>
                  <a:cubicBezTo>
                    <a:pt x="1588" y="329"/>
                    <a:pt x="1680" y="436"/>
                    <a:pt x="1703" y="527"/>
                  </a:cubicBezTo>
                  <a:cubicBezTo>
                    <a:pt x="1733" y="627"/>
                    <a:pt x="1794" y="741"/>
                    <a:pt x="1840" y="833"/>
                  </a:cubicBezTo>
                  <a:cubicBezTo>
                    <a:pt x="1848" y="924"/>
                    <a:pt x="2016" y="1306"/>
                    <a:pt x="1901" y="1375"/>
                  </a:cubicBezTo>
                  <a:cubicBezTo>
                    <a:pt x="1817" y="1429"/>
                    <a:pt x="1741" y="1497"/>
                    <a:pt x="1665" y="1574"/>
                  </a:cubicBezTo>
                  <a:cubicBezTo>
                    <a:pt x="1596" y="1643"/>
                    <a:pt x="1550" y="1734"/>
                    <a:pt x="1481" y="1803"/>
                  </a:cubicBezTo>
                  <a:cubicBezTo>
                    <a:pt x="1458" y="1818"/>
                    <a:pt x="1443" y="1864"/>
                    <a:pt x="1443" y="1895"/>
                  </a:cubicBezTo>
                  <a:cubicBezTo>
                    <a:pt x="1596" y="1933"/>
                    <a:pt x="1603" y="1956"/>
                    <a:pt x="1711" y="2063"/>
                  </a:cubicBezTo>
                  <a:cubicBezTo>
                    <a:pt x="1718" y="2070"/>
                    <a:pt x="1741" y="2085"/>
                    <a:pt x="1772" y="2101"/>
                  </a:cubicBezTo>
                  <a:lnTo>
                    <a:pt x="1772" y="2101"/>
                  </a:lnTo>
                  <a:cubicBezTo>
                    <a:pt x="1764" y="2124"/>
                    <a:pt x="1741" y="2147"/>
                    <a:pt x="1741" y="2169"/>
                  </a:cubicBezTo>
                  <a:cubicBezTo>
                    <a:pt x="1741" y="2185"/>
                    <a:pt x="1772" y="2200"/>
                    <a:pt x="1764" y="2215"/>
                  </a:cubicBezTo>
                  <a:cubicBezTo>
                    <a:pt x="1749" y="2246"/>
                    <a:pt x="1711" y="2254"/>
                    <a:pt x="1680" y="2269"/>
                  </a:cubicBezTo>
                  <a:cubicBezTo>
                    <a:pt x="1649" y="2284"/>
                    <a:pt x="1619" y="2284"/>
                    <a:pt x="1588" y="2299"/>
                  </a:cubicBezTo>
                  <a:lnTo>
                    <a:pt x="1588" y="2299"/>
                  </a:lnTo>
                  <a:cubicBezTo>
                    <a:pt x="1550" y="2292"/>
                    <a:pt x="1512" y="2269"/>
                    <a:pt x="1466" y="2269"/>
                  </a:cubicBezTo>
                  <a:cubicBezTo>
                    <a:pt x="1436" y="2269"/>
                    <a:pt x="1405" y="2292"/>
                    <a:pt x="1390" y="2315"/>
                  </a:cubicBezTo>
                  <a:cubicBezTo>
                    <a:pt x="1374" y="2345"/>
                    <a:pt x="1397" y="2391"/>
                    <a:pt x="1374" y="2414"/>
                  </a:cubicBezTo>
                  <a:cubicBezTo>
                    <a:pt x="1351" y="2437"/>
                    <a:pt x="1306" y="2429"/>
                    <a:pt x="1275" y="2437"/>
                  </a:cubicBezTo>
                  <a:lnTo>
                    <a:pt x="1275" y="2437"/>
                  </a:lnTo>
                  <a:cubicBezTo>
                    <a:pt x="1237" y="2429"/>
                    <a:pt x="1199" y="2406"/>
                    <a:pt x="1161" y="2414"/>
                  </a:cubicBezTo>
                  <a:cubicBezTo>
                    <a:pt x="1122" y="2421"/>
                    <a:pt x="1099" y="2475"/>
                    <a:pt x="1061" y="2483"/>
                  </a:cubicBezTo>
                  <a:cubicBezTo>
                    <a:pt x="1031" y="2483"/>
                    <a:pt x="1008" y="2444"/>
                    <a:pt x="969" y="2444"/>
                  </a:cubicBezTo>
                  <a:cubicBezTo>
                    <a:pt x="947" y="2437"/>
                    <a:pt x="931" y="2475"/>
                    <a:pt x="908" y="2475"/>
                  </a:cubicBezTo>
                  <a:cubicBezTo>
                    <a:pt x="870" y="2467"/>
                    <a:pt x="840" y="2421"/>
                    <a:pt x="802" y="2421"/>
                  </a:cubicBezTo>
                  <a:cubicBezTo>
                    <a:pt x="763" y="2429"/>
                    <a:pt x="748" y="2490"/>
                    <a:pt x="702" y="2490"/>
                  </a:cubicBezTo>
                  <a:cubicBezTo>
                    <a:pt x="664" y="2490"/>
                    <a:pt x="641" y="2444"/>
                    <a:pt x="603" y="2437"/>
                  </a:cubicBezTo>
                  <a:cubicBezTo>
                    <a:pt x="565" y="2421"/>
                    <a:pt x="519" y="2429"/>
                    <a:pt x="473" y="2421"/>
                  </a:cubicBezTo>
                  <a:lnTo>
                    <a:pt x="473" y="2421"/>
                  </a:lnTo>
                  <a:cubicBezTo>
                    <a:pt x="458" y="2406"/>
                    <a:pt x="404" y="2391"/>
                    <a:pt x="419" y="2368"/>
                  </a:cubicBezTo>
                  <a:cubicBezTo>
                    <a:pt x="450" y="2330"/>
                    <a:pt x="527" y="2338"/>
                    <a:pt x="565" y="2299"/>
                  </a:cubicBezTo>
                  <a:cubicBezTo>
                    <a:pt x="572" y="2292"/>
                    <a:pt x="572" y="2261"/>
                    <a:pt x="557" y="2254"/>
                  </a:cubicBezTo>
                  <a:cubicBezTo>
                    <a:pt x="519" y="2238"/>
                    <a:pt x="473" y="2269"/>
                    <a:pt x="435" y="2254"/>
                  </a:cubicBezTo>
                  <a:cubicBezTo>
                    <a:pt x="404" y="2231"/>
                    <a:pt x="404" y="2177"/>
                    <a:pt x="366" y="2162"/>
                  </a:cubicBezTo>
                  <a:cubicBezTo>
                    <a:pt x="313" y="2131"/>
                    <a:pt x="252" y="2147"/>
                    <a:pt x="190" y="2139"/>
                  </a:cubicBezTo>
                  <a:lnTo>
                    <a:pt x="190" y="2139"/>
                  </a:lnTo>
                  <a:cubicBezTo>
                    <a:pt x="183" y="2093"/>
                    <a:pt x="183" y="2047"/>
                    <a:pt x="160" y="2009"/>
                  </a:cubicBezTo>
                  <a:cubicBezTo>
                    <a:pt x="145" y="1956"/>
                    <a:pt x="106" y="1910"/>
                    <a:pt x="76" y="1864"/>
                  </a:cubicBezTo>
                  <a:cubicBezTo>
                    <a:pt x="76" y="1864"/>
                    <a:pt x="22" y="1772"/>
                    <a:pt x="15" y="1765"/>
                  </a:cubicBezTo>
                  <a:cubicBezTo>
                    <a:pt x="15" y="1757"/>
                    <a:pt x="30" y="1650"/>
                    <a:pt x="30" y="1650"/>
                  </a:cubicBezTo>
                  <a:cubicBezTo>
                    <a:pt x="22" y="1627"/>
                    <a:pt x="15" y="1597"/>
                    <a:pt x="0" y="15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46"/>
            <p:cNvSpPr>
              <a:spLocks noChangeArrowheads="1"/>
            </p:cNvSpPr>
            <p:nvPr/>
          </p:nvSpPr>
          <p:spPr bwMode="auto">
            <a:xfrm>
              <a:off x="7140110" y="7119938"/>
              <a:ext cx="190488" cy="203200"/>
            </a:xfrm>
            <a:custGeom>
              <a:avLst/>
              <a:gdLst>
                <a:gd name="T0" fmla="*/ 0 w 528"/>
                <a:gd name="T1" fmla="*/ 106 h 566"/>
                <a:gd name="T2" fmla="*/ 0 w 528"/>
                <a:gd name="T3" fmla="*/ 106 h 566"/>
                <a:gd name="T4" fmla="*/ 46 w 528"/>
                <a:gd name="T5" fmla="*/ 229 h 566"/>
                <a:gd name="T6" fmla="*/ 107 w 528"/>
                <a:gd name="T7" fmla="*/ 244 h 566"/>
                <a:gd name="T8" fmla="*/ 107 w 528"/>
                <a:gd name="T9" fmla="*/ 305 h 566"/>
                <a:gd name="T10" fmla="*/ 138 w 528"/>
                <a:gd name="T11" fmla="*/ 374 h 566"/>
                <a:gd name="T12" fmla="*/ 184 w 528"/>
                <a:gd name="T13" fmla="*/ 420 h 566"/>
                <a:gd name="T14" fmla="*/ 206 w 528"/>
                <a:gd name="T15" fmla="*/ 488 h 566"/>
                <a:gd name="T16" fmla="*/ 206 w 528"/>
                <a:gd name="T17" fmla="*/ 488 h 566"/>
                <a:gd name="T18" fmla="*/ 268 w 528"/>
                <a:gd name="T19" fmla="*/ 488 h 566"/>
                <a:gd name="T20" fmla="*/ 268 w 528"/>
                <a:gd name="T21" fmla="*/ 542 h 566"/>
                <a:gd name="T22" fmla="*/ 329 w 528"/>
                <a:gd name="T23" fmla="*/ 565 h 566"/>
                <a:gd name="T24" fmla="*/ 405 w 528"/>
                <a:gd name="T25" fmla="*/ 550 h 566"/>
                <a:gd name="T26" fmla="*/ 405 w 528"/>
                <a:gd name="T27" fmla="*/ 550 h 566"/>
                <a:gd name="T28" fmla="*/ 489 w 528"/>
                <a:gd name="T29" fmla="*/ 473 h 566"/>
                <a:gd name="T30" fmla="*/ 466 w 528"/>
                <a:gd name="T31" fmla="*/ 427 h 566"/>
                <a:gd name="T32" fmla="*/ 512 w 528"/>
                <a:gd name="T33" fmla="*/ 374 h 566"/>
                <a:gd name="T34" fmla="*/ 527 w 528"/>
                <a:gd name="T35" fmla="*/ 290 h 566"/>
                <a:gd name="T36" fmla="*/ 527 w 528"/>
                <a:gd name="T37" fmla="*/ 290 h 566"/>
                <a:gd name="T38" fmla="*/ 489 w 528"/>
                <a:gd name="T39" fmla="*/ 236 h 566"/>
                <a:gd name="T40" fmla="*/ 436 w 528"/>
                <a:gd name="T41" fmla="*/ 221 h 566"/>
                <a:gd name="T42" fmla="*/ 306 w 528"/>
                <a:gd name="T43" fmla="*/ 175 h 566"/>
                <a:gd name="T44" fmla="*/ 314 w 528"/>
                <a:gd name="T45" fmla="*/ 84 h 566"/>
                <a:gd name="T46" fmla="*/ 245 w 528"/>
                <a:gd name="T47" fmla="*/ 106 h 566"/>
                <a:gd name="T48" fmla="*/ 222 w 528"/>
                <a:gd name="T49" fmla="*/ 53 h 566"/>
                <a:gd name="T50" fmla="*/ 222 w 528"/>
                <a:gd name="T51" fmla="*/ 7 h 566"/>
                <a:gd name="T52" fmla="*/ 222 w 528"/>
                <a:gd name="T53" fmla="*/ 7 h 566"/>
                <a:gd name="T54" fmla="*/ 115 w 528"/>
                <a:gd name="T55" fmla="*/ 15 h 566"/>
                <a:gd name="T56" fmla="*/ 61 w 528"/>
                <a:gd name="T57" fmla="*/ 68 h 566"/>
                <a:gd name="T58" fmla="*/ 23 w 528"/>
                <a:gd name="T59" fmla="*/ 68 h 566"/>
                <a:gd name="T60" fmla="*/ 0 w 528"/>
                <a:gd name="T61" fmla="*/ 10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8" h="566">
                  <a:moveTo>
                    <a:pt x="0" y="106"/>
                  </a:moveTo>
                  <a:lnTo>
                    <a:pt x="0" y="106"/>
                  </a:lnTo>
                  <a:cubicBezTo>
                    <a:pt x="16" y="145"/>
                    <a:pt x="23" y="198"/>
                    <a:pt x="46" y="229"/>
                  </a:cubicBezTo>
                  <a:cubicBezTo>
                    <a:pt x="61" y="244"/>
                    <a:pt x="92" y="229"/>
                    <a:pt x="107" y="244"/>
                  </a:cubicBezTo>
                  <a:cubicBezTo>
                    <a:pt x="115" y="259"/>
                    <a:pt x="100" y="290"/>
                    <a:pt x="107" y="305"/>
                  </a:cubicBezTo>
                  <a:cubicBezTo>
                    <a:pt x="115" y="328"/>
                    <a:pt x="122" y="359"/>
                    <a:pt x="138" y="374"/>
                  </a:cubicBezTo>
                  <a:cubicBezTo>
                    <a:pt x="145" y="397"/>
                    <a:pt x="168" y="404"/>
                    <a:pt x="184" y="420"/>
                  </a:cubicBezTo>
                  <a:cubicBezTo>
                    <a:pt x="199" y="443"/>
                    <a:pt x="199" y="465"/>
                    <a:pt x="206" y="488"/>
                  </a:cubicBezTo>
                  <a:lnTo>
                    <a:pt x="206" y="488"/>
                  </a:lnTo>
                  <a:cubicBezTo>
                    <a:pt x="229" y="488"/>
                    <a:pt x="252" y="481"/>
                    <a:pt x="268" y="488"/>
                  </a:cubicBezTo>
                  <a:cubicBezTo>
                    <a:pt x="275" y="504"/>
                    <a:pt x="260" y="527"/>
                    <a:pt x="268" y="542"/>
                  </a:cubicBezTo>
                  <a:cubicBezTo>
                    <a:pt x="283" y="557"/>
                    <a:pt x="306" y="565"/>
                    <a:pt x="329" y="565"/>
                  </a:cubicBezTo>
                  <a:cubicBezTo>
                    <a:pt x="352" y="565"/>
                    <a:pt x="375" y="557"/>
                    <a:pt x="405" y="550"/>
                  </a:cubicBezTo>
                  <a:lnTo>
                    <a:pt x="405" y="550"/>
                  </a:lnTo>
                  <a:cubicBezTo>
                    <a:pt x="428" y="527"/>
                    <a:pt x="474" y="504"/>
                    <a:pt x="489" y="473"/>
                  </a:cubicBezTo>
                  <a:cubicBezTo>
                    <a:pt x="497" y="458"/>
                    <a:pt x="458" y="443"/>
                    <a:pt x="466" y="427"/>
                  </a:cubicBezTo>
                  <a:cubicBezTo>
                    <a:pt x="466" y="404"/>
                    <a:pt x="497" y="397"/>
                    <a:pt x="512" y="374"/>
                  </a:cubicBezTo>
                  <a:cubicBezTo>
                    <a:pt x="520" y="351"/>
                    <a:pt x="520" y="320"/>
                    <a:pt x="527" y="290"/>
                  </a:cubicBezTo>
                  <a:lnTo>
                    <a:pt x="527" y="290"/>
                  </a:lnTo>
                  <a:cubicBezTo>
                    <a:pt x="512" y="275"/>
                    <a:pt x="504" y="252"/>
                    <a:pt x="489" y="236"/>
                  </a:cubicBezTo>
                  <a:cubicBezTo>
                    <a:pt x="474" y="229"/>
                    <a:pt x="451" y="229"/>
                    <a:pt x="436" y="221"/>
                  </a:cubicBezTo>
                  <a:cubicBezTo>
                    <a:pt x="390" y="206"/>
                    <a:pt x="336" y="206"/>
                    <a:pt x="306" y="175"/>
                  </a:cubicBezTo>
                  <a:cubicBezTo>
                    <a:pt x="283" y="152"/>
                    <a:pt x="329" y="106"/>
                    <a:pt x="314" y="84"/>
                  </a:cubicBezTo>
                  <a:cubicBezTo>
                    <a:pt x="298" y="61"/>
                    <a:pt x="268" y="114"/>
                    <a:pt x="245" y="106"/>
                  </a:cubicBezTo>
                  <a:cubicBezTo>
                    <a:pt x="222" y="99"/>
                    <a:pt x="222" y="68"/>
                    <a:pt x="222" y="53"/>
                  </a:cubicBezTo>
                  <a:cubicBezTo>
                    <a:pt x="214" y="38"/>
                    <a:pt x="222" y="23"/>
                    <a:pt x="222" y="7"/>
                  </a:cubicBezTo>
                  <a:lnTo>
                    <a:pt x="222" y="7"/>
                  </a:lnTo>
                  <a:cubicBezTo>
                    <a:pt x="191" y="7"/>
                    <a:pt x="153" y="0"/>
                    <a:pt x="115" y="15"/>
                  </a:cubicBezTo>
                  <a:cubicBezTo>
                    <a:pt x="92" y="23"/>
                    <a:pt x="84" y="53"/>
                    <a:pt x="61" y="68"/>
                  </a:cubicBezTo>
                  <a:cubicBezTo>
                    <a:pt x="46" y="68"/>
                    <a:pt x="31" y="61"/>
                    <a:pt x="23" y="68"/>
                  </a:cubicBezTo>
                  <a:cubicBezTo>
                    <a:pt x="8" y="76"/>
                    <a:pt x="8" y="91"/>
                    <a:pt x="0" y="10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47"/>
            <p:cNvSpPr>
              <a:spLocks noChangeArrowheads="1"/>
            </p:cNvSpPr>
            <p:nvPr/>
          </p:nvSpPr>
          <p:spPr bwMode="auto">
            <a:xfrm>
              <a:off x="6936924" y="7029451"/>
              <a:ext cx="303193" cy="168275"/>
            </a:xfrm>
            <a:custGeom>
              <a:avLst/>
              <a:gdLst>
                <a:gd name="T0" fmla="*/ 0 w 841"/>
                <a:gd name="T1" fmla="*/ 236 h 466"/>
                <a:gd name="T2" fmla="*/ 0 w 841"/>
                <a:gd name="T3" fmla="*/ 236 h 466"/>
                <a:gd name="T4" fmla="*/ 31 w 841"/>
                <a:gd name="T5" fmla="*/ 282 h 466"/>
                <a:gd name="T6" fmla="*/ 31 w 841"/>
                <a:gd name="T7" fmla="*/ 343 h 466"/>
                <a:gd name="T8" fmla="*/ 31 w 841"/>
                <a:gd name="T9" fmla="*/ 343 h 466"/>
                <a:gd name="T10" fmla="*/ 122 w 841"/>
                <a:gd name="T11" fmla="*/ 343 h 466"/>
                <a:gd name="T12" fmla="*/ 176 w 841"/>
                <a:gd name="T13" fmla="*/ 305 h 466"/>
                <a:gd name="T14" fmla="*/ 382 w 841"/>
                <a:gd name="T15" fmla="*/ 328 h 466"/>
                <a:gd name="T16" fmla="*/ 412 w 841"/>
                <a:gd name="T17" fmla="*/ 374 h 466"/>
                <a:gd name="T18" fmla="*/ 420 w 841"/>
                <a:gd name="T19" fmla="*/ 420 h 466"/>
                <a:gd name="T20" fmla="*/ 443 w 841"/>
                <a:gd name="T21" fmla="*/ 450 h 466"/>
                <a:gd name="T22" fmla="*/ 481 w 841"/>
                <a:gd name="T23" fmla="*/ 366 h 466"/>
                <a:gd name="T24" fmla="*/ 504 w 841"/>
                <a:gd name="T25" fmla="*/ 336 h 466"/>
                <a:gd name="T26" fmla="*/ 565 w 841"/>
                <a:gd name="T27" fmla="*/ 358 h 466"/>
                <a:gd name="T28" fmla="*/ 565 w 841"/>
                <a:gd name="T29" fmla="*/ 358 h 466"/>
                <a:gd name="T30" fmla="*/ 588 w 841"/>
                <a:gd name="T31" fmla="*/ 320 h 466"/>
                <a:gd name="T32" fmla="*/ 626 w 841"/>
                <a:gd name="T33" fmla="*/ 320 h 466"/>
                <a:gd name="T34" fmla="*/ 680 w 841"/>
                <a:gd name="T35" fmla="*/ 267 h 466"/>
                <a:gd name="T36" fmla="*/ 787 w 841"/>
                <a:gd name="T37" fmla="*/ 259 h 466"/>
                <a:gd name="T38" fmla="*/ 787 w 841"/>
                <a:gd name="T39" fmla="*/ 259 h 466"/>
                <a:gd name="T40" fmla="*/ 833 w 841"/>
                <a:gd name="T41" fmla="*/ 213 h 466"/>
                <a:gd name="T42" fmla="*/ 810 w 841"/>
                <a:gd name="T43" fmla="*/ 160 h 466"/>
                <a:gd name="T44" fmla="*/ 756 w 841"/>
                <a:gd name="T45" fmla="*/ 129 h 466"/>
                <a:gd name="T46" fmla="*/ 726 w 841"/>
                <a:gd name="T47" fmla="*/ 76 h 466"/>
                <a:gd name="T48" fmla="*/ 726 w 841"/>
                <a:gd name="T49" fmla="*/ 76 h 466"/>
                <a:gd name="T50" fmla="*/ 703 w 841"/>
                <a:gd name="T51" fmla="*/ 22 h 466"/>
                <a:gd name="T52" fmla="*/ 657 w 841"/>
                <a:gd name="T53" fmla="*/ 30 h 466"/>
                <a:gd name="T54" fmla="*/ 573 w 841"/>
                <a:gd name="T55" fmla="*/ 7 h 466"/>
                <a:gd name="T56" fmla="*/ 512 w 841"/>
                <a:gd name="T57" fmla="*/ 45 h 466"/>
                <a:gd name="T58" fmla="*/ 451 w 841"/>
                <a:gd name="T59" fmla="*/ 45 h 466"/>
                <a:gd name="T60" fmla="*/ 405 w 841"/>
                <a:gd name="T61" fmla="*/ 22 h 466"/>
                <a:gd name="T62" fmla="*/ 367 w 841"/>
                <a:gd name="T63" fmla="*/ 22 h 466"/>
                <a:gd name="T64" fmla="*/ 367 w 841"/>
                <a:gd name="T65" fmla="*/ 22 h 466"/>
                <a:gd name="T66" fmla="*/ 321 w 841"/>
                <a:gd name="T67" fmla="*/ 114 h 466"/>
                <a:gd name="T68" fmla="*/ 237 w 841"/>
                <a:gd name="T69" fmla="*/ 152 h 466"/>
                <a:gd name="T70" fmla="*/ 176 w 841"/>
                <a:gd name="T71" fmla="*/ 137 h 466"/>
                <a:gd name="T72" fmla="*/ 160 w 841"/>
                <a:gd name="T73" fmla="*/ 137 h 466"/>
                <a:gd name="T74" fmla="*/ 107 w 841"/>
                <a:gd name="T75" fmla="*/ 191 h 466"/>
                <a:gd name="T76" fmla="*/ 15 w 841"/>
                <a:gd name="T77" fmla="*/ 206 h 466"/>
                <a:gd name="T78" fmla="*/ 0 w 841"/>
                <a:gd name="T79" fmla="*/ 23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41" h="466">
                  <a:moveTo>
                    <a:pt x="0" y="236"/>
                  </a:moveTo>
                  <a:lnTo>
                    <a:pt x="0" y="236"/>
                  </a:lnTo>
                  <a:cubicBezTo>
                    <a:pt x="8" y="252"/>
                    <a:pt x="23" y="267"/>
                    <a:pt x="31" y="282"/>
                  </a:cubicBezTo>
                  <a:cubicBezTo>
                    <a:pt x="38" y="305"/>
                    <a:pt x="31" y="320"/>
                    <a:pt x="31" y="343"/>
                  </a:cubicBezTo>
                  <a:lnTo>
                    <a:pt x="31" y="343"/>
                  </a:lnTo>
                  <a:cubicBezTo>
                    <a:pt x="61" y="343"/>
                    <a:pt x="92" y="351"/>
                    <a:pt x="122" y="343"/>
                  </a:cubicBezTo>
                  <a:cubicBezTo>
                    <a:pt x="145" y="336"/>
                    <a:pt x="153" y="305"/>
                    <a:pt x="176" y="305"/>
                  </a:cubicBezTo>
                  <a:cubicBezTo>
                    <a:pt x="245" y="297"/>
                    <a:pt x="313" y="313"/>
                    <a:pt x="382" y="328"/>
                  </a:cubicBezTo>
                  <a:cubicBezTo>
                    <a:pt x="397" y="336"/>
                    <a:pt x="405" y="358"/>
                    <a:pt x="412" y="374"/>
                  </a:cubicBezTo>
                  <a:cubicBezTo>
                    <a:pt x="420" y="389"/>
                    <a:pt x="412" y="404"/>
                    <a:pt x="420" y="420"/>
                  </a:cubicBezTo>
                  <a:cubicBezTo>
                    <a:pt x="428" y="435"/>
                    <a:pt x="435" y="465"/>
                    <a:pt x="443" y="450"/>
                  </a:cubicBezTo>
                  <a:cubicBezTo>
                    <a:pt x="474" y="435"/>
                    <a:pt x="466" y="397"/>
                    <a:pt x="481" y="366"/>
                  </a:cubicBezTo>
                  <a:cubicBezTo>
                    <a:pt x="489" y="358"/>
                    <a:pt x="489" y="336"/>
                    <a:pt x="504" y="336"/>
                  </a:cubicBezTo>
                  <a:cubicBezTo>
                    <a:pt x="527" y="336"/>
                    <a:pt x="542" y="351"/>
                    <a:pt x="565" y="358"/>
                  </a:cubicBezTo>
                  <a:lnTo>
                    <a:pt x="565" y="358"/>
                  </a:lnTo>
                  <a:cubicBezTo>
                    <a:pt x="573" y="343"/>
                    <a:pt x="573" y="328"/>
                    <a:pt x="588" y="320"/>
                  </a:cubicBezTo>
                  <a:cubicBezTo>
                    <a:pt x="596" y="313"/>
                    <a:pt x="611" y="320"/>
                    <a:pt x="626" y="320"/>
                  </a:cubicBezTo>
                  <a:cubicBezTo>
                    <a:pt x="649" y="305"/>
                    <a:pt x="657" y="275"/>
                    <a:pt x="680" y="267"/>
                  </a:cubicBezTo>
                  <a:cubicBezTo>
                    <a:pt x="718" y="252"/>
                    <a:pt x="756" y="259"/>
                    <a:pt x="787" y="259"/>
                  </a:cubicBezTo>
                  <a:lnTo>
                    <a:pt x="787" y="259"/>
                  </a:lnTo>
                  <a:cubicBezTo>
                    <a:pt x="802" y="244"/>
                    <a:pt x="833" y="236"/>
                    <a:pt x="833" y="213"/>
                  </a:cubicBezTo>
                  <a:cubicBezTo>
                    <a:pt x="840" y="198"/>
                    <a:pt x="825" y="175"/>
                    <a:pt x="810" y="160"/>
                  </a:cubicBezTo>
                  <a:cubicBezTo>
                    <a:pt x="794" y="145"/>
                    <a:pt x="764" y="145"/>
                    <a:pt x="756" y="129"/>
                  </a:cubicBezTo>
                  <a:cubicBezTo>
                    <a:pt x="741" y="114"/>
                    <a:pt x="741" y="91"/>
                    <a:pt x="726" y="76"/>
                  </a:cubicBezTo>
                  <a:lnTo>
                    <a:pt x="726" y="76"/>
                  </a:lnTo>
                  <a:cubicBezTo>
                    <a:pt x="718" y="61"/>
                    <a:pt x="718" y="38"/>
                    <a:pt x="703" y="22"/>
                  </a:cubicBezTo>
                  <a:cubicBezTo>
                    <a:pt x="687" y="15"/>
                    <a:pt x="672" y="30"/>
                    <a:pt x="657" y="30"/>
                  </a:cubicBezTo>
                  <a:cubicBezTo>
                    <a:pt x="626" y="22"/>
                    <a:pt x="604" y="0"/>
                    <a:pt x="573" y="7"/>
                  </a:cubicBezTo>
                  <a:cubicBezTo>
                    <a:pt x="550" y="7"/>
                    <a:pt x="535" y="38"/>
                    <a:pt x="512" y="45"/>
                  </a:cubicBezTo>
                  <a:cubicBezTo>
                    <a:pt x="497" y="53"/>
                    <a:pt x="474" y="53"/>
                    <a:pt x="451" y="45"/>
                  </a:cubicBezTo>
                  <a:cubicBezTo>
                    <a:pt x="435" y="45"/>
                    <a:pt x="420" y="22"/>
                    <a:pt x="405" y="22"/>
                  </a:cubicBezTo>
                  <a:cubicBezTo>
                    <a:pt x="390" y="15"/>
                    <a:pt x="374" y="22"/>
                    <a:pt x="367" y="22"/>
                  </a:cubicBezTo>
                  <a:lnTo>
                    <a:pt x="367" y="22"/>
                  </a:lnTo>
                  <a:cubicBezTo>
                    <a:pt x="351" y="53"/>
                    <a:pt x="344" y="91"/>
                    <a:pt x="321" y="114"/>
                  </a:cubicBezTo>
                  <a:cubicBezTo>
                    <a:pt x="298" y="137"/>
                    <a:pt x="267" y="152"/>
                    <a:pt x="237" y="152"/>
                  </a:cubicBezTo>
                  <a:cubicBezTo>
                    <a:pt x="214" y="160"/>
                    <a:pt x="199" y="137"/>
                    <a:pt x="176" y="137"/>
                  </a:cubicBezTo>
                  <a:cubicBezTo>
                    <a:pt x="176" y="129"/>
                    <a:pt x="160" y="129"/>
                    <a:pt x="160" y="137"/>
                  </a:cubicBezTo>
                  <a:cubicBezTo>
                    <a:pt x="137" y="152"/>
                    <a:pt x="130" y="183"/>
                    <a:pt x="107" y="191"/>
                  </a:cubicBezTo>
                  <a:cubicBezTo>
                    <a:pt x="84" y="206"/>
                    <a:pt x="46" y="191"/>
                    <a:pt x="15" y="206"/>
                  </a:cubicBezTo>
                  <a:cubicBezTo>
                    <a:pt x="8" y="206"/>
                    <a:pt x="8" y="229"/>
                    <a:pt x="0" y="2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48"/>
            <p:cNvSpPr>
              <a:spLocks noChangeArrowheads="1"/>
            </p:cNvSpPr>
            <p:nvPr/>
          </p:nvSpPr>
          <p:spPr bwMode="auto">
            <a:xfrm>
              <a:off x="7198845" y="6983414"/>
              <a:ext cx="269857" cy="242887"/>
            </a:xfrm>
            <a:custGeom>
              <a:avLst/>
              <a:gdLst>
                <a:gd name="T0" fmla="*/ 61 w 749"/>
                <a:gd name="T1" fmla="*/ 389 h 673"/>
                <a:gd name="T2" fmla="*/ 61 w 749"/>
                <a:gd name="T3" fmla="*/ 389 h 673"/>
                <a:gd name="T4" fmla="*/ 107 w 749"/>
                <a:gd name="T5" fmla="*/ 343 h 673"/>
                <a:gd name="T6" fmla="*/ 84 w 749"/>
                <a:gd name="T7" fmla="*/ 290 h 673"/>
                <a:gd name="T8" fmla="*/ 30 w 749"/>
                <a:gd name="T9" fmla="*/ 259 h 673"/>
                <a:gd name="T10" fmla="*/ 0 w 749"/>
                <a:gd name="T11" fmla="*/ 206 h 673"/>
                <a:gd name="T12" fmla="*/ 0 w 749"/>
                <a:gd name="T13" fmla="*/ 206 h 673"/>
                <a:gd name="T14" fmla="*/ 84 w 749"/>
                <a:gd name="T15" fmla="*/ 229 h 673"/>
                <a:gd name="T16" fmla="*/ 137 w 749"/>
                <a:gd name="T17" fmla="*/ 175 h 673"/>
                <a:gd name="T18" fmla="*/ 145 w 749"/>
                <a:gd name="T19" fmla="*/ 137 h 673"/>
                <a:gd name="T20" fmla="*/ 191 w 749"/>
                <a:gd name="T21" fmla="*/ 107 h 673"/>
                <a:gd name="T22" fmla="*/ 191 w 749"/>
                <a:gd name="T23" fmla="*/ 107 h 673"/>
                <a:gd name="T24" fmla="*/ 229 w 749"/>
                <a:gd name="T25" fmla="*/ 53 h 673"/>
                <a:gd name="T26" fmla="*/ 267 w 749"/>
                <a:gd name="T27" fmla="*/ 68 h 673"/>
                <a:gd name="T28" fmla="*/ 313 w 749"/>
                <a:gd name="T29" fmla="*/ 53 h 673"/>
                <a:gd name="T30" fmla="*/ 351 w 749"/>
                <a:gd name="T31" fmla="*/ 68 h 673"/>
                <a:gd name="T32" fmla="*/ 397 w 749"/>
                <a:gd name="T33" fmla="*/ 46 h 673"/>
                <a:gd name="T34" fmla="*/ 473 w 749"/>
                <a:gd name="T35" fmla="*/ 15 h 673"/>
                <a:gd name="T36" fmla="*/ 473 w 749"/>
                <a:gd name="T37" fmla="*/ 15 h 673"/>
                <a:gd name="T38" fmla="*/ 634 w 749"/>
                <a:gd name="T39" fmla="*/ 7 h 673"/>
                <a:gd name="T40" fmla="*/ 748 w 749"/>
                <a:gd name="T41" fmla="*/ 61 h 673"/>
                <a:gd name="T42" fmla="*/ 748 w 749"/>
                <a:gd name="T43" fmla="*/ 61 h 673"/>
                <a:gd name="T44" fmla="*/ 710 w 749"/>
                <a:gd name="T45" fmla="*/ 168 h 673"/>
                <a:gd name="T46" fmla="*/ 695 w 749"/>
                <a:gd name="T47" fmla="*/ 328 h 673"/>
                <a:gd name="T48" fmla="*/ 634 w 749"/>
                <a:gd name="T49" fmla="*/ 351 h 673"/>
                <a:gd name="T50" fmla="*/ 657 w 749"/>
                <a:gd name="T51" fmla="*/ 420 h 673"/>
                <a:gd name="T52" fmla="*/ 657 w 749"/>
                <a:gd name="T53" fmla="*/ 420 h 673"/>
                <a:gd name="T54" fmla="*/ 572 w 749"/>
                <a:gd name="T55" fmla="*/ 488 h 673"/>
                <a:gd name="T56" fmla="*/ 542 w 749"/>
                <a:gd name="T57" fmla="*/ 611 h 673"/>
                <a:gd name="T58" fmla="*/ 450 w 749"/>
                <a:gd name="T59" fmla="*/ 626 h 673"/>
                <a:gd name="T60" fmla="*/ 366 w 749"/>
                <a:gd name="T61" fmla="*/ 672 h 673"/>
                <a:gd name="T62" fmla="*/ 366 w 749"/>
                <a:gd name="T63" fmla="*/ 672 h 673"/>
                <a:gd name="T64" fmla="*/ 328 w 749"/>
                <a:gd name="T65" fmla="*/ 618 h 673"/>
                <a:gd name="T66" fmla="*/ 275 w 749"/>
                <a:gd name="T67" fmla="*/ 603 h 673"/>
                <a:gd name="T68" fmla="*/ 145 w 749"/>
                <a:gd name="T69" fmla="*/ 557 h 673"/>
                <a:gd name="T70" fmla="*/ 153 w 749"/>
                <a:gd name="T71" fmla="*/ 466 h 673"/>
                <a:gd name="T72" fmla="*/ 84 w 749"/>
                <a:gd name="T73" fmla="*/ 488 h 673"/>
                <a:gd name="T74" fmla="*/ 61 w 749"/>
                <a:gd name="T75" fmla="*/ 435 h 673"/>
                <a:gd name="T76" fmla="*/ 61 w 749"/>
                <a:gd name="T77" fmla="*/ 38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49" h="673">
                  <a:moveTo>
                    <a:pt x="61" y="389"/>
                  </a:moveTo>
                  <a:lnTo>
                    <a:pt x="61" y="389"/>
                  </a:lnTo>
                  <a:cubicBezTo>
                    <a:pt x="76" y="374"/>
                    <a:pt x="107" y="366"/>
                    <a:pt x="107" y="343"/>
                  </a:cubicBezTo>
                  <a:cubicBezTo>
                    <a:pt x="114" y="328"/>
                    <a:pt x="99" y="305"/>
                    <a:pt x="84" y="290"/>
                  </a:cubicBezTo>
                  <a:cubicBezTo>
                    <a:pt x="68" y="275"/>
                    <a:pt x="38" y="275"/>
                    <a:pt x="30" y="259"/>
                  </a:cubicBezTo>
                  <a:cubicBezTo>
                    <a:pt x="15" y="244"/>
                    <a:pt x="15" y="221"/>
                    <a:pt x="0" y="206"/>
                  </a:cubicBezTo>
                  <a:lnTo>
                    <a:pt x="0" y="206"/>
                  </a:lnTo>
                  <a:cubicBezTo>
                    <a:pt x="30" y="213"/>
                    <a:pt x="53" y="229"/>
                    <a:pt x="84" y="229"/>
                  </a:cubicBezTo>
                  <a:cubicBezTo>
                    <a:pt x="107" y="221"/>
                    <a:pt x="122" y="198"/>
                    <a:pt x="137" y="175"/>
                  </a:cubicBezTo>
                  <a:cubicBezTo>
                    <a:pt x="145" y="168"/>
                    <a:pt x="137" y="152"/>
                    <a:pt x="145" y="137"/>
                  </a:cubicBezTo>
                  <a:cubicBezTo>
                    <a:pt x="160" y="122"/>
                    <a:pt x="175" y="114"/>
                    <a:pt x="191" y="107"/>
                  </a:cubicBezTo>
                  <a:lnTo>
                    <a:pt x="191" y="107"/>
                  </a:lnTo>
                  <a:cubicBezTo>
                    <a:pt x="198" y="91"/>
                    <a:pt x="214" y="68"/>
                    <a:pt x="229" y="53"/>
                  </a:cubicBezTo>
                  <a:cubicBezTo>
                    <a:pt x="244" y="53"/>
                    <a:pt x="252" y="68"/>
                    <a:pt x="267" y="68"/>
                  </a:cubicBezTo>
                  <a:cubicBezTo>
                    <a:pt x="282" y="68"/>
                    <a:pt x="297" y="53"/>
                    <a:pt x="313" y="53"/>
                  </a:cubicBezTo>
                  <a:cubicBezTo>
                    <a:pt x="328" y="53"/>
                    <a:pt x="336" y="68"/>
                    <a:pt x="351" y="68"/>
                  </a:cubicBezTo>
                  <a:cubicBezTo>
                    <a:pt x="366" y="68"/>
                    <a:pt x="382" y="53"/>
                    <a:pt x="397" y="46"/>
                  </a:cubicBezTo>
                  <a:cubicBezTo>
                    <a:pt x="420" y="30"/>
                    <a:pt x="443" y="23"/>
                    <a:pt x="473" y="15"/>
                  </a:cubicBezTo>
                  <a:lnTo>
                    <a:pt x="473" y="15"/>
                  </a:lnTo>
                  <a:cubicBezTo>
                    <a:pt x="527" y="15"/>
                    <a:pt x="580" y="0"/>
                    <a:pt x="634" y="7"/>
                  </a:cubicBezTo>
                  <a:cubicBezTo>
                    <a:pt x="680" y="15"/>
                    <a:pt x="710" y="46"/>
                    <a:pt x="748" y="61"/>
                  </a:cubicBezTo>
                  <a:lnTo>
                    <a:pt x="748" y="61"/>
                  </a:lnTo>
                  <a:cubicBezTo>
                    <a:pt x="741" y="99"/>
                    <a:pt x="718" y="152"/>
                    <a:pt x="710" y="168"/>
                  </a:cubicBezTo>
                  <a:cubicBezTo>
                    <a:pt x="702" y="191"/>
                    <a:pt x="695" y="321"/>
                    <a:pt x="695" y="328"/>
                  </a:cubicBezTo>
                  <a:cubicBezTo>
                    <a:pt x="695" y="336"/>
                    <a:pt x="634" y="343"/>
                    <a:pt x="634" y="351"/>
                  </a:cubicBezTo>
                  <a:cubicBezTo>
                    <a:pt x="641" y="366"/>
                    <a:pt x="649" y="397"/>
                    <a:pt x="657" y="420"/>
                  </a:cubicBezTo>
                  <a:lnTo>
                    <a:pt x="657" y="420"/>
                  </a:lnTo>
                  <a:cubicBezTo>
                    <a:pt x="626" y="443"/>
                    <a:pt x="588" y="458"/>
                    <a:pt x="572" y="488"/>
                  </a:cubicBezTo>
                  <a:cubicBezTo>
                    <a:pt x="550" y="527"/>
                    <a:pt x="572" y="580"/>
                    <a:pt x="542" y="611"/>
                  </a:cubicBezTo>
                  <a:cubicBezTo>
                    <a:pt x="519" y="634"/>
                    <a:pt x="481" y="618"/>
                    <a:pt x="450" y="626"/>
                  </a:cubicBezTo>
                  <a:cubicBezTo>
                    <a:pt x="420" y="641"/>
                    <a:pt x="397" y="657"/>
                    <a:pt x="366" y="672"/>
                  </a:cubicBezTo>
                  <a:lnTo>
                    <a:pt x="366" y="672"/>
                  </a:lnTo>
                  <a:cubicBezTo>
                    <a:pt x="351" y="657"/>
                    <a:pt x="343" y="634"/>
                    <a:pt x="328" y="618"/>
                  </a:cubicBezTo>
                  <a:cubicBezTo>
                    <a:pt x="313" y="611"/>
                    <a:pt x="290" y="611"/>
                    <a:pt x="275" y="603"/>
                  </a:cubicBezTo>
                  <a:cubicBezTo>
                    <a:pt x="229" y="588"/>
                    <a:pt x="175" y="588"/>
                    <a:pt x="145" y="557"/>
                  </a:cubicBezTo>
                  <a:cubicBezTo>
                    <a:pt x="122" y="534"/>
                    <a:pt x="168" y="488"/>
                    <a:pt x="153" y="466"/>
                  </a:cubicBezTo>
                  <a:cubicBezTo>
                    <a:pt x="137" y="443"/>
                    <a:pt x="107" y="496"/>
                    <a:pt x="84" y="488"/>
                  </a:cubicBezTo>
                  <a:cubicBezTo>
                    <a:pt x="61" y="481"/>
                    <a:pt x="61" y="450"/>
                    <a:pt x="61" y="435"/>
                  </a:cubicBezTo>
                  <a:cubicBezTo>
                    <a:pt x="53" y="420"/>
                    <a:pt x="61" y="405"/>
                    <a:pt x="61" y="38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49"/>
            <p:cNvSpPr>
              <a:spLocks noChangeArrowheads="1"/>
            </p:cNvSpPr>
            <p:nvPr/>
          </p:nvSpPr>
          <p:spPr bwMode="auto">
            <a:xfrm>
              <a:off x="6733737" y="7021513"/>
              <a:ext cx="150803" cy="119062"/>
            </a:xfrm>
            <a:custGeom>
              <a:avLst/>
              <a:gdLst>
                <a:gd name="T0" fmla="*/ 0 w 421"/>
                <a:gd name="T1" fmla="*/ 236 h 329"/>
                <a:gd name="T2" fmla="*/ 0 w 421"/>
                <a:gd name="T3" fmla="*/ 236 h 329"/>
                <a:gd name="T4" fmla="*/ 30 w 421"/>
                <a:gd name="T5" fmla="*/ 275 h 329"/>
                <a:gd name="T6" fmla="*/ 15 w 421"/>
                <a:gd name="T7" fmla="*/ 305 h 329"/>
                <a:gd name="T8" fmla="*/ 8 w 421"/>
                <a:gd name="T9" fmla="*/ 320 h 329"/>
                <a:gd name="T10" fmla="*/ 8 w 421"/>
                <a:gd name="T11" fmla="*/ 320 h 329"/>
                <a:gd name="T12" fmla="*/ 91 w 421"/>
                <a:gd name="T13" fmla="*/ 320 h 329"/>
                <a:gd name="T14" fmla="*/ 122 w 421"/>
                <a:gd name="T15" fmla="*/ 267 h 329"/>
                <a:gd name="T16" fmla="*/ 175 w 421"/>
                <a:gd name="T17" fmla="*/ 259 h 329"/>
                <a:gd name="T18" fmla="*/ 198 w 421"/>
                <a:gd name="T19" fmla="*/ 229 h 329"/>
                <a:gd name="T20" fmla="*/ 298 w 421"/>
                <a:gd name="T21" fmla="*/ 252 h 329"/>
                <a:gd name="T22" fmla="*/ 336 w 421"/>
                <a:gd name="T23" fmla="*/ 290 h 329"/>
                <a:gd name="T24" fmla="*/ 336 w 421"/>
                <a:gd name="T25" fmla="*/ 290 h 329"/>
                <a:gd name="T26" fmla="*/ 397 w 421"/>
                <a:gd name="T27" fmla="*/ 290 h 329"/>
                <a:gd name="T28" fmla="*/ 397 w 421"/>
                <a:gd name="T29" fmla="*/ 252 h 329"/>
                <a:gd name="T30" fmla="*/ 420 w 421"/>
                <a:gd name="T31" fmla="*/ 214 h 329"/>
                <a:gd name="T32" fmla="*/ 420 w 421"/>
                <a:gd name="T33" fmla="*/ 214 h 329"/>
                <a:gd name="T34" fmla="*/ 382 w 421"/>
                <a:gd name="T35" fmla="*/ 145 h 329"/>
                <a:gd name="T36" fmla="*/ 313 w 421"/>
                <a:gd name="T37" fmla="*/ 84 h 329"/>
                <a:gd name="T38" fmla="*/ 267 w 421"/>
                <a:gd name="T39" fmla="*/ 0 h 329"/>
                <a:gd name="T40" fmla="*/ 267 w 421"/>
                <a:gd name="T41" fmla="*/ 0 h 329"/>
                <a:gd name="T42" fmla="*/ 229 w 421"/>
                <a:gd name="T43" fmla="*/ 38 h 329"/>
                <a:gd name="T44" fmla="*/ 206 w 421"/>
                <a:gd name="T45" fmla="*/ 68 h 329"/>
                <a:gd name="T46" fmla="*/ 114 w 421"/>
                <a:gd name="T47" fmla="*/ 53 h 329"/>
                <a:gd name="T48" fmla="*/ 46 w 421"/>
                <a:gd name="T49" fmla="*/ 106 h 329"/>
                <a:gd name="T50" fmla="*/ 38 w 421"/>
                <a:gd name="T51" fmla="*/ 145 h 329"/>
                <a:gd name="T52" fmla="*/ 0 w 421"/>
                <a:gd name="T53" fmla="*/ 23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1" h="329">
                  <a:moveTo>
                    <a:pt x="0" y="236"/>
                  </a:moveTo>
                  <a:lnTo>
                    <a:pt x="0" y="236"/>
                  </a:lnTo>
                  <a:cubicBezTo>
                    <a:pt x="15" y="252"/>
                    <a:pt x="30" y="259"/>
                    <a:pt x="30" y="275"/>
                  </a:cubicBezTo>
                  <a:cubicBezTo>
                    <a:pt x="30" y="290"/>
                    <a:pt x="15" y="290"/>
                    <a:pt x="15" y="305"/>
                  </a:cubicBezTo>
                  <a:cubicBezTo>
                    <a:pt x="15" y="313"/>
                    <a:pt x="8" y="313"/>
                    <a:pt x="8" y="320"/>
                  </a:cubicBezTo>
                  <a:lnTo>
                    <a:pt x="8" y="320"/>
                  </a:lnTo>
                  <a:cubicBezTo>
                    <a:pt x="38" y="320"/>
                    <a:pt x="69" y="328"/>
                    <a:pt x="91" y="320"/>
                  </a:cubicBezTo>
                  <a:cubicBezTo>
                    <a:pt x="107" y="313"/>
                    <a:pt x="107" y="282"/>
                    <a:pt x="122" y="267"/>
                  </a:cubicBezTo>
                  <a:cubicBezTo>
                    <a:pt x="137" y="259"/>
                    <a:pt x="160" y="267"/>
                    <a:pt x="175" y="259"/>
                  </a:cubicBezTo>
                  <a:cubicBezTo>
                    <a:pt x="191" y="259"/>
                    <a:pt x="183" y="236"/>
                    <a:pt x="198" y="229"/>
                  </a:cubicBezTo>
                  <a:cubicBezTo>
                    <a:pt x="229" y="229"/>
                    <a:pt x="267" y="236"/>
                    <a:pt x="298" y="252"/>
                  </a:cubicBezTo>
                  <a:cubicBezTo>
                    <a:pt x="313" y="259"/>
                    <a:pt x="321" y="282"/>
                    <a:pt x="336" y="290"/>
                  </a:cubicBezTo>
                  <a:lnTo>
                    <a:pt x="336" y="290"/>
                  </a:lnTo>
                  <a:cubicBezTo>
                    <a:pt x="359" y="290"/>
                    <a:pt x="382" y="305"/>
                    <a:pt x="397" y="290"/>
                  </a:cubicBezTo>
                  <a:cubicBezTo>
                    <a:pt x="412" y="282"/>
                    <a:pt x="397" y="259"/>
                    <a:pt x="397" y="252"/>
                  </a:cubicBezTo>
                  <a:cubicBezTo>
                    <a:pt x="405" y="236"/>
                    <a:pt x="412" y="221"/>
                    <a:pt x="420" y="214"/>
                  </a:cubicBezTo>
                  <a:lnTo>
                    <a:pt x="420" y="214"/>
                  </a:lnTo>
                  <a:cubicBezTo>
                    <a:pt x="405" y="191"/>
                    <a:pt x="397" y="168"/>
                    <a:pt x="382" y="145"/>
                  </a:cubicBezTo>
                  <a:cubicBezTo>
                    <a:pt x="359" y="122"/>
                    <a:pt x="328" y="106"/>
                    <a:pt x="313" y="84"/>
                  </a:cubicBezTo>
                  <a:cubicBezTo>
                    <a:pt x="290" y="53"/>
                    <a:pt x="283" y="23"/>
                    <a:pt x="267" y="0"/>
                  </a:cubicBezTo>
                  <a:lnTo>
                    <a:pt x="267" y="0"/>
                  </a:lnTo>
                  <a:cubicBezTo>
                    <a:pt x="252" y="7"/>
                    <a:pt x="237" y="23"/>
                    <a:pt x="229" y="38"/>
                  </a:cubicBezTo>
                  <a:cubicBezTo>
                    <a:pt x="221" y="45"/>
                    <a:pt x="221" y="68"/>
                    <a:pt x="206" y="68"/>
                  </a:cubicBezTo>
                  <a:cubicBezTo>
                    <a:pt x="175" y="68"/>
                    <a:pt x="145" y="45"/>
                    <a:pt x="114" y="53"/>
                  </a:cubicBezTo>
                  <a:cubicBezTo>
                    <a:pt x="84" y="61"/>
                    <a:pt x="61" y="84"/>
                    <a:pt x="46" y="106"/>
                  </a:cubicBezTo>
                  <a:cubicBezTo>
                    <a:pt x="38" y="114"/>
                    <a:pt x="46" y="129"/>
                    <a:pt x="38" y="145"/>
                  </a:cubicBezTo>
                  <a:cubicBezTo>
                    <a:pt x="30" y="175"/>
                    <a:pt x="15" y="206"/>
                    <a:pt x="0" y="2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50"/>
            <p:cNvSpPr>
              <a:spLocks noChangeArrowheads="1"/>
            </p:cNvSpPr>
            <p:nvPr/>
          </p:nvSpPr>
          <p:spPr bwMode="auto">
            <a:xfrm>
              <a:off x="6622619" y="6973888"/>
              <a:ext cx="80958" cy="146050"/>
            </a:xfrm>
            <a:custGeom>
              <a:avLst/>
              <a:gdLst>
                <a:gd name="T0" fmla="*/ 199 w 223"/>
                <a:gd name="T1" fmla="*/ 397 h 406"/>
                <a:gd name="T2" fmla="*/ 199 w 223"/>
                <a:gd name="T3" fmla="*/ 397 h 406"/>
                <a:gd name="T4" fmla="*/ 176 w 223"/>
                <a:gd name="T5" fmla="*/ 351 h 406"/>
                <a:gd name="T6" fmla="*/ 222 w 223"/>
                <a:gd name="T7" fmla="*/ 336 h 406"/>
                <a:gd name="T8" fmla="*/ 222 w 223"/>
                <a:gd name="T9" fmla="*/ 336 h 406"/>
                <a:gd name="T10" fmla="*/ 199 w 223"/>
                <a:gd name="T11" fmla="*/ 229 h 406"/>
                <a:gd name="T12" fmla="*/ 207 w 223"/>
                <a:gd name="T13" fmla="*/ 183 h 406"/>
                <a:gd name="T14" fmla="*/ 176 w 223"/>
                <a:gd name="T15" fmla="*/ 137 h 406"/>
                <a:gd name="T16" fmla="*/ 176 w 223"/>
                <a:gd name="T17" fmla="*/ 137 h 406"/>
                <a:gd name="T18" fmla="*/ 145 w 223"/>
                <a:gd name="T19" fmla="*/ 114 h 406"/>
                <a:gd name="T20" fmla="*/ 122 w 223"/>
                <a:gd name="T21" fmla="*/ 15 h 406"/>
                <a:gd name="T22" fmla="*/ 92 w 223"/>
                <a:gd name="T23" fmla="*/ 30 h 406"/>
                <a:gd name="T24" fmla="*/ 23 w 223"/>
                <a:gd name="T25" fmla="*/ 0 h 406"/>
                <a:gd name="T26" fmla="*/ 23 w 223"/>
                <a:gd name="T27" fmla="*/ 0 h 406"/>
                <a:gd name="T28" fmla="*/ 0 w 223"/>
                <a:gd name="T29" fmla="*/ 91 h 406"/>
                <a:gd name="T30" fmla="*/ 0 w 223"/>
                <a:gd name="T31" fmla="*/ 91 h 406"/>
                <a:gd name="T32" fmla="*/ 16 w 223"/>
                <a:gd name="T33" fmla="*/ 153 h 406"/>
                <a:gd name="T34" fmla="*/ 0 w 223"/>
                <a:gd name="T35" fmla="*/ 206 h 406"/>
                <a:gd name="T36" fmla="*/ 23 w 223"/>
                <a:gd name="T37" fmla="*/ 252 h 406"/>
                <a:gd name="T38" fmla="*/ 23 w 223"/>
                <a:gd name="T39" fmla="*/ 298 h 406"/>
                <a:gd name="T40" fmla="*/ 61 w 223"/>
                <a:gd name="T41" fmla="*/ 351 h 406"/>
                <a:gd name="T42" fmla="*/ 61 w 223"/>
                <a:gd name="T43" fmla="*/ 351 h 406"/>
                <a:gd name="T44" fmla="*/ 115 w 223"/>
                <a:gd name="T45" fmla="*/ 382 h 406"/>
                <a:gd name="T46" fmla="*/ 130 w 223"/>
                <a:gd name="T47" fmla="*/ 397 h 406"/>
                <a:gd name="T48" fmla="*/ 199 w 223"/>
                <a:gd name="T49" fmla="*/ 397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" h="406">
                  <a:moveTo>
                    <a:pt x="199" y="397"/>
                  </a:moveTo>
                  <a:lnTo>
                    <a:pt x="199" y="397"/>
                  </a:lnTo>
                  <a:cubicBezTo>
                    <a:pt x="191" y="382"/>
                    <a:pt x="168" y="366"/>
                    <a:pt x="176" y="351"/>
                  </a:cubicBezTo>
                  <a:cubicBezTo>
                    <a:pt x="176" y="336"/>
                    <a:pt x="207" y="336"/>
                    <a:pt x="222" y="336"/>
                  </a:cubicBezTo>
                  <a:lnTo>
                    <a:pt x="222" y="336"/>
                  </a:lnTo>
                  <a:cubicBezTo>
                    <a:pt x="214" y="298"/>
                    <a:pt x="199" y="259"/>
                    <a:pt x="199" y="229"/>
                  </a:cubicBezTo>
                  <a:cubicBezTo>
                    <a:pt x="191" y="214"/>
                    <a:pt x="207" y="198"/>
                    <a:pt x="207" y="183"/>
                  </a:cubicBezTo>
                  <a:cubicBezTo>
                    <a:pt x="199" y="168"/>
                    <a:pt x="191" y="153"/>
                    <a:pt x="176" y="137"/>
                  </a:cubicBezTo>
                  <a:lnTo>
                    <a:pt x="176" y="137"/>
                  </a:lnTo>
                  <a:cubicBezTo>
                    <a:pt x="168" y="130"/>
                    <a:pt x="153" y="130"/>
                    <a:pt x="145" y="114"/>
                  </a:cubicBezTo>
                  <a:cubicBezTo>
                    <a:pt x="130" y="84"/>
                    <a:pt x="138" y="38"/>
                    <a:pt x="122" y="15"/>
                  </a:cubicBezTo>
                  <a:cubicBezTo>
                    <a:pt x="115" y="0"/>
                    <a:pt x="107" y="38"/>
                    <a:pt x="92" y="30"/>
                  </a:cubicBezTo>
                  <a:cubicBezTo>
                    <a:pt x="69" y="30"/>
                    <a:pt x="46" y="15"/>
                    <a:pt x="23" y="0"/>
                  </a:cubicBezTo>
                  <a:lnTo>
                    <a:pt x="23" y="0"/>
                  </a:lnTo>
                  <a:cubicBezTo>
                    <a:pt x="0" y="91"/>
                    <a:pt x="0" y="91"/>
                    <a:pt x="0" y="91"/>
                  </a:cubicBezTo>
                  <a:lnTo>
                    <a:pt x="0" y="91"/>
                  </a:lnTo>
                  <a:cubicBezTo>
                    <a:pt x="8" y="114"/>
                    <a:pt x="16" y="130"/>
                    <a:pt x="16" y="153"/>
                  </a:cubicBezTo>
                  <a:cubicBezTo>
                    <a:pt x="16" y="168"/>
                    <a:pt x="0" y="183"/>
                    <a:pt x="0" y="206"/>
                  </a:cubicBezTo>
                  <a:cubicBezTo>
                    <a:pt x="0" y="221"/>
                    <a:pt x="16" y="236"/>
                    <a:pt x="23" y="252"/>
                  </a:cubicBezTo>
                  <a:cubicBezTo>
                    <a:pt x="23" y="267"/>
                    <a:pt x="16" y="282"/>
                    <a:pt x="23" y="298"/>
                  </a:cubicBezTo>
                  <a:cubicBezTo>
                    <a:pt x="31" y="321"/>
                    <a:pt x="46" y="328"/>
                    <a:pt x="61" y="351"/>
                  </a:cubicBezTo>
                  <a:lnTo>
                    <a:pt x="61" y="351"/>
                  </a:lnTo>
                  <a:cubicBezTo>
                    <a:pt x="77" y="359"/>
                    <a:pt x="92" y="374"/>
                    <a:pt x="115" y="382"/>
                  </a:cubicBezTo>
                  <a:cubicBezTo>
                    <a:pt x="115" y="389"/>
                    <a:pt x="122" y="397"/>
                    <a:pt x="130" y="397"/>
                  </a:cubicBezTo>
                  <a:cubicBezTo>
                    <a:pt x="153" y="405"/>
                    <a:pt x="176" y="397"/>
                    <a:pt x="199" y="39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51"/>
            <p:cNvSpPr>
              <a:spLocks noChangeArrowheads="1"/>
            </p:cNvSpPr>
            <p:nvPr/>
          </p:nvSpPr>
          <p:spPr bwMode="auto">
            <a:xfrm>
              <a:off x="6489278" y="6996114"/>
              <a:ext cx="157153" cy="115887"/>
            </a:xfrm>
            <a:custGeom>
              <a:avLst/>
              <a:gdLst>
                <a:gd name="T0" fmla="*/ 260 w 436"/>
                <a:gd name="T1" fmla="*/ 298 h 322"/>
                <a:gd name="T2" fmla="*/ 260 w 436"/>
                <a:gd name="T3" fmla="*/ 298 h 322"/>
                <a:gd name="T4" fmla="*/ 290 w 436"/>
                <a:gd name="T5" fmla="*/ 267 h 322"/>
                <a:gd name="T6" fmla="*/ 351 w 436"/>
                <a:gd name="T7" fmla="*/ 283 h 322"/>
                <a:gd name="T8" fmla="*/ 405 w 436"/>
                <a:gd name="T9" fmla="*/ 313 h 322"/>
                <a:gd name="T10" fmla="*/ 435 w 436"/>
                <a:gd name="T11" fmla="*/ 290 h 322"/>
                <a:gd name="T12" fmla="*/ 435 w 436"/>
                <a:gd name="T13" fmla="*/ 290 h 322"/>
                <a:gd name="T14" fmla="*/ 397 w 436"/>
                <a:gd name="T15" fmla="*/ 237 h 322"/>
                <a:gd name="T16" fmla="*/ 397 w 436"/>
                <a:gd name="T17" fmla="*/ 191 h 322"/>
                <a:gd name="T18" fmla="*/ 374 w 436"/>
                <a:gd name="T19" fmla="*/ 145 h 322"/>
                <a:gd name="T20" fmla="*/ 390 w 436"/>
                <a:gd name="T21" fmla="*/ 92 h 322"/>
                <a:gd name="T22" fmla="*/ 374 w 436"/>
                <a:gd name="T23" fmla="*/ 30 h 322"/>
                <a:gd name="T24" fmla="*/ 374 w 436"/>
                <a:gd name="T25" fmla="*/ 30 h 322"/>
                <a:gd name="T26" fmla="*/ 321 w 436"/>
                <a:gd name="T27" fmla="*/ 53 h 322"/>
                <a:gd name="T28" fmla="*/ 283 w 436"/>
                <a:gd name="T29" fmla="*/ 0 h 322"/>
                <a:gd name="T30" fmla="*/ 260 w 436"/>
                <a:gd name="T31" fmla="*/ 46 h 322"/>
                <a:gd name="T32" fmla="*/ 229 w 436"/>
                <a:gd name="T33" fmla="*/ 69 h 322"/>
                <a:gd name="T34" fmla="*/ 168 w 436"/>
                <a:gd name="T35" fmla="*/ 46 h 322"/>
                <a:gd name="T36" fmla="*/ 168 w 436"/>
                <a:gd name="T37" fmla="*/ 46 h 322"/>
                <a:gd name="T38" fmla="*/ 92 w 436"/>
                <a:gd name="T39" fmla="*/ 122 h 322"/>
                <a:gd name="T40" fmla="*/ 46 w 436"/>
                <a:gd name="T41" fmla="*/ 84 h 322"/>
                <a:gd name="T42" fmla="*/ 0 w 436"/>
                <a:gd name="T43" fmla="*/ 137 h 322"/>
                <a:gd name="T44" fmla="*/ 0 w 436"/>
                <a:gd name="T45" fmla="*/ 137 h 322"/>
                <a:gd name="T46" fmla="*/ 77 w 436"/>
                <a:gd name="T47" fmla="*/ 175 h 322"/>
                <a:gd name="T48" fmla="*/ 92 w 436"/>
                <a:gd name="T49" fmla="*/ 260 h 322"/>
                <a:gd name="T50" fmla="*/ 130 w 436"/>
                <a:gd name="T51" fmla="*/ 313 h 322"/>
                <a:gd name="T52" fmla="*/ 199 w 436"/>
                <a:gd name="T53" fmla="*/ 283 h 322"/>
                <a:gd name="T54" fmla="*/ 260 w 436"/>
                <a:gd name="T55" fmla="*/ 29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6" h="322">
                  <a:moveTo>
                    <a:pt x="260" y="298"/>
                  </a:moveTo>
                  <a:lnTo>
                    <a:pt x="260" y="298"/>
                  </a:lnTo>
                  <a:cubicBezTo>
                    <a:pt x="275" y="290"/>
                    <a:pt x="275" y="275"/>
                    <a:pt x="290" y="267"/>
                  </a:cubicBezTo>
                  <a:cubicBezTo>
                    <a:pt x="313" y="267"/>
                    <a:pt x="336" y="275"/>
                    <a:pt x="351" y="283"/>
                  </a:cubicBezTo>
                  <a:cubicBezTo>
                    <a:pt x="374" y="290"/>
                    <a:pt x="382" y="313"/>
                    <a:pt x="405" y="313"/>
                  </a:cubicBezTo>
                  <a:cubicBezTo>
                    <a:pt x="413" y="313"/>
                    <a:pt x="420" y="298"/>
                    <a:pt x="435" y="290"/>
                  </a:cubicBezTo>
                  <a:lnTo>
                    <a:pt x="435" y="290"/>
                  </a:lnTo>
                  <a:cubicBezTo>
                    <a:pt x="420" y="267"/>
                    <a:pt x="405" y="260"/>
                    <a:pt x="397" y="237"/>
                  </a:cubicBezTo>
                  <a:cubicBezTo>
                    <a:pt x="390" y="221"/>
                    <a:pt x="397" y="206"/>
                    <a:pt x="397" y="191"/>
                  </a:cubicBezTo>
                  <a:cubicBezTo>
                    <a:pt x="390" y="175"/>
                    <a:pt x="374" y="160"/>
                    <a:pt x="374" y="145"/>
                  </a:cubicBezTo>
                  <a:cubicBezTo>
                    <a:pt x="374" y="122"/>
                    <a:pt x="390" y="107"/>
                    <a:pt x="390" y="92"/>
                  </a:cubicBezTo>
                  <a:cubicBezTo>
                    <a:pt x="390" y="69"/>
                    <a:pt x="382" y="53"/>
                    <a:pt x="374" y="30"/>
                  </a:cubicBezTo>
                  <a:lnTo>
                    <a:pt x="374" y="30"/>
                  </a:lnTo>
                  <a:cubicBezTo>
                    <a:pt x="359" y="38"/>
                    <a:pt x="336" y="61"/>
                    <a:pt x="321" y="53"/>
                  </a:cubicBezTo>
                  <a:cubicBezTo>
                    <a:pt x="298" y="46"/>
                    <a:pt x="306" y="0"/>
                    <a:pt x="283" y="0"/>
                  </a:cubicBezTo>
                  <a:cubicBezTo>
                    <a:pt x="260" y="0"/>
                    <a:pt x="275" y="38"/>
                    <a:pt x="260" y="46"/>
                  </a:cubicBezTo>
                  <a:cubicBezTo>
                    <a:pt x="252" y="61"/>
                    <a:pt x="244" y="69"/>
                    <a:pt x="229" y="69"/>
                  </a:cubicBezTo>
                  <a:cubicBezTo>
                    <a:pt x="214" y="69"/>
                    <a:pt x="191" y="53"/>
                    <a:pt x="168" y="46"/>
                  </a:cubicBezTo>
                  <a:lnTo>
                    <a:pt x="168" y="46"/>
                  </a:lnTo>
                  <a:cubicBezTo>
                    <a:pt x="145" y="69"/>
                    <a:pt x="130" y="107"/>
                    <a:pt x="92" y="122"/>
                  </a:cubicBezTo>
                  <a:cubicBezTo>
                    <a:pt x="77" y="122"/>
                    <a:pt x="69" y="76"/>
                    <a:pt x="46" y="84"/>
                  </a:cubicBezTo>
                  <a:cubicBezTo>
                    <a:pt x="23" y="84"/>
                    <a:pt x="15" y="114"/>
                    <a:pt x="0" y="137"/>
                  </a:cubicBezTo>
                  <a:lnTo>
                    <a:pt x="0" y="137"/>
                  </a:lnTo>
                  <a:cubicBezTo>
                    <a:pt x="23" y="145"/>
                    <a:pt x="61" y="153"/>
                    <a:pt x="77" y="175"/>
                  </a:cubicBezTo>
                  <a:cubicBezTo>
                    <a:pt x="92" y="198"/>
                    <a:pt x="77" y="229"/>
                    <a:pt x="92" y="260"/>
                  </a:cubicBezTo>
                  <a:cubicBezTo>
                    <a:pt x="99" y="283"/>
                    <a:pt x="107" y="313"/>
                    <a:pt x="130" y="313"/>
                  </a:cubicBezTo>
                  <a:cubicBezTo>
                    <a:pt x="153" y="321"/>
                    <a:pt x="176" y="283"/>
                    <a:pt x="199" y="283"/>
                  </a:cubicBezTo>
                  <a:cubicBezTo>
                    <a:pt x="221" y="275"/>
                    <a:pt x="244" y="298"/>
                    <a:pt x="260" y="2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52"/>
            <p:cNvSpPr>
              <a:spLocks noChangeArrowheads="1"/>
            </p:cNvSpPr>
            <p:nvPr/>
          </p:nvSpPr>
          <p:spPr bwMode="auto">
            <a:xfrm>
              <a:off x="6524200" y="6869113"/>
              <a:ext cx="107943" cy="152400"/>
            </a:xfrm>
            <a:custGeom>
              <a:avLst/>
              <a:gdLst>
                <a:gd name="T0" fmla="*/ 69 w 299"/>
                <a:gd name="T1" fmla="*/ 398 h 422"/>
                <a:gd name="T2" fmla="*/ 69 w 299"/>
                <a:gd name="T3" fmla="*/ 398 h 422"/>
                <a:gd name="T4" fmla="*/ 130 w 299"/>
                <a:gd name="T5" fmla="*/ 421 h 422"/>
                <a:gd name="T6" fmla="*/ 161 w 299"/>
                <a:gd name="T7" fmla="*/ 398 h 422"/>
                <a:gd name="T8" fmla="*/ 184 w 299"/>
                <a:gd name="T9" fmla="*/ 352 h 422"/>
                <a:gd name="T10" fmla="*/ 222 w 299"/>
                <a:gd name="T11" fmla="*/ 405 h 422"/>
                <a:gd name="T12" fmla="*/ 275 w 299"/>
                <a:gd name="T13" fmla="*/ 382 h 422"/>
                <a:gd name="T14" fmla="*/ 275 w 299"/>
                <a:gd name="T15" fmla="*/ 382 h 422"/>
                <a:gd name="T16" fmla="*/ 298 w 299"/>
                <a:gd name="T17" fmla="*/ 291 h 422"/>
                <a:gd name="T18" fmla="*/ 298 w 299"/>
                <a:gd name="T19" fmla="*/ 291 h 422"/>
                <a:gd name="T20" fmla="*/ 283 w 299"/>
                <a:gd name="T21" fmla="*/ 245 h 422"/>
                <a:gd name="T22" fmla="*/ 245 w 299"/>
                <a:gd name="T23" fmla="*/ 230 h 422"/>
                <a:gd name="T24" fmla="*/ 191 w 299"/>
                <a:gd name="T25" fmla="*/ 123 h 422"/>
                <a:gd name="T26" fmla="*/ 176 w 299"/>
                <a:gd name="T27" fmla="*/ 31 h 422"/>
                <a:gd name="T28" fmla="*/ 130 w 299"/>
                <a:gd name="T29" fmla="*/ 0 h 422"/>
                <a:gd name="T30" fmla="*/ 84 w 299"/>
                <a:gd name="T31" fmla="*/ 31 h 422"/>
                <a:gd name="T32" fmla="*/ 23 w 299"/>
                <a:gd name="T33" fmla="*/ 39 h 422"/>
                <a:gd name="T34" fmla="*/ 8 w 299"/>
                <a:gd name="T35" fmla="*/ 77 h 422"/>
                <a:gd name="T36" fmla="*/ 8 w 299"/>
                <a:gd name="T37" fmla="*/ 146 h 422"/>
                <a:gd name="T38" fmla="*/ 77 w 299"/>
                <a:gd name="T39" fmla="*/ 214 h 422"/>
                <a:gd name="T40" fmla="*/ 46 w 299"/>
                <a:gd name="T41" fmla="*/ 291 h 422"/>
                <a:gd name="T42" fmla="*/ 69 w 299"/>
                <a:gd name="T43" fmla="*/ 3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9" h="422">
                  <a:moveTo>
                    <a:pt x="69" y="398"/>
                  </a:moveTo>
                  <a:lnTo>
                    <a:pt x="69" y="398"/>
                  </a:lnTo>
                  <a:cubicBezTo>
                    <a:pt x="92" y="405"/>
                    <a:pt x="115" y="421"/>
                    <a:pt x="130" y="421"/>
                  </a:cubicBezTo>
                  <a:cubicBezTo>
                    <a:pt x="145" y="421"/>
                    <a:pt x="153" y="413"/>
                    <a:pt x="161" y="398"/>
                  </a:cubicBezTo>
                  <a:cubicBezTo>
                    <a:pt x="176" y="390"/>
                    <a:pt x="161" y="352"/>
                    <a:pt x="184" y="352"/>
                  </a:cubicBezTo>
                  <a:cubicBezTo>
                    <a:pt x="207" y="352"/>
                    <a:pt x="199" y="398"/>
                    <a:pt x="222" y="405"/>
                  </a:cubicBezTo>
                  <a:cubicBezTo>
                    <a:pt x="237" y="413"/>
                    <a:pt x="260" y="390"/>
                    <a:pt x="275" y="382"/>
                  </a:cubicBezTo>
                  <a:lnTo>
                    <a:pt x="275" y="382"/>
                  </a:lnTo>
                  <a:cubicBezTo>
                    <a:pt x="298" y="291"/>
                    <a:pt x="298" y="291"/>
                    <a:pt x="298" y="291"/>
                  </a:cubicBezTo>
                  <a:lnTo>
                    <a:pt x="298" y="291"/>
                  </a:lnTo>
                  <a:cubicBezTo>
                    <a:pt x="291" y="275"/>
                    <a:pt x="291" y="252"/>
                    <a:pt x="283" y="245"/>
                  </a:cubicBezTo>
                  <a:cubicBezTo>
                    <a:pt x="275" y="230"/>
                    <a:pt x="260" y="230"/>
                    <a:pt x="245" y="230"/>
                  </a:cubicBezTo>
                  <a:cubicBezTo>
                    <a:pt x="245" y="230"/>
                    <a:pt x="191" y="130"/>
                    <a:pt x="191" y="123"/>
                  </a:cubicBezTo>
                  <a:lnTo>
                    <a:pt x="176" y="31"/>
                  </a:lnTo>
                  <a:cubicBezTo>
                    <a:pt x="161" y="16"/>
                    <a:pt x="145" y="0"/>
                    <a:pt x="130" y="0"/>
                  </a:cubicBezTo>
                  <a:cubicBezTo>
                    <a:pt x="107" y="0"/>
                    <a:pt x="100" y="23"/>
                    <a:pt x="84" y="31"/>
                  </a:cubicBezTo>
                  <a:cubicBezTo>
                    <a:pt x="69" y="39"/>
                    <a:pt x="39" y="23"/>
                    <a:pt x="23" y="39"/>
                  </a:cubicBezTo>
                  <a:cubicBezTo>
                    <a:pt x="8" y="46"/>
                    <a:pt x="16" y="69"/>
                    <a:pt x="8" y="77"/>
                  </a:cubicBezTo>
                  <a:cubicBezTo>
                    <a:pt x="8" y="100"/>
                    <a:pt x="0" y="130"/>
                    <a:pt x="8" y="146"/>
                  </a:cubicBezTo>
                  <a:cubicBezTo>
                    <a:pt x="23" y="176"/>
                    <a:pt x="69" y="184"/>
                    <a:pt x="77" y="214"/>
                  </a:cubicBezTo>
                  <a:cubicBezTo>
                    <a:pt x="77" y="237"/>
                    <a:pt x="46" y="260"/>
                    <a:pt x="46" y="291"/>
                  </a:cubicBezTo>
                  <a:cubicBezTo>
                    <a:pt x="46" y="329"/>
                    <a:pt x="61" y="360"/>
                    <a:pt x="69" y="3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53"/>
            <p:cNvSpPr>
              <a:spLocks noChangeArrowheads="1"/>
            </p:cNvSpPr>
            <p:nvPr/>
          </p:nvSpPr>
          <p:spPr bwMode="auto">
            <a:xfrm>
              <a:off x="6681353" y="6958014"/>
              <a:ext cx="149215" cy="149225"/>
            </a:xfrm>
            <a:custGeom>
              <a:avLst/>
              <a:gdLst>
                <a:gd name="T0" fmla="*/ 61 w 413"/>
                <a:gd name="T1" fmla="*/ 382 h 413"/>
                <a:gd name="T2" fmla="*/ 61 w 413"/>
                <a:gd name="T3" fmla="*/ 382 h 413"/>
                <a:gd name="T4" fmla="*/ 145 w 413"/>
                <a:gd name="T5" fmla="*/ 412 h 413"/>
                <a:gd name="T6" fmla="*/ 145 w 413"/>
                <a:gd name="T7" fmla="*/ 412 h 413"/>
                <a:gd name="T8" fmla="*/ 183 w 413"/>
                <a:gd name="T9" fmla="*/ 321 h 413"/>
                <a:gd name="T10" fmla="*/ 191 w 413"/>
                <a:gd name="T11" fmla="*/ 282 h 413"/>
                <a:gd name="T12" fmla="*/ 259 w 413"/>
                <a:gd name="T13" fmla="*/ 229 h 413"/>
                <a:gd name="T14" fmla="*/ 351 w 413"/>
                <a:gd name="T15" fmla="*/ 244 h 413"/>
                <a:gd name="T16" fmla="*/ 374 w 413"/>
                <a:gd name="T17" fmla="*/ 214 h 413"/>
                <a:gd name="T18" fmla="*/ 412 w 413"/>
                <a:gd name="T19" fmla="*/ 176 h 413"/>
                <a:gd name="T20" fmla="*/ 412 w 413"/>
                <a:gd name="T21" fmla="*/ 176 h 413"/>
                <a:gd name="T22" fmla="*/ 366 w 413"/>
                <a:gd name="T23" fmla="*/ 115 h 413"/>
                <a:gd name="T24" fmla="*/ 366 w 413"/>
                <a:gd name="T25" fmla="*/ 69 h 413"/>
                <a:gd name="T26" fmla="*/ 336 w 413"/>
                <a:gd name="T27" fmla="*/ 7 h 413"/>
                <a:gd name="T28" fmla="*/ 298 w 413"/>
                <a:gd name="T29" fmla="*/ 46 h 413"/>
                <a:gd name="T30" fmla="*/ 252 w 413"/>
                <a:gd name="T31" fmla="*/ 38 h 413"/>
                <a:gd name="T32" fmla="*/ 236 w 413"/>
                <a:gd name="T33" fmla="*/ 7 h 413"/>
                <a:gd name="T34" fmla="*/ 206 w 413"/>
                <a:gd name="T35" fmla="*/ 23 h 413"/>
                <a:gd name="T36" fmla="*/ 206 w 413"/>
                <a:gd name="T37" fmla="*/ 23 h 413"/>
                <a:gd name="T38" fmla="*/ 175 w 413"/>
                <a:gd name="T39" fmla="*/ 69 h 413"/>
                <a:gd name="T40" fmla="*/ 183 w 413"/>
                <a:gd name="T41" fmla="*/ 130 h 413"/>
                <a:gd name="T42" fmla="*/ 145 w 413"/>
                <a:gd name="T43" fmla="*/ 107 h 413"/>
                <a:gd name="T44" fmla="*/ 91 w 413"/>
                <a:gd name="T45" fmla="*/ 46 h 413"/>
                <a:gd name="T46" fmla="*/ 15 w 413"/>
                <a:gd name="T47" fmla="*/ 92 h 413"/>
                <a:gd name="T48" fmla="*/ 15 w 413"/>
                <a:gd name="T49" fmla="*/ 183 h 413"/>
                <a:gd name="T50" fmla="*/ 15 w 413"/>
                <a:gd name="T51" fmla="*/ 183 h 413"/>
                <a:gd name="T52" fmla="*/ 46 w 413"/>
                <a:gd name="T53" fmla="*/ 229 h 413"/>
                <a:gd name="T54" fmla="*/ 38 w 413"/>
                <a:gd name="T55" fmla="*/ 275 h 413"/>
                <a:gd name="T56" fmla="*/ 61 w 413"/>
                <a:gd name="T57" fmla="*/ 382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3" h="413">
                  <a:moveTo>
                    <a:pt x="61" y="382"/>
                  </a:moveTo>
                  <a:lnTo>
                    <a:pt x="61" y="382"/>
                  </a:lnTo>
                  <a:cubicBezTo>
                    <a:pt x="145" y="412"/>
                    <a:pt x="145" y="412"/>
                    <a:pt x="145" y="412"/>
                  </a:cubicBezTo>
                  <a:lnTo>
                    <a:pt x="145" y="412"/>
                  </a:lnTo>
                  <a:cubicBezTo>
                    <a:pt x="160" y="382"/>
                    <a:pt x="175" y="351"/>
                    <a:pt x="183" y="321"/>
                  </a:cubicBezTo>
                  <a:cubicBezTo>
                    <a:pt x="191" y="305"/>
                    <a:pt x="183" y="290"/>
                    <a:pt x="191" y="282"/>
                  </a:cubicBezTo>
                  <a:cubicBezTo>
                    <a:pt x="206" y="260"/>
                    <a:pt x="229" y="237"/>
                    <a:pt x="259" y="229"/>
                  </a:cubicBezTo>
                  <a:cubicBezTo>
                    <a:pt x="290" y="221"/>
                    <a:pt x="320" y="244"/>
                    <a:pt x="351" y="244"/>
                  </a:cubicBezTo>
                  <a:cubicBezTo>
                    <a:pt x="366" y="244"/>
                    <a:pt x="366" y="221"/>
                    <a:pt x="374" y="214"/>
                  </a:cubicBezTo>
                  <a:cubicBezTo>
                    <a:pt x="382" y="199"/>
                    <a:pt x="397" y="183"/>
                    <a:pt x="412" y="176"/>
                  </a:cubicBezTo>
                  <a:lnTo>
                    <a:pt x="412" y="176"/>
                  </a:lnTo>
                  <a:cubicBezTo>
                    <a:pt x="397" y="153"/>
                    <a:pt x="374" y="137"/>
                    <a:pt x="366" y="115"/>
                  </a:cubicBezTo>
                  <a:cubicBezTo>
                    <a:pt x="359" y="99"/>
                    <a:pt x="374" y="84"/>
                    <a:pt x="366" y="69"/>
                  </a:cubicBezTo>
                  <a:cubicBezTo>
                    <a:pt x="366" y="46"/>
                    <a:pt x="359" y="15"/>
                    <a:pt x="336" y="7"/>
                  </a:cubicBezTo>
                  <a:cubicBezTo>
                    <a:pt x="320" y="0"/>
                    <a:pt x="313" y="38"/>
                    <a:pt x="298" y="46"/>
                  </a:cubicBezTo>
                  <a:cubicBezTo>
                    <a:pt x="282" y="46"/>
                    <a:pt x="267" y="46"/>
                    <a:pt x="252" y="38"/>
                  </a:cubicBezTo>
                  <a:cubicBezTo>
                    <a:pt x="244" y="30"/>
                    <a:pt x="244" y="7"/>
                    <a:pt x="236" y="7"/>
                  </a:cubicBezTo>
                  <a:cubicBezTo>
                    <a:pt x="221" y="7"/>
                    <a:pt x="214" y="15"/>
                    <a:pt x="206" y="23"/>
                  </a:cubicBezTo>
                  <a:lnTo>
                    <a:pt x="206" y="23"/>
                  </a:lnTo>
                  <a:cubicBezTo>
                    <a:pt x="198" y="38"/>
                    <a:pt x="175" y="53"/>
                    <a:pt x="175" y="69"/>
                  </a:cubicBezTo>
                  <a:cubicBezTo>
                    <a:pt x="168" y="84"/>
                    <a:pt x="198" y="115"/>
                    <a:pt x="183" y="130"/>
                  </a:cubicBezTo>
                  <a:cubicBezTo>
                    <a:pt x="175" y="137"/>
                    <a:pt x="160" y="122"/>
                    <a:pt x="145" y="107"/>
                  </a:cubicBezTo>
                  <a:cubicBezTo>
                    <a:pt x="122" y="92"/>
                    <a:pt x="122" y="46"/>
                    <a:pt x="91" y="46"/>
                  </a:cubicBezTo>
                  <a:cubicBezTo>
                    <a:pt x="61" y="38"/>
                    <a:pt x="30" y="61"/>
                    <a:pt x="15" y="92"/>
                  </a:cubicBezTo>
                  <a:cubicBezTo>
                    <a:pt x="0" y="115"/>
                    <a:pt x="15" y="153"/>
                    <a:pt x="15" y="183"/>
                  </a:cubicBezTo>
                  <a:lnTo>
                    <a:pt x="15" y="183"/>
                  </a:lnTo>
                  <a:cubicBezTo>
                    <a:pt x="30" y="199"/>
                    <a:pt x="38" y="214"/>
                    <a:pt x="46" y="229"/>
                  </a:cubicBezTo>
                  <a:cubicBezTo>
                    <a:pt x="46" y="244"/>
                    <a:pt x="30" y="260"/>
                    <a:pt x="38" y="275"/>
                  </a:cubicBezTo>
                  <a:cubicBezTo>
                    <a:pt x="38" y="305"/>
                    <a:pt x="53" y="344"/>
                    <a:pt x="61" y="38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54"/>
            <p:cNvSpPr>
              <a:spLocks noChangeArrowheads="1"/>
            </p:cNvSpPr>
            <p:nvPr/>
          </p:nvSpPr>
          <p:spPr bwMode="auto">
            <a:xfrm>
              <a:off x="6828980" y="6889751"/>
              <a:ext cx="247634" cy="225425"/>
            </a:xfrm>
            <a:custGeom>
              <a:avLst/>
              <a:gdLst>
                <a:gd name="T0" fmla="*/ 0 w 689"/>
                <a:gd name="T1" fmla="*/ 367 h 627"/>
                <a:gd name="T2" fmla="*/ 0 w 689"/>
                <a:gd name="T3" fmla="*/ 367 h 627"/>
                <a:gd name="T4" fmla="*/ 46 w 689"/>
                <a:gd name="T5" fmla="*/ 451 h 627"/>
                <a:gd name="T6" fmla="*/ 115 w 689"/>
                <a:gd name="T7" fmla="*/ 512 h 627"/>
                <a:gd name="T8" fmla="*/ 153 w 689"/>
                <a:gd name="T9" fmla="*/ 581 h 627"/>
                <a:gd name="T10" fmla="*/ 153 w 689"/>
                <a:gd name="T11" fmla="*/ 581 h 627"/>
                <a:gd name="T12" fmla="*/ 191 w 689"/>
                <a:gd name="T13" fmla="*/ 596 h 627"/>
                <a:gd name="T14" fmla="*/ 214 w 689"/>
                <a:gd name="T15" fmla="*/ 581 h 627"/>
                <a:gd name="T16" fmla="*/ 260 w 689"/>
                <a:gd name="T17" fmla="*/ 626 h 627"/>
                <a:gd name="T18" fmla="*/ 298 w 689"/>
                <a:gd name="T19" fmla="*/ 626 h 627"/>
                <a:gd name="T20" fmla="*/ 298 w 689"/>
                <a:gd name="T21" fmla="*/ 626 h 627"/>
                <a:gd name="T22" fmla="*/ 313 w 689"/>
                <a:gd name="T23" fmla="*/ 596 h 627"/>
                <a:gd name="T24" fmla="*/ 405 w 689"/>
                <a:gd name="T25" fmla="*/ 581 h 627"/>
                <a:gd name="T26" fmla="*/ 458 w 689"/>
                <a:gd name="T27" fmla="*/ 527 h 627"/>
                <a:gd name="T28" fmla="*/ 474 w 689"/>
                <a:gd name="T29" fmla="*/ 527 h 627"/>
                <a:gd name="T30" fmla="*/ 535 w 689"/>
                <a:gd name="T31" fmla="*/ 542 h 627"/>
                <a:gd name="T32" fmla="*/ 619 w 689"/>
                <a:gd name="T33" fmla="*/ 504 h 627"/>
                <a:gd name="T34" fmla="*/ 665 w 689"/>
                <a:gd name="T35" fmla="*/ 412 h 627"/>
                <a:gd name="T36" fmla="*/ 665 w 689"/>
                <a:gd name="T37" fmla="*/ 412 h 627"/>
                <a:gd name="T38" fmla="*/ 611 w 689"/>
                <a:gd name="T39" fmla="*/ 336 h 627"/>
                <a:gd name="T40" fmla="*/ 604 w 689"/>
                <a:gd name="T41" fmla="*/ 306 h 627"/>
                <a:gd name="T42" fmla="*/ 649 w 689"/>
                <a:gd name="T43" fmla="*/ 252 h 627"/>
                <a:gd name="T44" fmla="*/ 627 w 689"/>
                <a:gd name="T45" fmla="*/ 221 h 627"/>
                <a:gd name="T46" fmla="*/ 642 w 689"/>
                <a:gd name="T47" fmla="*/ 198 h 627"/>
                <a:gd name="T48" fmla="*/ 627 w 689"/>
                <a:gd name="T49" fmla="*/ 168 h 627"/>
                <a:gd name="T50" fmla="*/ 688 w 689"/>
                <a:gd name="T51" fmla="*/ 145 h 627"/>
                <a:gd name="T52" fmla="*/ 688 w 689"/>
                <a:gd name="T53" fmla="*/ 145 h 627"/>
                <a:gd name="T54" fmla="*/ 588 w 689"/>
                <a:gd name="T55" fmla="*/ 99 h 627"/>
                <a:gd name="T56" fmla="*/ 581 w 689"/>
                <a:gd name="T57" fmla="*/ 38 h 627"/>
                <a:gd name="T58" fmla="*/ 543 w 689"/>
                <a:gd name="T59" fmla="*/ 38 h 627"/>
                <a:gd name="T60" fmla="*/ 512 w 689"/>
                <a:gd name="T61" fmla="*/ 15 h 627"/>
                <a:gd name="T62" fmla="*/ 512 w 689"/>
                <a:gd name="T63" fmla="*/ 15 h 627"/>
                <a:gd name="T64" fmla="*/ 451 w 689"/>
                <a:gd name="T65" fmla="*/ 8 h 627"/>
                <a:gd name="T66" fmla="*/ 435 w 689"/>
                <a:gd name="T67" fmla="*/ 54 h 627"/>
                <a:gd name="T68" fmla="*/ 382 w 689"/>
                <a:gd name="T69" fmla="*/ 84 h 627"/>
                <a:gd name="T70" fmla="*/ 382 w 689"/>
                <a:gd name="T71" fmla="*/ 84 h 627"/>
                <a:gd name="T72" fmla="*/ 428 w 689"/>
                <a:gd name="T73" fmla="*/ 130 h 627"/>
                <a:gd name="T74" fmla="*/ 435 w 689"/>
                <a:gd name="T75" fmla="*/ 206 h 627"/>
                <a:gd name="T76" fmla="*/ 390 w 689"/>
                <a:gd name="T77" fmla="*/ 183 h 627"/>
                <a:gd name="T78" fmla="*/ 275 w 689"/>
                <a:gd name="T79" fmla="*/ 244 h 627"/>
                <a:gd name="T80" fmla="*/ 168 w 689"/>
                <a:gd name="T81" fmla="*/ 306 h 627"/>
                <a:gd name="T82" fmla="*/ 115 w 689"/>
                <a:gd name="T83" fmla="*/ 306 h 627"/>
                <a:gd name="T84" fmla="*/ 92 w 689"/>
                <a:gd name="T85" fmla="*/ 336 h 627"/>
                <a:gd name="T86" fmla="*/ 0 w 689"/>
                <a:gd name="T87" fmla="*/ 36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9" h="627">
                  <a:moveTo>
                    <a:pt x="0" y="367"/>
                  </a:moveTo>
                  <a:lnTo>
                    <a:pt x="0" y="367"/>
                  </a:lnTo>
                  <a:cubicBezTo>
                    <a:pt x="16" y="390"/>
                    <a:pt x="23" y="420"/>
                    <a:pt x="46" y="451"/>
                  </a:cubicBezTo>
                  <a:cubicBezTo>
                    <a:pt x="61" y="473"/>
                    <a:pt x="92" y="489"/>
                    <a:pt x="115" y="512"/>
                  </a:cubicBezTo>
                  <a:cubicBezTo>
                    <a:pt x="130" y="535"/>
                    <a:pt x="138" y="558"/>
                    <a:pt x="153" y="581"/>
                  </a:cubicBezTo>
                  <a:lnTo>
                    <a:pt x="153" y="581"/>
                  </a:lnTo>
                  <a:cubicBezTo>
                    <a:pt x="168" y="581"/>
                    <a:pt x="176" y="588"/>
                    <a:pt x="191" y="596"/>
                  </a:cubicBezTo>
                  <a:lnTo>
                    <a:pt x="214" y="581"/>
                  </a:lnTo>
                  <a:cubicBezTo>
                    <a:pt x="214" y="588"/>
                    <a:pt x="260" y="626"/>
                    <a:pt x="260" y="626"/>
                  </a:cubicBezTo>
                  <a:cubicBezTo>
                    <a:pt x="275" y="626"/>
                    <a:pt x="283" y="626"/>
                    <a:pt x="298" y="626"/>
                  </a:cubicBezTo>
                  <a:lnTo>
                    <a:pt x="298" y="626"/>
                  </a:lnTo>
                  <a:cubicBezTo>
                    <a:pt x="306" y="619"/>
                    <a:pt x="306" y="596"/>
                    <a:pt x="313" y="596"/>
                  </a:cubicBezTo>
                  <a:cubicBezTo>
                    <a:pt x="344" y="581"/>
                    <a:pt x="382" y="596"/>
                    <a:pt x="405" y="581"/>
                  </a:cubicBezTo>
                  <a:cubicBezTo>
                    <a:pt x="428" y="573"/>
                    <a:pt x="435" y="542"/>
                    <a:pt x="458" y="527"/>
                  </a:cubicBezTo>
                  <a:cubicBezTo>
                    <a:pt x="458" y="519"/>
                    <a:pt x="474" y="519"/>
                    <a:pt x="474" y="527"/>
                  </a:cubicBezTo>
                  <a:cubicBezTo>
                    <a:pt x="497" y="527"/>
                    <a:pt x="512" y="550"/>
                    <a:pt x="535" y="542"/>
                  </a:cubicBezTo>
                  <a:cubicBezTo>
                    <a:pt x="565" y="542"/>
                    <a:pt x="596" y="527"/>
                    <a:pt x="619" y="504"/>
                  </a:cubicBezTo>
                  <a:cubicBezTo>
                    <a:pt x="642" y="481"/>
                    <a:pt x="649" y="443"/>
                    <a:pt x="665" y="412"/>
                  </a:cubicBezTo>
                  <a:lnTo>
                    <a:pt x="665" y="412"/>
                  </a:lnTo>
                  <a:cubicBezTo>
                    <a:pt x="642" y="390"/>
                    <a:pt x="627" y="367"/>
                    <a:pt x="611" y="336"/>
                  </a:cubicBezTo>
                  <a:cubicBezTo>
                    <a:pt x="604" y="328"/>
                    <a:pt x="604" y="313"/>
                    <a:pt x="604" y="306"/>
                  </a:cubicBezTo>
                  <a:cubicBezTo>
                    <a:pt x="611" y="283"/>
                    <a:pt x="642" y="275"/>
                    <a:pt x="649" y="252"/>
                  </a:cubicBezTo>
                  <a:cubicBezTo>
                    <a:pt x="649" y="237"/>
                    <a:pt x="627" y="237"/>
                    <a:pt x="627" y="221"/>
                  </a:cubicBezTo>
                  <a:cubicBezTo>
                    <a:pt x="619" y="214"/>
                    <a:pt x="642" y="214"/>
                    <a:pt x="642" y="198"/>
                  </a:cubicBezTo>
                  <a:cubicBezTo>
                    <a:pt x="642" y="191"/>
                    <a:pt x="619" y="176"/>
                    <a:pt x="627" y="168"/>
                  </a:cubicBezTo>
                  <a:cubicBezTo>
                    <a:pt x="642" y="153"/>
                    <a:pt x="665" y="153"/>
                    <a:pt x="688" y="145"/>
                  </a:cubicBezTo>
                  <a:lnTo>
                    <a:pt x="688" y="145"/>
                  </a:lnTo>
                  <a:cubicBezTo>
                    <a:pt x="657" y="130"/>
                    <a:pt x="619" y="130"/>
                    <a:pt x="588" y="99"/>
                  </a:cubicBezTo>
                  <a:cubicBezTo>
                    <a:pt x="573" y="84"/>
                    <a:pt x="588" y="54"/>
                    <a:pt x="581" y="38"/>
                  </a:cubicBezTo>
                  <a:cubicBezTo>
                    <a:pt x="573" y="31"/>
                    <a:pt x="558" y="38"/>
                    <a:pt x="543" y="38"/>
                  </a:cubicBezTo>
                  <a:cubicBezTo>
                    <a:pt x="535" y="31"/>
                    <a:pt x="520" y="23"/>
                    <a:pt x="512" y="15"/>
                  </a:cubicBezTo>
                  <a:lnTo>
                    <a:pt x="512" y="15"/>
                  </a:lnTo>
                  <a:cubicBezTo>
                    <a:pt x="489" y="8"/>
                    <a:pt x="466" y="0"/>
                    <a:pt x="451" y="8"/>
                  </a:cubicBezTo>
                  <a:cubicBezTo>
                    <a:pt x="435" y="15"/>
                    <a:pt x="443" y="38"/>
                    <a:pt x="435" y="54"/>
                  </a:cubicBezTo>
                  <a:cubicBezTo>
                    <a:pt x="420" y="69"/>
                    <a:pt x="397" y="76"/>
                    <a:pt x="382" y="84"/>
                  </a:cubicBezTo>
                  <a:lnTo>
                    <a:pt x="382" y="84"/>
                  </a:lnTo>
                  <a:cubicBezTo>
                    <a:pt x="397" y="99"/>
                    <a:pt x="420" y="107"/>
                    <a:pt x="428" y="130"/>
                  </a:cubicBezTo>
                  <a:cubicBezTo>
                    <a:pt x="435" y="153"/>
                    <a:pt x="443" y="183"/>
                    <a:pt x="435" y="206"/>
                  </a:cubicBezTo>
                  <a:cubicBezTo>
                    <a:pt x="428" y="221"/>
                    <a:pt x="405" y="183"/>
                    <a:pt x="390" y="183"/>
                  </a:cubicBezTo>
                  <a:cubicBezTo>
                    <a:pt x="352" y="191"/>
                    <a:pt x="313" y="221"/>
                    <a:pt x="275" y="244"/>
                  </a:cubicBezTo>
                  <a:cubicBezTo>
                    <a:pt x="275" y="244"/>
                    <a:pt x="176" y="298"/>
                    <a:pt x="168" y="306"/>
                  </a:cubicBezTo>
                  <a:cubicBezTo>
                    <a:pt x="160" y="306"/>
                    <a:pt x="115" y="306"/>
                    <a:pt x="115" y="306"/>
                  </a:cubicBezTo>
                  <a:cubicBezTo>
                    <a:pt x="107" y="313"/>
                    <a:pt x="99" y="336"/>
                    <a:pt x="92" y="336"/>
                  </a:cubicBezTo>
                  <a:cubicBezTo>
                    <a:pt x="61" y="351"/>
                    <a:pt x="31" y="359"/>
                    <a:pt x="0" y="3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55"/>
            <p:cNvSpPr>
              <a:spLocks noChangeArrowheads="1"/>
            </p:cNvSpPr>
            <p:nvPr/>
          </p:nvSpPr>
          <p:spPr bwMode="auto">
            <a:xfrm>
              <a:off x="6738499" y="6829426"/>
              <a:ext cx="250809" cy="193675"/>
            </a:xfrm>
            <a:custGeom>
              <a:avLst/>
              <a:gdLst>
                <a:gd name="T0" fmla="*/ 252 w 696"/>
                <a:gd name="T1" fmla="*/ 535 h 536"/>
                <a:gd name="T2" fmla="*/ 252 w 696"/>
                <a:gd name="T3" fmla="*/ 535 h 536"/>
                <a:gd name="T4" fmla="*/ 206 w 696"/>
                <a:gd name="T5" fmla="*/ 474 h 536"/>
                <a:gd name="T6" fmla="*/ 206 w 696"/>
                <a:gd name="T7" fmla="*/ 428 h 536"/>
                <a:gd name="T8" fmla="*/ 176 w 696"/>
                <a:gd name="T9" fmla="*/ 366 h 536"/>
                <a:gd name="T10" fmla="*/ 138 w 696"/>
                <a:gd name="T11" fmla="*/ 405 h 536"/>
                <a:gd name="T12" fmla="*/ 92 w 696"/>
                <a:gd name="T13" fmla="*/ 397 h 536"/>
                <a:gd name="T14" fmla="*/ 76 w 696"/>
                <a:gd name="T15" fmla="*/ 366 h 536"/>
                <a:gd name="T16" fmla="*/ 46 w 696"/>
                <a:gd name="T17" fmla="*/ 382 h 536"/>
                <a:gd name="T18" fmla="*/ 46 w 696"/>
                <a:gd name="T19" fmla="*/ 382 h 536"/>
                <a:gd name="T20" fmla="*/ 8 w 696"/>
                <a:gd name="T21" fmla="*/ 260 h 536"/>
                <a:gd name="T22" fmla="*/ 76 w 696"/>
                <a:gd name="T23" fmla="*/ 191 h 536"/>
                <a:gd name="T24" fmla="*/ 76 w 696"/>
                <a:gd name="T25" fmla="*/ 107 h 536"/>
                <a:gd name="T26" fmla="*/ 84 w 696"/>
                <a:gd name="T27" fmla="*/ 61 h 536"/>
                <a:gd name="T28" fmla="*/ 183 w 696"/>
                <a:gd name="T29" fmla="*/ 0 h 536"/>
                <a:gd name="T30" fmla="*/ 183 w 696"/>
                <a:gd name="T31" fmla="*/ 0 h 536"/>
                <a:gd name="T32" fmla="*/ 268 w 696"/>
                <a:gd name="T33" fmla="*/ 53 h 536"/>
                <a:gd name="T34" fmla="*/ 313 w 696"/>
                <a:gd name="T35" fmla="*/ 107 h 536"/>
                <a:gd name="T36" fmla="*/ 397 w 696"/>
                <a:gd name="T37" fmla="*/ 114 h 536"/>
                <a:gd name="T38" fmla="*/ 474 w 696"/>
                <a:gd name="T39" fmla="*/ 122 h 536"/>
                <a:gd name="T40" fmla="*/ 489 w 696"/>
                <a:gd name="T41" fmla="*/ 191 h 536"/>
                <a:gd name="T42" fmla="*/ 565 w 696"/>
                <a:gd name="T43" fmla="*/ 160 h 536"/>
                <a:gd name="T44" fmla="*/ 588 w 696"/>
                <a:gd name="T45" fmla="*/ 191 h 536"/>
                <a:gd name="T46" fmla="*/ 588 w 696"/>
                <a:gd name="T47" fmla="*/ 229 h 536"/>
                <a:gd name="T48" fmla="*/ 634 w 696"/>
                <a:gd name="T49" fmla="*/ 252 h 536"/>
                <a:gd name="T50" fmla="*/ 634 w 696"/>
                <a:gd name="T51" fmla="*/ 252 h 536"/>
                <a:gd name="T52" fmla="*/ 680 w 696"/>
                <a:gd name="T53" fmla="*/ 298 h 536"/>
                <a:gd name="T54" fmla="*/ 687 w 696"/>
                <a:gd name="T55" fmla="*/ 374 h 536"/>
                <a:gd name="T56" fmla="*/ 642 w 696"/>
                <a:gd name="T57" fmla="*/ 351 h 536"/>
                <a:gd name="T58" fmla="*/ 527 w 696"/>
                <a:gd name="T59" fmla="*/ 412 h 536"/>
                <a:gd name="T60" fmla="*/ 420 w 696"/>
                <a:gd name="T61" fmla="*/ 474 h 536"/>
                <a:gd name="T62" fmla="*/ 367 w 696"/>
                <a:gd name="T63" fmla="*/ 474 h 536"/>
                <a:gd name="T64" fmla="*/ 344 w 696"/>
                <a:gd name="T65" fmla="*/ 504 h 536"/>
                <a:gd name="T66" fmla="*/ 252 w 696"/>
                <a:gd name="T67" fmla="*/ 5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6" h="536">
                  <a:moveTo>
                    <a:pt x="252" y="535"/>
                  </a:moveTo>
                  <a:lnTo>
                    <a:pt x="252" y="535"/>
                  </a:lnTo>
                  <a:cubicBezTo>
                    <a:pt x="237" y="512"/>
                    <a:pt x="214" y="496"/>
                    <a:pt x="206" y="474"/>
                  </a:cubicBezTo>
                  <a:cubicBezTo>
                    <a:pt x="199" y="458"/>
                    <a:pt x="214" y="443"/>
                    <a:pt x="206" y="428"/>
                  </a:cubicBezTo>
                  <a:cubicBezTo>
                    <a:pt x="206" y="405"/>
                    <a:pt x="199" y="374"/>
                    <a:pt x="176" y="366"/>
                  </a:cubicBezTo>
                  <a:cubicBezTo>
                    <a:pt x="160" y="359"/>
                    <a:pt x="153" y="397"/>
                    <a:pt x="138" y="405"/>
                  </a:cubicBezTo>
                  <a:cubicBezTo>
                    <a:pt x="122" y="405"/>
                    <a:pt x="107" y="405"/>
                    <a:pt x="92" y="397"/>
                  </a:cubicBezTo>
                  <a:cubicBezTo>
                    <a:pt x="84" y="389"/>
                    <a:pt x="84" y="366"/>
                    <a:pt x="76" y="366"/>
                  </a:cubicBezTo>
                  <a:cubicBezTo>
                    <a:pt x="61" y="366"/>
                    <a:pt x="54" y="374"/>
                    <a:pt x="46" y="382"/>
                  </a:cubicBezTo>
                  <a:lnTo>
                    <a:pt x="46" y="382"/>
                  </a:lnTo>
                  <a:cubicBezTo>
                    <a:pt x="31" y="344"/>
                    <a:pt x="0" y="305"/>
                    <a:pt x="8" y="260"/>
                  </a:cubicBezTo>
                  <a:cubicBezTo>
                    <a:pt x="8" y="229"/>
                    <a:pt x="61" y="222"/>
                    <a:pt x="76" y="191"/>
                  </a:cubicBezTo>
                  <a:cubicBezTo>
                    <a:pt x="84" y="168"/>
                    <a:pt x="69" y="130"/>
                    <a:pt x="76" y="107"/>
                  </a:cubicBezTo>
                  <a:cubicBezTo>
                    <a:pt x="76" y="91"/>
                    <a:pt x="76" y="69"/>
                    <a:pt x="84" y="61"/>
                  </a:cubicBezTo>
                  <a:cubicBezTo>
                    <a:pt x="115" y="38"/>
                    <a:pt x="153" y="23"/>
                    <a:pt x="183" y="0"/>
                  </a:cubicBezTo>
                  <a:lnTo>
                    <a:pt x="183" y="0"/>
                  </a:lnTo>
                  <a:cubicBezTo>
                    <a:pt x="206" y="23"/>
                    <a:pt x="245" y="38"/>
                    <a:pt x="268" y="53"/>
                  </a:cubicBezTo>
                  <a:cubicBezTo>
                    <a:pt x="283" y="69"/>
                    <a:pt x="290" y="99"/>
                    <a:pt x="313" y="107"/>
                  </a:cubicBezTo>
                  <a:cubicBezTo>
                    <a:pt x="336" y="114"/>
                    <a:pt x="367" y="107"/>
                    <a:pt x="397" y="114"/>
                  </a:cubicBezTo>
                  <a:cubicBezTo>
                    <a:pt x="420" y="114"/>
                    <a:pt x="451" y="107"/>
                    <a:pt x="474" y="122"/>
                  </a:cubicBezTo>
                  <a:cubicBezTo>
                    <a:pt x="489" y="137"/>
                    <a:pt x="474" y="183"/>
                    <a:pt x="489" y="191"/>
                  </a:cubicBezTo>
                  <a:cubicBezTo>
                    <a:pt x="520" y="199"/>
                    <a:pt x="535" y="160"/>
                    <a:pt x="565" y="160"/>
                  </a:cubicBezTo>
                  <a:cubicBezTo>
                    <a:pt x="573" y="160"/>
                    <a:pt x="581" y="183"/>
                    <a:pt x="588" y="191"/>
                  </a:cubicBezTo>
                  <a:cubicBezTo>
                    <a:pt x="596" y="206"/>
                    <a:pt x="581" y="222"/>
                    <a:pt x="588" y="229"/>
                  </a:cubicBezTo>
                  <a:cubicBezTo>
                    <a:pt x="596" y="244"/>
                    <a:pt x="619" y="244"/>
                    <a:pt x="634" y="252"/>
                  </a:cubicBezTo>
                  <a:lnTo>
                    <a:pt x="634" y="252"/>
                  </a:lnTo>
                  <a:cubicBezTo>
                    <a:pt x="649" y="267"/>
                    <a:pt x="672" y="275"/>
                    <a:pt x="680" y="298"/>
                  </a:cubicBezTo>
                  <a:cubicBezTo>
                    <a:pt x="687" y="321"/>
                    <a:pt x="695" y="351"/>
                    <a:pt x="687" y="374"/>
                  </a:cubicBezTo>
                  <a:cubicBezTo>
                    <a:pt x="680" y="389"/>
                    <a:pt x="657" y="351"/>
                    <a:pt x="642" y="351"/>
                  </a:cubicBezTo>
                  <a:cubicBezTo>
                    <a:pt x="604" y="359"/>
                    <a:pt x="565" y="389"/>
                    <a:pt x="527" y="412"/>
                  </a:cubicBezTo>
                  <a:cubicBezTo>
                    <a:pt x="527" y="412"/>
                    <a:pt x="428" y="466"/>
                    <a:pt x="420" y="474"/>
                  </a:cubicBezTo>
                  <a:cubicBezTo>
                    <a:pt x="412" y="474"/>
                    <a:pt x="367" y="474"/>
                    <a:pt x="367" y="474"/>
                  </a:cubicBezTo>
                  <a:cubicBezTo>
                    <a:pt x="359" y="481"/>
                    <a:pt x="351" y="504"/>
                    <a:pt x="344" y="504"/>
                  </a:cubicBezTo>
                  <a:cubicBezTo>
                    <a:pt x="313" y="519"/>
                    <a:pt x="283" y="527"/>
                    <a:pt x="252" y="5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56"/>
            <p:cNvSpPr>
              <a:spLocks noChangeArrowheads="1"/>
            </p:cNvSpPr>
            <p:nvPr/>
          </p:nvSpPr>
          <p:spPr bwMode="auto">
            <a:xfrm>
              <a:off x="7046454" y="6908801"/>
              <a:ext cx="239696" cy="157163"/>
            </a:xfrm>
            <a:custGeom>
              <a:avLst/>
              <a:gdLst>
                <a:gd name="T0" fmla="*/ 61 w 665"/>
                <a:gd name="T1" fmla="*/ 358 h 436"/>
                <a:gd name="T2" fmla="*/ 61 w 665"/>
                <a:gd name="T3" fmla="*/ 358 h 436"/>
                <a:gd name="T4" fmla="*/ 7 w 665"/>
                <a:gd name="T5" fmla="*/ 282 h 436"/>
                <a:gd name="T6" fmla="*/ 0 w 665"/>
                <a:gd name="T7" fmla="*/ 252 h 436"/>
                <a:gd name="T8" fmla="*/ 45 w 665"/>
                <a:gd name="T9" fmla="*/ 198 h 436"/>
                <a:gd name="T10" fmla="*/ 23 w 665"/>
                <a:gd name="T11" fmla="*/ 167 h 436"/>
                <a:gd name="T12" fmla="*/ 38 w 665"/>
                <a:gd name="T13" fmla="*/ 144 h 436"/>
                <a:gd name="T14" fmla="*/ 23 w 665"/>
                <a:gd name="T15" fmla="*/ 114 h 436"/>
                <a:gd name="T16" fmla="*/ 84 w 665"/>
                <a:gd name="T17" fmla="*/ 91 h 436"/>
                <a:gd name="T18" fmla="*/ 84 w 665"/>
                <a:gd name="T19" fmla="*/ 91 h 436"/>
                <a:gd name="T20" fmla="*/ 99 w 665"/>
                <a:gd name="T21" fmla="*/ 114 h 436"/>
                <a:gd name="T22" fmla="*/ 137 w 665"/>
                <a:gd name="T23" fmla="*/ 68 h 436"/>
                <a:gd name="T24" fmla="*/ 168 w 665"/>
                <a:gd name="T25" fmla="*/ 30 h 436"/>
                <a:gd name="T26" fmla="*/ 206 w 665"/>
                <a:gd name="T27" fmla="*/ 53 h 436"/>
                <a:gd name="T28" fmla="*/ 282 w 665"/>
                <a:gd name="T29" fmla="*/ 38 h 436"/>
                <a:gd name="T30" fmla="*/ 351 w 665"/>
                <a:gd name="T31" fmla="*/ 53 h 436"/>
                <a:gd name="T32" fmla="*/ 435 w 665"/>
                <a:gd name="T33" fmla="*/ 22 h 436"/>
                <a:gd name="T34" fmla="*/ 481 w 665"/>
                <a:gd name="T35" fmla="*/ 0 h 436"/>
                <a:gd name="T36" fmla="*/ 481 w 665"/>
                <a:gd name="T37" fmla="*/ 0 h 436"/>
                <a:gd name="T38" fmla="*/ 565 w 665"/>
                <a:gd name="T39" fmla="*/ 76 h 436"/>
                <a:gd name="T40" fmla="*/ 626 w 665"/>
                <a:gd name="T41" fmla="*/ 76 h 436"/>
                <a:gd name="T42" fmla="*/ 656 w 665"/>
                <a:gd name="T43" fmla="*/ 114 h 436"/>
                <a:gd name="T44" fmla="*/ 580 w 665"/>
                <a:gd name="T45" fmla="*/ 129 h 436"/>
                <a:gd name="T46" fmla="*/ 573 w 665"/>
                <a:gd name="T47" fmla="*/ 229 h 436"/>
                <a:gd name="T48" fmla="*/ 611 w 665"/>
                <a:gd name="T49" fmla="*/ 313 h 436"/>
                <a:gd name="T50" fmla="*/ 611 w 665"/>
                <a:gd name="T51" fmla="*/ 313 h 436"/>
                <a:gd name="T52" fmla="*/ 565 w 665"/>
                <a:gd name="T53" fmla="*/ 343 h 436"/>
                <a:gd name="T54" fmla="*/ 557 w 665"/>
                <a:gd name="T55" fmla="*/ 381 h 436"/>
                <a:gd name="T56" fmla="*/ 504 w 665"/>
                <a:gd name="T57" fmla="*/ 435 h 436"/>
                <a:gd name="T58" fmla="*/ 420 w 665"/>
                <a:gd name="T59" fmla="*/ 412 h 436"/>
                <a:gd name="T60" fmla="*/ 420 w 665"/>
                <a:gd name="T61" fmla="*/ 412 h 436"/>
                <a:gd name="T62" fmla="*/ 397 w 665"/>
                <a:gd name="T63" fmla="*/ 358 h 436"/>
                <a:gd name="T64" fmla="*/ 351 w 665"/>
                <a:gd name="T65" fmla="*/ 366 h 436"/>
                <a:gd name="T66" fmla="*/ 267 w 665"/>
                <a:gd name="T67" fmla="*/ 343 h 436"/>
                <a:gd name="T68" fmla="*/ 206 w 665"/>
                <a:gd name="T69" fmla="*/ 381 h 436"/>
                <a:gd name="T70" fmla="*/ 145 w 665"/>
                <a:gd name="T71" fmla="*/ 381 h 436"/>
                <a:gd name="T72" fmla="*/ 99 w 665"/>
                <a:gd name="T73" fmla="*/ 358 h 436"/>
                <a:gd name="T74" fmla="*/ 61 w 665"/>
                <a:gd name="T75" fmla="*/ 358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65" h="436">
                  <a:moveTo>
                    <a:pt x="61" y="358"/>
                  </a:moveTo>
                  <a:lnTo>
                    <a:pt x="61" y="358"/>
                  </a:lnTo>
                  <a:cubicBezTo>
                    <a:pt x="38" y="336"/>
                    <a:pt x="23" y="313"/>
                    <a:pt x="7" y="282"/>
                  </a:cubicBezTo>
                  <a:cubicBezTo>
                    <a:pt x="0" y="274"/>
                    <a:pt x="0" y="259"/>
                    <a:pt x="0" y="252"/>
                  </a:cubicBezTo>
                  <a:cubicBezTo>
                    <a:pt x="7" y="229"/>
                    <a:pt x="38" y="221"/>
                    <a:pt x="45" y="198"/>
                  </a:cubicBezTo>
                  <a:cubicBezTo>
                    <a:pt x="45" y="183"/>
                    <a:pt x="23" y="183"/>
                    <a:pt x="23" y="167"/>
                  </a:cubicBezTo>
                  <a:cubicBezTo>
                    <a:pt x="15" y="160"/>
                    <a:pt x="38" y="160"/>
                    <a:pt x="38" y="144"/>
                  </a:cubicBezTo>
                  <a:cubicBezTo>
                    <a:pt x="38" y="137"/>
                    <a:pt x="15" y="122"/>
                    <a:pt x="23" y="114"/>
                  </a:cubicBezTo>
                  <a:cubicBezTo>
                    <a:pt x="38" y="99"/>
                    <a:pt x="61" y="99"/>
                    <a:pt x="84" y="91"/>
                  </a:cubicBezTo>
                  <a:lnTo>
                    <a:pt x="84" y="91"/>
                  </a:lnTo>
                  <a:cubicBezTo>
                    <a:pt x="91" y="99"/>
                    <a:pt x="91" y="114"/>
                    <a:pt x="99" y="114"/>
                  </a:cubicBezTo>
                  <a:cubicBezTo>
                    <a:pt x="122" y="99"/>
                    <a:pt x="122" y="83"/>
                    <a:pt x="137" y="68"/>
                  </a:cubicBezTo>
                  <a:cubicBezTo>
                    <a:pt x="145" y="53"/>
                    <a:pt x="152" y="38"/>
                    <a:pt x="168" y="30"/>
                  </a:cubicBezTo>
                  <a:cubicBezTo>
                    <a:pt x="183" y="30"/>
                    <a:pt x="191" y="53"/>
                    <a:pt x="206" y="53"/>
                  </a:cubicBezTo>
                  <a:cubicBezTo>
                    <a:pt x="229" y="53"/>
                    <a:pt x="259" y="38"/>
                    <a:pt x="282" y="38"/>
                  </a:cubicBezTo>
                  <a:cubicBezTo>
                    <a:pt x="305" y="38"/>
                    <a:pt x="328" y="53"/>
                    <a:pt x="351" y="53"/>
                  </a:cubicBezTo>
                  <a:cubicBezTo>
                    <a:pt x="381" y="45"/>
                    <a:pt x="404" y="30"/>
                    <a:pt x="435" y="22"/>
                  </a:cubicBezTo>
                  <a:cubicBezTo>
                    <a:pt x="450" y="15"/>
                    <a:pt x="465" y="7"/>
                    <a:pt x="481" y="0"/>
                  </a:cubicBezTo>
                  <a:lnTo>
                    <a:pt x="481" y="0"/>
                  </a:lnTo>
                  <a:cubicBezTo>
                    <a:pt x="511" y="22"/>
                    <a:pt x="534" y="61"/>
                    <a:pt x="565" y="76"/>
                  </a:cubicBezTo>
                  <a:cubicBezTo>
                    <a:pt x="580" y="83"/>
                    <a:pt x="603" y="68"/>
                    <a:pt x="626" y="76"/>
                  </a:cubicBezTo>
                  <a:cubicBezTo>
                    <a:pt x="641" y="83"/>
                    <a:pt x="664" y="99"/>
                    <a:pt x="656" y="114"/>
                  </a:cubicBezTo>
                  <a:cubicBezTo>
                    <a:pt x="641" y="137"/>
                    <a:pt x="595" y="106"/>
                    <a:pt x="580" y="129"/>
                  </a:cubicBezTo>
                  <a:cubicBezTo>
                    <a:pt x="557" y="152"/>
                    <a:pt x="573" y="198"/>
                    <a:pt x="573" y="229"/>
                  </a:cubicBezTo>
                  <a:cubicBezTo>
                    <a:pt x="580" y="259"/>
                    <a:pt x="595" y="282"/>
                    <a:pt x="611" y="313"/>
                  </a:cubicBezTo>
                  <a:lnTo>
                    <a:pt x="611" y="313"/>
                  </a:lnTo>
                  <a:cubicBezTo>
                    <a:pt x="595" y="320"/>
                    <a:pt x="580" y="328"/>
                    <a:pt x="565" y="343"/>
                  </a:cubicBezTo>
                  <a:cubicBezTo>
                    <a:pt x="557" y="358"/>
                    <a:pt x="565" y="374"/>
                    <a:pt x="557" y="381"/>
                  </a:cubicBezTo>
                  <a:cubicBezTo>
                    <a:pt x="542" y="404"/>
                    <a:pt x="527" y="427"/>
                    <a:pt x="504" y="435"/>
                  </a:cubicBezTo>
                  <a:cubicBezTo>
                    <a:pt x="473" y="435"/>
                    <a:pt x="450" y="419"/>
                    <a:pt x="420" y="412"/>
                  </a:cubicBezTo>
                  <a:lnTo>
                    <a:pt x="420" y="412"/>
                  </a:lnTo>
                  <a:cubicBezTo>
                    <a:pt x="412" y="397"/>
                    <a:pt x="412" y="374"/>
                    <a:pt x="397" y="358"/>
                  </a:cubicBezTo>
                  <a:cubicBezTo>
                    <a:pt x="381" y="351"/>
                    <a:pt x="366" y="366"/>
                    <a:pt x="351" y="366"/>
                  </a:cubicBezTo>
                  <a:cubicBezTo>
                    <a:pt x="320" y="358"/>
                    <a:pt x="298" y="336"/>
                    <a:pt x="267" y="343"/>
                  </a:cubicBezTo>
                  <a:cubicBezTo>
                    <a:pt x="244" y="343"/>
                    <a:pt x="229" y="374"/>
                    <a:pt x="206" y="381"/>
                  </a:cubicBezTo>
                  <a:cubicBezTo>
                    <a:pt x="191" y="389"/>
                    <a:pt x="168" y="389"/>
                    <a:pt x="145" y="381"/>
                  </a:cubicBezTo>
                  <a:cubicBezTo>
                    <a:pt x="129" y="381"/>
                    <a:pt x="114" y="358"/>
                    <a:pt x="99" y="358"/>
                  </a:cubicBezTo>
                  <a:cubicBezTo>
                    <a:pt x="84" y="351"/>
                    <a:pt x="68" y="358"/>
                    <a:pt x="61" y="3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57"/>
            <p:cNvSpPr>
              <a:spLocks noChangeArrowheads="1"/>
            </p:cNvSpPr>
            <p:nvPr/>
          </p:nvSpPr>
          <p:spPr bwMode="auto">
            <a:xfrm>
              <a:off x="6805170" y="6696075"/>
              <a:ext cx="231760" cy="223838"/>
            </a:xfrm>
            <a:custGeom>
              <a:avLst/>
              <a:gdLst>
                <a:gd name="T0" fmla="*/ 0 w 643"/>
                <a:gd name="T1" fmla="*/ 367 h 620"/>
                <a:gd name="T2" fmla="*/ 0 w 643"/>
                <a:gd name="T3" fmla="*/ 367 h 620"/>
                <a:gd name="T4" fmla="*/ 85 w 643"/>
                <a:gd name="T5" fmla="*/ 420 h 620"/>
                <a:gd name="T6" fmla="*/ 130 w 643"/>
                <a:gd name="T7" fmla="*/ 474 h 620"/>
                <a:gd name="T8" fmla="*/ 214 w 643"/>
                <a:gd name="T9" fmla="*/ 481 h 620"/>
                <a:gd name="T10" fmla="*/ 291 w 643"/>
                <a:gd name="T11" fmla="*/ 489 h 620"/>
                <a:gd name="T12" fmla="*/ 306 w 643"/>
                <a:gd name="T13" fmla="*/ 558 h 620"/>
                <a:gd name="T14" fmla="*/ 382 w 643"/>
                <a:gd name="T15" fmla="*/ 527 h 620"/>
                <a:gd name="T16" fmla="*/ 405 w 643"/>
                <a:gd name="T17" fmla="*/ 558 h 620"/>
                <a:gd name="T18" fmla="*/ 405 w 643"/>
                <a:gd name="T19" fmla="*/ 596 h 620"/>
                <a:gd name="T20" fmla="*/ 451 w 643"/>
                <a:gd name="T21" fmla="*/ 619 h 620"/>
                <a:gd name="T22" fmla="*/ 451 w 643"/>
                <a:gd name="T23" fmla="*/ 619 h 620"/>
                <a:gd name="T24" fmla="*/ 504 w 643"/>
                <a:gd name="T25" fmla="*/ 589 h 620"/>
                <a:gd name="T26" fmla="*/ 520 w 643"/>
                <a:gd name="T27" fmla="*/ 543 h 620"/>
                <a:gd name="T28" fmla="*/ 581 w 643"/>
                <a:gd name="T29" fmla="*/ 550 h 620"/>
                <a:gd name="T30" fmla="*/ 581 w 643"/>
                <a:gd name="T31" fmla="*/ 550 h 620"/>
                <a:gd name="T32" fmla="*/ 642 w 643"/>
                <a:gd name="T33" fmla="*/ 489 h 620"/>
                <a:gd name="T34" fmla="*/ 589 w 643"/>
                <a:gd name="T35" fmla="*/ 481 h 620"/>
                <a:gd name="T36" fmla="*/ 543 w 643"/>
                <a:gd name="T37" fmla="*/ 474 h 620"/>
                <a:gd name="T38" fmla="*/ 543 w 643"/>
                <a:gd name="T39" fmla="*/ 420 h 620"/>
                <a:gd name="T40" fmla="*/ 550 w 643"/>
                <a:gd name="T41" fmla="*/ 352 h 620"/>
                <a:gd name="T42" fmla="*/ 558 w 643"/>
                <a:gd name="T43" fmla="*/ 291 h 620"/>
                <a:gd name="T44" fmla="*/ 527 w 643"/>
                <a:gd name="T45" fmla="*/ 268 h 620"/>
                <a:gd name="T46" fmla="*/ 443 w 643"/>
                <a:gd name="T47" fmla="*/ 245 h 620"/>
                <a:gd name="T48" fmla="*/ 421 w 643"/>
                <a:gd name="T49" fmla="*/ 199 h 620"/>
                <a:gd name="T50" fmla="*/ 421 w 643"/>
                <a:gd name="T51" fmla="*/ 184 h 620"/>
                <a:gd name="T52" fmla="*/ 512 w 643"/>
                <a:gd name="T53" fmla="*/ 214 h 620"/>
                <a:gd name="T54" fmla="*/ 512 w 643"/>
                <a:gd name="T55" fmla="*/ 153 h 620"/>
                <a:gd name="T56" fmla="*/ 512 w 643"/>
                <a:gd name="T57" fmla="*/ 153 h 620"/>
                <a:gd name="T58" fmla="*/ 482 w 643"/>
                <a:gd name="T59" fmla="*/ 115 h 620"/>
                <a:gd name="T60" fmla="*/ 421 w 643"/>
                <a:gd name="T61" fmla="*/ 107 h 620"/>
                <a:gd name="T62" fmla="*/ 382 w 643"/>
                <a:gd name="T63" fmla="*/ 77 h 620"/>
                <a:gd name="T64" fmla="*/ 337 w 643"/>
                <a:gd name="T65" fmla="*/ 69 h 620"/>
                <a:gd name="T66" fmla="*/ 337 w 643"/>
                <a:gd name="T67" fmla="*/ 92 h 620"/>
                <a:gd name="T68" fmla="*/ 306 w 643"/>
                <a:gd name="T69" fmla="*/ 84 h 620"/>
                <a:gd name="T70" fmla="*/ 268 w 643"/>
                <a:gd name="T71" fmla="*/ 16 h 620"/>
                <a:gd name="T72" fmla="*/ 153 w 643"/>
                <a:gd name="T73" fmla="*/ 31 h 620"/>
                <a:gd name="T74" fmla="*/ 138 w 643"/>
                <a:gd name="T75" fmla="*/ 107 h 620"/>
                <a:gd name="T76" fmla="*/ 168 w 643"/>
                <a:gd name="T77" fmla="*/ 153 h 620"/>
                <a:gd name="T78" fmla="*/ 138 w 643"/>
                <a:gd name="T79" fmla="*/ 168 h 620"/>
                <a:gd name="T80" fmla="*/ 123 w 643"/>
                <a:gd name="T81" fmla="*/ 252 h 620"/>
                <a:gd name="T82" fmla="*/ 85 w 643"/>
                <a:gd name="T83" fmla="*/ 245 h 620"/>
                <a:gd name="T84" fmla="*/ 23 w 643"/>
                <a:gd name="T85" fmla="*/ 298 h 620"/>
                <a:gd name="T86" fmla="*/ 23 w 643"/>
                <a:gd name="T87" fmla="*/ 298 h 620"/>
                <a:gd name="T88" fmla="*/ 23 w 643"/>
                <a:gd name="T89" fmla="*/ 344 h 620"/>
                <a:gd name="T90" fmla="*/ 0 w 643"/>
                <a:gd name="T91" fmla="*/ 36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3" h="620">
                  <a:moveTo>
                    <a:pt x="0" y="367"/>
                  </a:moveTo>
                  <a:lnTo>
                    <a:pt x="0" y="367"/>
                  </a:lnTo>
                  <a:cubicBezTo>
                    <a:pt x="23" y="390"/>
                    <a:pt x="62" y="405"/>
                    <a:pt x="85" y="420"/>
                  </a:cubicBezTo>
                  <a:cubicBezTo>
                    <a:pt x="100" y="436"/>
                    <a:pt x="107" y="466"/>
                    <a:pt x="130" y="474"/>
                  </a:cubicBezTo>
                  <a:cubicBezTo>
                    <a:pt x="153" y="481"/>
                    <a:pt x="184" y="474"/>
                    <a:pt x="214" y="481"/>
                  </a:cubicBezTo>
                  <a:cubicBezTo>
                    <a:pt x="237" y="481"/>
                    <a:pt x="268" y="474"/>
                    <a:pt x="291" y="489"/>
                  </a:cubicBezTo>
                  <a:cubicBezTo>
                    <a:pt x="306" y="504"/>
                    <a:pt x="291" y="550"/>
                    <a:pt x="306" y="558"/>
                  </a:cubicBezTo>
                  <a:cubicBezTo>
                    <a:pt x="337" y="566"/>
                    <a:pt x="352" y="527"/>
                    <a:pt x="382" y="527"/>
                  </a:cubicBezTo>
                  <a:cubicBezTo>
                    <a:pt x="390" y="527"/>
                    <a:pt x="398" y="550"/>
                    <a:pt x="405" y="558"/>
                  </a:cubicBezTo>
                  <a:cubicBezTo>
                    <a:pt x="413" y="573"/>
                    <a:pt x="398" y="589"/>
                    <a:pt x="405" y="596"/>
                  </a:cubicBezTo>
                  <a:cubicBezTo>
                    <a:pt x="413" y="611"/>
                    <a:pt x="436" y="611"/>
                    <a:pt x="451" y="619"/>
                  </a:cubicBezTo>
                  <a:lnTo>
                    <a:pt x="451" y="619"/>
                  </a:lnTo>
                  <a:cubicBezTo>
                    <a:pt x="466" y="611"/>
                    <a:pt x="489" y="604"/>
                    <a:pt x="504" y="589"/>
                  </a:cubicBezTo>
                  <a:cubicBezTo>
                    <a:pt x="512" y="573"/>
                    <a:pt x="504" y="550"/>
                    <a:pt x="520" y="543"/>
                  </a:cubicBezTo>
                  <a:cubicBezTo>
                    <a:pt x="535" y="535"/>
                    <a:pt x="558" y="543"/>
                    <a:pt x="581" y="550"/>
                  </a:cubicBezTo>
                  <a:lnTo>
                    <a:pt x="581" y="550"/>
                  </a:lnTo>
                  <a:cubicBezTo>
                    <a:pt x="604" y="527"/>
                    <a:pt x="642" y="520"/>
                    <a:pt x="642" y="489"/>
                  </a:cubicBezTo>
                  <a:cubicBezTo>
                    <a:pt x="642" y="474"/>
                    <a:pt x="604" y="481"/>
                    <a:pt x="589" y="481"/>
                  </a:cubicBezTo>
                  <a:cubicBezTo>
                    <a:pt x="573" y="481"/>
                    <a:pt x="550" y="481"/>
                    <a:pt x="543" y="474"/>
                  </a:cubicBezTo>
                  <a:cubicBezTo>
                    <a:pt x="527" y="458"/>
                    <a:pt x="535" y="443"/>
                    <a:pt x="543" y="420"/>
                  </a:cubicBezTo>
                  <a:cubicBezTo>
                    <a:pt x="543" y="397"/>
                    <a:pt x="550" y="375"/>
                    <a:pt x="550" y="352"/>
                  </a:cubicBezTo>
                  <a:cubicBezTo>
                    <a:pt x="550" y="336"/>
                    <a:pt x="566" y="314"/>
                    <a:pt x="558" y="291"/>
                  </a:cubicBezTo>
                  <a:cubicBezTo>
                    <a:pt x="558" y="283"/>
                    <a:pt x="543" y="275"/>
                    <a:pt x="527" y="268"/>
                  </a:cubicBezTo>
                  <a:cubicBezTo>
                    <a:pt x="504" y="260"/>
                    <a:pt x="466" y="268"/>
                    <a:pt x="443" y="245"/>
                  </a:cubicBezTo>
                  <a:cubicBezTo>
                    <a:pt x="428" y="237"/>
                    <a:pt x="428" y="222"/>
                    <a:pt x="421" y="199"/>
                  </a:cubicBezTo>
                  <a:lnTo>
                    <a:pt x="421" y="184"/>
                  </a:lnTo>
                  <a:cubicBezTo>
                    <a:pt x="451" y="184"/>
                    <a:pt x="482" y="222"/>
                    <a:pt x="512" y="214"/>
                  </a:cubicBezTo>
                  <a:cubicBezTo>
                    <a:pt x="527" y="206"/>
                    <a:pt x="512" y="176"/>
                    <a:pt x="512" y="153"/>
                  </a:cubicBezTo>
                  <a:lnTo>
                    <a:pt x="512" y="153"/>
                  </a:lnTo>
                  <a:cubicBezTo>
                    <a:pt x="504" y="138"/>
                    <a:pt x="497" y="130"/>
                    <a:pt x="482" y="115"/>
                  </a:cubicBezTo>
                  <a:cubicBezTo>
                    <a:pt x="482" y="115"/>
                    <a:pt x="428" y="107"/>
                    <a:pt x="421" y="107"/>
                  </a:cubicBezTo>
                  <a:lnTo>
                    <a:pt x="382" y="77"/>
                  </a:lnTo>
                  <a:cubicBezTo>
                    <a:pt x="367" y="69"/>
                    <a:pt x="352" y="69"/>
                    <a:pt x="337" y="69"/>
                  </a:cubicBezTo>
                  <a:cubicBezTo>
                    <a:pt x="329" y="69"/>
                    <a:pt x="337" y="84"/>
                    <a:pt x="337" y="92"/>
                  </a:cubicBezTo>
                  <a:cubicBezTo>
                    <a:pt x="321" y="92"/>
                    <a:pt x="314" y="92"/>
                    <a:pt x="306" y="84"/>
                  </a:cubicBezTo>
                  <a:cubicBezTo>
                    <a:pt x="291" y="61"/>
                    <a:pt x="291" y="23"/>
                    <a:pt x="268" y="16"/>
                  </a:cubicBezTo>
                  <a:cubicBezTo>
                    <a:pt x="229" y="0"/>
                    <a:pt x="191" y="23"/>
                    <a:pt x="153" y="31"/>
                  </a:cubicBezTo>
                  <a:cubicBezTo>
                    <a:pt x="153" y="31"/>
                    <a:pt x="138" y="100"/>
                    <a:pt x="138" y="107"/>
                  </a:cubicBezTo>
                  <a:lnTo>
                    <a:pt x="168" y="153"/>
                  </a:lnTo>
                  <a:cubicBezTo>
                    <a:pt x="153" y="161"/>
                    <a:pt x="138" y="153"/>
                    <a:pt x="138" y="168"/>
                  </a:cubicBezTo>
                  <a:cubicBezTo>
                    <a:pt x="123" y="191"/>
                    <a:pt x="138" y="229"/>
                    <a:pt x="123" y="252"/>
                  </a:cubicBezTo>
                  <a:cubicBezTo>
                    <a:pt x="115" y="268"/>
                    <a:pt x="100" y="237"/>
                    <a:pt x="85" y="245"/>
                  </a:cubicBezTo>
                  <a:cubicBezTo>
                    <a:pt x="62" y="252"/>
                    <a:pt x="46" y="283"/>
                    <a:pt x="23" y="298"/>
                  </a:cubicBezTo>
                  <a:lnTo>
                    <a:pt x="23" y="298"/>
                  </a:lnTo>
                  <a:cubicBezTo>
                    <a:pt x="23" y="314"/>
                    <a:pt x="31" y="329"/>
                    <a:pt x="23" y="344"/>
                  </a:cubicBezTo>
                  <a:cubicBezTo>
                    <a:pt x="23" y="352"/>
                    <a:pt x="8" y="359"/>
                    <a:pt x="0" y="3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58"/>
            <p:cNvSpPr>
              <a:spLocks noChangeArrowheads="1"/>
            </p:cNvSpPr>
            <p:nvPr/>
          </p:nvSpPr>
          <p:spPr bwMode="auto">
            <a:xfrm>
              <a:off x="6955972" y="6716713"/>
              <a:ext cx="277795" cy="233362"/>
            </a:xfrm>
            <a:custGeom>
              <a:avLst/>
              <a:gdLst>
                <a:gd name="T0" fmla="*/ 91 w 772"/>
                <a:gd name="T1" fmla="*/ 99 h 650"/>
                <a:gd name="T2" fmla="*/ 91 w 772"/>
                <a:gd name="T3" fmla="*/ 99 h 650"/>
                <a:gd name="T4" fmla="*/ 91 w 772"/>
                <a:gd name="T5" fmla="*/ 160 h 650"/>
                <a:gd name="T6" fmla="*/ 0 w 772"/>
                <a:gd name="T7" fmla="*/ 130 h 650"/>
                <a:gd name="T8" fmla="*/ 0 w 772"/>
                <a:gd name="T9" fmla="*/ 145 h 650"/>
                <a:gd name="T10" fmla="*/ 22 w 772"/>
                <a:gd name="T11" fmla="*/ 191 h 650"/>
                <a:gd name="T12" fmla="*/ 106 w 772"/>
                <a:gd name="T13" fmla="*/ 214 h 650"/>
                <a:gd name="T14" fmla="*/ 137 w 772"/>
                <a:gd name="T15" fmla="*/ 237 h 650"/>
                <a:gd name="T16" fmla="*/ 129 w 772"/>
                <a:gd name="T17" fmla="*/ 298 h 650"/>
                <a:gd name="T18" fmla="*/ 122 w 772"/>
                <a:gd name="T19" fmla="*/ 366 h 650"/>
                <a:gd name="T20" fmla="*/ 122 w 772"/>
                <a:gd name="T21" fmla="*/ 420 h 650"/>
                <a:gd name="T22" fmla="*/ 168 w 772"/>
                <a:gd name="T23" fmla="*/ 427 h 650"/>
                <a:gd name="T24" fmla="*/ 221 w 772"/>
                <a:gd name="T25" fmla="*/ 435 h 650"/>
                <a:gd name="T26" fmla="*/ 160 w 772"/>
                <a:gd name="T27" fmla="*/ 496 h 650"/>
                <a:gd name="T28" fmla="*/ 160 w 772"/>
                <a:gd name="T29" fmla="*/ 496 h 650"/>
                <a:gd name="T30" fmla="*/ 191 w 772"/>
                <a:gd name="T31" fmla="*/ 519 h 650"/>
                <a:gd name="T32" fmla="*/ 229 w 772"/>
                <a:gd name="T33" fmla="*/ 519 h 650"/>
                <a:gd name="T34" fmla="*/ 236 w 772"/>
                <a:gd name="T35" fmla="*/ 580 h 650"/>
                <a:gd name="T36" fmla="*/ 336 w 772"/>
                <a:gd name="T37" fmla="*/ 626 h 650"/>
                <a:gd name="T38" fmla="*/ 336 w 772"/>
                <a:gd name="T39" fmla="*/ 626 h 650"/>
                <a:gd name="T40" fmla="*/ 351 w 772"/>
                <a:gd name="T41" fmla="*/ 649 h 650"/>
                <a:gd name="T42" fmla="*/ 389 w 772"/>
                <a:gd name="T43" fmla="*/ 603 h 650"/>
                <a:gd name="T44" fmla="*/ 420 w 772"/>
                <a:gd name="T45" fmla="*/ 565 h 650"/>
                <a:gd name="T46" fmla="*/ 458 w 772"/>
                <a:gd name="T47" fmla="*/ 588 h 650"/>
                <a:gd name="T48" fmla="*/ 534 w 772"/>
                <a:gd name="T49" fmla="*/ 573 h 650"/>
                <a:gd name="T50" fmla="*/ 603 w 772"/>
                <a:gd name="T51" fmla="*/ 588 h 650"/>
                <a:gd name="T52" fmla="*/ 687 w 772"/>
                <a:gd name="T53" fmla="*/ 557 h 650"/>
                <a:gd name="T54" fmla="*/ 733 w 772"/>
                <a:gd name="T55" fmla="*/ 535 h 650"/>
                <a:gd name="T56" fmla="*/ 733 w 772"/>
                <a:gd name="T57" fmla="*/ 535 h 650"/>
                <a:gd name="T58" fmla="*/ 771 w 772"/>
                <a:gd name="T59" fmla="*/ 466 h 650"/>
                <a:gd name="T60" fmla="*/ 733 w 772"/>
                <a:gd name="T61" fmla="*/ 450 h 650"/>
                <a:gd name="T62" fmla="*/ 740 w 772"/>
                <a:gd name="T63" fmla="*/ 336 h 650"/>
                <a:gd name="T64" fmla="*/ 679 w 772"/>
                <a:gd name="T65" fmla="*/ 237 h 650"/>
                <a:gd name="T66" fmla="*/ 733 w 772"/>
                <a:gd name="T67" fmla="*/ 206 h 650"/>
                <a:gd name="T68" fmla="*/ 725 w 772"/>
                <a:gd name="T69" fmla="*/ 107 h 650"/>
                <a:gd name="T70" fmla="*/ 748 w 772"/>
                <a:gd name="T71" fmla="*/ 68 h 650"/>
                <a:gd name="T72" fmla="*/ 702 w 772"/>
                <a:gd name="T73" fmla="*/ 15 h 650"/>
                <a:gd name="T74" fmla="*/ 603 w 772"/>
                <a:gd name="T75" fmla="*/ 7 h 650"/>
                <a:gd name="T76" fmla="*/ 557 w 772"/>
                <a:gd name="T77" fmla="*/ 53 h 650"/>
                <a:gd name="T78" fmla="*/ 527 w 772"/>
                <a:gd name="T79" fmla="*/ 99 h 650"/>
                <a:gd name="T80" fmla="*/ 443 w 772"/>
                <a:gd name="T81" fmla="*/ 91 h 650"/>
                <a:gd name="T82" fmla="*/ 366 w 772"/>
                <a:gd name="T83" fmla="*/ 114 h 650"/>
                <a:gd name="T84" fmla="*/ 328 w 772"/>
                <a:gd name="T85" fmla="*/ 99 h 650"/>
                <a:gd name="T86" fmla="*/ 305 w 772"/>
                <a:gd name="T87" fmla="*/ 114 h 650"/>
                <a:gd name="T88" fmla="*/ 221 w 772"/>
                <a:gd name="T89" fmla="*/ 107 h 650"/>
                <a:gd name="T90" fmla="*/ 129 w 772"/>
                <a:gd name="T91" fmla="*/ 76 h 650"/>
                <a:gd name="T92" fmla="*/ 91 w 772"/>
                <a:gd name="T93" fmla="*/ 9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2" h="650">
                  <a:moveTo>
                    <a:pt x="91" y="99"/>
                  </a:moveTo>
                  <a:lnTo>
                    <a:pt x="91" y="99"/>
                  </a:lnTo>
                  <a:cubicBezTo>
                    <a:pt x="91" y="122"/>
                    <a:pt x="106" y="152"/>
                    <a:pt x="91" y="160"/>
                  </a:cubicBezTo>
                  <a:cubicBezTo>
                    <a:pt x="61" y="168"/>
                    <a:pt x="30" y="130"/>
                    <a:pt x="0" y="130"/>
                  </a:cubicBezTo>
                  <a:lnTo>
                    <a:pt x="0" y="145"/>
                  </a:lnTo>
                  <a:cubicBezTo>
                    <a:pt x="7" y="168"/>
                    <a:pt x="7" y="183"/>
                    <a:pt x="22" y="191"/>
                  </a:cubicBezTo>
                  <a:cubicBezTo>
                    <a:pt x="45" y="214"/>
                    <a:pt x="83" y="206"/>
                    <a:pt x="106" y="214"/>
                  </a:cubicBezTo>
                  <a:cubicBezTo>
                    <a:pt x="122" y="221"/>
                    <a:pt x="137" y="229"/>
                    <a:pt x="137" y="237"/>
                  </a:cubicBezTo>
                  <a:cubicBezTo>
                    <a:pt x="145" y="260"/>
                    <a:pt x="129" y="282"/>
                    <a:pt x="129" y="298"/>
                  </a:cubicBezTo>
                  <a:cubicBezTo>
                    <a:pt x="129" y="321"/>
                    <a:pt x="122" y="343"/>
                    <a:pt x="122" y="366"/>
                  </a:cubicBezTo>
                  <a:cubicBezTo>
                    <a:pt x="114" y="389"/>
                    <a:pt x="106" y="404"/>
                    <a:pt x="122" y="420"/>
                  </a:cubicBezTo>
                  <a:cubicBezTo>
                    <a:pt x="129" y="427"/>
                    <a:pt x="152" y="427"/>
                    <a:pt x="168" y="427"/>
                  </a:cubicBezTo>
                  <a:cubicBezTo>
                    <a:pt x="183" y="427"/>
                    <a:pt x="221" y="420"/>
                    <a:pt x="221" y="435"/>
                  </a:cubicBezTo>
                  <a:cubicBezTo>
                    <a:pt x="221" y="466"/>
                    <a:pt x="183" y="473"/>
                    <a:pt x="160" y="496"/>
                  </a:cubicBezTo>
                  <a:lnTo>
                    <a:pt x="160" y="496"/>
                  </a:lnTo>
                  <a:cubicBezTo>
                    <a:pt x="168" y="504"/>
                    <a:pt x="183" y="512"/>
                    <a:pt x="191" y="519"/>
                  </a:cubicBezTo>
                  <a:cubicBezTo>
                    <a:pt x="206" y="519"/>
                    <a:pt x="221" y="512"/>
                    <a:pt x="229" y="519"/>
                  </a:cubicBezTo>
                  <a:cubicBezTo>
                    <a:pt x="236" y="535"/>
                    <a:pt x="221" y="565"/>
                    <a:pt x="236" y="580"/>
                  </a:cubicBezTo>
                  <a:cubicBezTo>
                    <a:pt x="267" y="611"/>
                    <a:pt x="305" y="611"/>
                    <a:pt x="336" y="626"/>
                  </a:cubicBezTo>
                  <a:lnTo>
                    <a:pt x="336" y="626"/>
                  </a:lnTo>
                  <a:cubicBezTo>
                    <a:pt x="343" y="634"/>
                    <a:pt x="343" y="649"/>
                    <a:pt x="351" y="649"/>
                  </a:cubicBezTo>
                  <a:cubicBezTo>
                    <a:pt x="374" y="634"/>
                    <a:pt x="374" y="618"/>
                    <a:pt x="389" y="603"/>
                  </a:cubicBezTo>
                  <a:cubicBezTo>
                    <a:pt x="397" y="588"/>
                    <a:pt x="404" y="573"/>
                    <a:pt x="420" y="565"/>
                  </a:cubicBezTo>
                  <a:cubicBezTo>
                    <a:pt x="435" y="565"/>
                    <a:pt x="443" y="588"/>
                    <a:pt x="458" y="588"/>
                  </a:cubicBezTo>
                  <a:cubicBezTo>
                    <a:pt x="481" y="588"/>
                    <a:pt x="511" y="573"/>
                    <a:pt x="534" y="573"/>
                  </a:cubicBezTo>
                  <a:cubicBezTo>
                    <a:pt x="557" y="573"/>
                    <a:pt x="580" y="588"/>
                    <a:pt x="603" y="588"/>
                  </a:cubicBezTo>
                  <a:cubicBezTo>
                    <a:pt x="633" y="580"/>
                    <a:pt x="656" y="565"/>
                    <a:pt x="687" y="557"/>
                  </a:cubicBezTo>
                  <a:cubicBezTo>
                    <a:pt x="702" y="550"/>
                    <a:pt x="717" y="542"/>
                    <a:pt x="733" y="535"/>
                  </a:cubicBezTo>
                  <a:lnTo>
                    <a:pt x="733" y="535"/>
                  </a:lnTo>
                  <a:cubicBezTo>
                    <a:pt x="748" y="512"/>
                    <a:pt x="771" y="489"/>
                    <a:pt x="771" y="466"/>
                  </a:cubicBezTo>
                  <a:cubicBezTo>
                    <a:pt x="771" y="458"/>
                    <a:pt x="740" y="458"/>
                    <a:pt x="733" y="450"/>
                  </a:cubicBezTo>
                  <a:cubicBezTo>
                    <a:pt x="725" y="412"/>
                    <a:pt x="756" y="374"/>
                    <a:pt x="740" y="336"/>
                  </a:cubicBezTo>
                  <a:cubicBezTo>
                    <a:pt x="733" y="298"/>
                    <a:pt x="679" y="275"/>
                    <a:pt x="679" y="237"/>
                  </a:cubicBezTo>
                  <a:cubicBezTo>
                    <a:pt x="679" y="214"/>
                    <a:pt x="725" y="229"/>
                    <a:pt x="733" y="206"/>
                  </a:cubicBezTo>
                  <a:cubicBezTo>
                    <a:pt x="748" y="175"/>
                    <a:pt x="725" y="137"/>
                    <a:pt x="725" y="107"/>
                  </a:cubicBezTo>
                  <a:cubicBezTo>
                    <a:pt x="733" y="91"/>
                    <a:pt x="756" y="84"/>
                    <a:pt x="748" y="68"/>
                  </a:cubicBezTo>
                  <a:cubicBezTo>
                    <a:pt x="740" y="46"/>
                    <a:pt x="725" y="23"/>
                    <a:pt x="702" y="15"/>
                  </a:cubicBezTo>
                  <a:cubicBezTo>
                    <a:pt x="672" y="7"/>
                    <a:pt x="633" y="0"/>
                    <a:pt x="603" y="7"/>
                  </a:cubicBezTo>
                  <a:cubicBezTo>
                    <a:pt x="580" y="15"/>
                    <a:pt x="572" y="38"/>
                    <a:pt x="557" y="53"/>
                  </a:cubicBezTo>
                  <a:cubicBezTo>
                    <a:pt x="550" y="68"/>
                    <a:pt x="542" y="91"/>
                    <a:pt x="527" y="99"/>
                  </a:cubicBezTo>
                  <a:cubicBezTo>
                    <a:pt x="504" y="107"/>
                    <a:pt x="465" y="91"/>
                    <a:pt x="443" y="91"/>
                  </a:cubicBezTo>
                  <a:cubicBezTo>
                    <a:pt x="412" y="99"/>
                    <a:pt x="389" y="114"/>
                    <a:pt x="366" y="114"/>
                  </a:cubicBezTo>
                  <a:cubicBezTo>
                    <a:pt x="351" y="114"/>
                    <a:pt x="343" y="99"/>
                    <a:pt x="328" y="99"/>
                  </a:cubicBezTo>
                  <a:cubicBezTo>
                    <a:pt x="320" y="99"/>
                    <a:pt x="313" y="114"/>
                    <a:pt x="305" y="114"/>
                  </a:cubicBezTo>
                  <a:cubicBezTo>
                    <a:pt x="275" y="122"/>
                    <a:pt x="252" y="114"/>
                    <a:pt x="221" y="107"/>
                  </a:cubicBezTo>
                  <a:cubicBezTo>
                    <a:pt x="191" y="99"/>
                    <a:pt x="160" y="76"/>
                    <a:pt x="129" y="76"/>
                  </a:cubicBezTo>
                  <a:cubicBezTo>
                    <a:pt x="114" y="76"/>
                    <a:pt x="106" y="91"/>
                    <a:pt x="91" y="9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59"/>
            <p:cNvSpPr>
              <a:spLocks noChangeArrowheads="1"/>
            </p:cNvSpPr>
            <p:nvPr/>
          </p:nvSpPr>
          <p:spPr bwMode="auto">
            <a:xfrm>
              <a:off x="6224183" y="6443663"/>
              <a:ext cx="592098" cy="696912"/>
            </a:xfrm>
            <a:custGeom>
              <a:avLst/>
              <a:gdLst>
                <a:gd name="T0" fmla="*/ 343 w 1643"/>
                <a:gd name="T1" fmla="*/ 146 h 1934"/>
                <a:gd name="T2" fmla="*/ 252 w 1643"/>
                <a:gd name="T3" fmla="*/ 581 h 1934"/>
                <a:gd name="T4" fmla="*/ 38 w 1643"/>
                <a:gd name="T5" fmla="*/ 909 h 1934"/>
                <a:gd name="T6" fmla="*/ 122 w 1643"/>
                <a:gd name="T7" fmla="*/ 917 h 1934"/>
                <a:gd name="T8" fmla="*/ 160 w 1643"/>
                <a:gd name="T9" fmla="*/ 1032 h 1934"/>
                <a:gd name="T10" fmla="*/ 137 w 1643"/>
                <a:gd name="T11" fmla="*/ 1123 h 1934"/>
                <a:gd name="T12" fmla="*/ 30 w 1643"/>
                <a:gd name="T13" fmla="*/ 1169 h 1934"/>
                <a:gd name="T14" fmla="*/ 30 w 1643"/>
                <a:gd name="T15" fmla="*/ 1177 h 1934"/>
                <a:gd name="T16" fmla="*/ 382 w 1643"/>
                <a:gd name="T17" fmla="*/ 1284 h 1934"/>
                <a:gd name="T18" fmla="*/ 237 w 1643"/>
                <a:gd name="T19" fmla="*/ 1398 h 1934"/>
                <a:gd name="T20" fmla="*/ 198 w 1643"/>
                <a:gd name="T21" fmla="*/ 1574 h 1934"/>
                <a:gd name="T22" fmla="*/ 91 w 1643"/>
                <a:gd name="T23" fmla="*/ 1658 h 1934"/>
                <a:gd name="T24" fmla="*/ 91 w 1643"/>
                <a:gd name="T25" fmla="*/ 1734 h 1934"/>
                <a:gd name="T26" fmla="*/ 168 w 1643"/>
                <a:gd name="T27" fmla="*/ 1849 h 1934"/>
                <a:gd name="T28" fmla="*/ 183 w 1643"/>
                <a:gd name="T29" fmla="*/ 1750 h 1934"/>
                <a:gd name="T30" fmla="*/ 321 w 1643"/>
                <a:gd name="T31" fmla="*/ 1834 h 1934"/>
                <a:gd name="T32" fmla="*/ 313 w 1643"/>
                <a:gd name="T33" fmla="*/ 1887 h 1934"/>
                <a:gd name="T34" fmla="*/ 427 w 1643"/>
                <a:gd name="T35" fmla="*/ 1933 h 1934"/>
                <a:gd name="T36" fmla="*/ 481 w 1643"/>
                <a:gd name="T37" fmla="*/ 1826 h 1934"/>
                <a:gd name="T38" fmla="*/ 573 w 1643"/>
                <a:gd name="T39" fmla="*/ 1849 h 1934"/>
                <a:gd name="T40" fmla="*/ 603 w 1643"/>
                <a:gd name="T41" fmla="*/ 1750 h 1934"/>
                <a:gd name="T42" fmla="*/ 618 w 1643"/>
                <a:gd name="T43" fmla="*/ 1650 h 1934"/>
                <a:gd name="T44" fmla="*/ 733 w 1643"/>
                <a:gd name="T45" fmla="*/ 1673 h 1934"/>
                <a:gd name="T46" fmla="*/ 779 w 1643"/>
                <a:gd name="T47" fmla="*/ 1620 h 1934"/>
                <a:gd name="T48" fmla="*/ 901 w 1643"/>
                <a:gd name="T49" fmla="*/ 1582 h 1934"/>
                <a:gd name="T50" fmla="*/ 878 w 1643"/>
                <a:gd name="T51" fmla="*/ 1475 h 1934"/>
                <a:gd name="T52" fmla="*/ 840 w 1643"/>
                <a:gd name="T53" fmla="*/ 1330 h 1934"/>
                <a:gd name="T54" fmla="*/ 855 w 1643"/>
                <a:gd name="T55" fmla="*/ 1223 h 1934"/>
                <a:gd name="T56" fmla="*/ 962 w 1643"/>
                <a:gd name="T57" fmla="*/ 1184 h 1934"/>
                <a:gd name="T58" fmla="*/ 1023 w 1643"/>
                <a:gd name="T59" fmla="*/ 1307 h 1934"/>
                <a:gd name="T60" fmla="*/ 1115 w 1643"/>
                <a:gd name="T61" fmla="*/ 1429 h 1934"/>
                <a:gd name="T62" fmla="*/ 1130 w 1643"/>
                <a:gd name="T63" fmla="*/ 1475 h 1934"/>
                <a:gd name="T64" fmla="*/ 1229 w 1643"/>
                <a:gd name="T65" fmla="*/ 1490 h 1934"/>
                <a:gd name="T66" fmla="*/ 1283 w 1643"/>
                <a:gd name="T67" fmla="*/ 1612 h 1934"/>
                <a:gd name="T68" fmla="*/ 1283 w 1643"/>
                <a:gd name="T69" fmla="*/ 1521 h 1934"/>
                <a:gd name="T70" fmla="*/ 1413 w 1643"/>
                <a:gd name="T71" fmla="*/ 1536 h 1934"/>
                <a:gd name="T72" fmla="*/ 1443 w 1643"/>
                <a:gd name="T73" fmla="*/ 1498 h 1934"/>
                <a:gd name="T74" fmla="*/ 1474 w 1643"/>
                <a:gd name="T75" fmla="*/ 1452 h 1934"/>
                <a:gd name="T76" fmla="*/ 1504 w 1643"/>
                <a:gd name="T77" fmla="*/ 1261 h 1934"/>
                <a:gd name="T78" fmla="*/ 1512 w 1643"/>
                <a:gd name="T79" fmla="*/ 1131 h 1934"/>
                <a:gd name="T80" fmla="*/ 1611 w 1643"/>
                <a:gd name="T81" fmla="*/ 1070 h 1934"/>
                <a:gd name="T82" fmla="*/ 1634 w 1643"/>
                <a:gd name="T83" fmla="*/ 1001 h 1934"/>
                <a:gd name="T84" fmla="*/ 1489 w 1643"/>
                <a:gd name="T85" fmla="*/ 795 h 1934"/>
                <a:gd name="T86" fmla="*/ 1398 w 1643"/>
                <a:gd name="T87" fmla="*/ 680 h 1934"/>
                <a:gd name="T88" fmla="*/ 1275 w 1643"/>
                <a:gd name="T89" fmla="*/ 665 h 1934"/>
                <a:gd name="T90" fmla="*/ 1153 w 1643"/>
                <a:gd name="T91" fmla="*/ 482 h 1934"/>
                <a:gd name="T92" fmla="*/ 977 w 1643"/>
                <a:gd name="T93" fmla="*/ 436 h 1934"/>
                <a:gd name="T94" fmla="*/ 871 w 1643"/>
                <a:gd name="T95" fmla="*/ 275 h 1934"/>
                <a:gd name="T96" fmla="*/ 954 w 1643"/>
                <a:gd name="T97" fmla="*/ 123 h 1934"/>
                <a:gd name="T98" fmla="*/ 1008 w 1643"/>
                <a:gd name="T99" fmla="*/ 23 h 1934"/>
                <a:gd name="T100" fmla="*/ 909 w 1643"/>
                <a:gd name="T101" fmla="*/ 16 h 1934"/>
                <a:gd name="T102" fmla="*/ 718 w 1643"/>
                <a:gd name="T103" fmla="*/ 69 h 1934"/>
                <a:gd name="T104" fmla="*/ 580 w 1643"/>
                <a:gd name="T105" fmla="*/ 146 h 1934"/>
                <a:gd name="T106" fmla="*/ 458 w 1643"/>
                <a:gd name="T107" fmla="*/ 77 h 1934"/>
                <a:gd name="T108" fmla="*/ 343 w 1643"/>
                <a:gd name="T109" fmla="*/ 146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3" h="1934">
                  <a:moveTo>
                    <a:pt x="343" y="146"/>
                  </a:moveTo>
                  <a:lnTo>
                    <a:pt x="343" y="146"/>
                  </a:lnTo>
                  <a:cubicBezTo>
                    <a:pt x="374" y="245"/>
                    <a:pt x="420" y="360"/>
                    <a:pt x="305" y="405"/>
                  </a:cubicBezTo>
                  <a:cubicBezTo>
                    <a:pt x="267" y="421"/>
                    <a:pt x="221" y="566"/>
                    <a:pt x="252" y="581"/>
                  </a:cubicBezTo>
                  <a:cubicBezTo>
                    <a:pt x="382" y="650"/>
                    <a:pt x="168" y="795"/>
                    <a:pt x="84" y="803"/>
                  </a:cubicBezTo>
                  <a:cubicBezTo>
                    <a:pt x="0" y="803"/>
                    <a:pt x="38" y="856"/>
                    <a:pt x="38" y="909"/>
                  </a:cubicBezTo>
                  <a:lnTo>
                    <a:pt x="38" y="909"/>
                  </a:lnTo>
                  <a:cubicBezTo>
                    <a:pt x="68" y="909"/>
                    <a:pt x="91" y="902"/>
                    <a:pt x="122" y="917"/>
                  </a:cubicBezTo>
                  <a:cubicBezTo>
                    <a:pt x="137" y="925"/>
                    <a:pt x="137" y="955"/>
                    <a:pt x="145" y="971"/>
                  </a:cubicBezTo>
                  <a:cubicBezTo>
                    <a:pt x="153" y="994"/>
                    <a:pt x="153" y="1017"/>
                    <a:pt x="160" y="1032"/>
                  </a:cubicBezTo>
                  <a:cubicBezTo>
                    <a:pt x="160" y="1047"/>
                    <a:pt x="175" y="1062"/>
                    <a:pt x="168" y="1078"/>
                  </a:cubicBezTo>
                  <a:cubicBezTo>
                    <a:pt x="168" y="1100"/>
                    <a:pt x="145" y="1108"/>
                    <a:pt x="137" y="1123"/>
                  </a:cubicBezTo>
                  <a:cubicBezTo>
                    <a:pt x="122" y="1131"/>
                    <a:pt x="122" y="1146"/>
                    <a:pt x="107" y="1154"/>
                  </a:cubicBezTo>
                  <a:cubicBezTo>
                    <a:pt x="84" y="1161"/>
                    <a:pt x="53" y="1161"/>
                    <a:pt x="30" y="1169"/>
                  </a:cubicBezTo>
                  <a:lnTo>
                    <a:pt x="30" y="1169"/>
                  </a:lnTo>
                  <a:lnTo>
                    <a:pt x="30" y="1177"/>
                  </a:lnTo>
                  <a:cubicBezTo>
                    <a:pt x="38" y="1375"/>
                    <a:pt x="267" y="1284"/>
                    <a:pt x="382" y="1284"/>
                  </a:cubicBezTo>
                  <a:lnTo>
                    <a:pt x="382" y="1284"/>
                  </a:lnTo>
                  <a:cubicBezTo>
                    <a:pt x="343" y="1284"/>
                    <a:pt x="275" y="1360"/>
                    <a:pt x="237" y="1398"/>
                  </a:cubicBezTo>
                  <a:lnTo>
                    <a:pt x="237" y="1398"/>
                  </a:lnTo>
                  <a:cubicBezTo>
                    <a:pt x="244" y="1414"/>
                    <a:pt x="252" y="1436"/>
                    <a:pt x="252" y="1459"/>
                  </a:cubicBezTo>
                  <a:cubicBezTo>
                    <a:pt x="244" y="1498"/>
                    <a:pt x="229" y="1544"/>
                    <a:pt x="198" y="1574"/>
                  </a:cubicBezTo>
                  <a:cubicBezTo>
                    <a:pt x="191" y="1582"/>
                    <a:pt x="168" y="1566"/>
                    <a:pt x="153" y="1574"/>
                  </a:cubicBezTo>
                  <a:cubicBezTo>
                    <a:pt x="130" y="1597"/>
                    <a:pt x="99" y="1620"/>
                    <a:pt x="91" y="1658"/>
                  </a:cubicBezTo>
                  <a:cubicBezTo>
                    <a:pt x="91" y="1673"/>
                    <a:pt x="130" y="1681"/>
                    <a:pt x="122" y="1696"/>
                  </a:cubicBezTo>
                  <a:cubicBezTo>
                    <a:pt x="122" y="1711"/>
                    <a:pt x="99" y="1719"/>
                    <a:pt x="91" y="1734"/>
                  </a:cubicBezTo>
                  <a:cubicBezTo>
                    <a:pt x="84" y="1750"/>
                    <a:pt x="76" y="1773"/>
                    <a:pt x="84" y="1788"/>
                  </a:cubicBezTo>
                  <a:cubicBezTo>
                    <a:pt x="107" y="1819"/>
                    <a:pt x="137" y="1834"/>
                    <a:pt x="168" y="1849"/>
                  </a:cubicBezTo>
                  <a:cubicBezTo>
                    <a:pt x="183" y="1857"/>
                    <a:pt x="214" y="1864"/>
                    <a:pt x="214" y="1849"/>
                  </a:cubicBezTo>
                  <a:cubicBezTo>
                    <a:pt x="214" y="1819"/>
                    <a:pt x="153" y="1773"/>
                    <a:pt x="183" y="1750"/>
                  </a:cubicBezTo>
                  <a:cubicBezTo>
                    <a:pt x="214" y="1734"/>
                    <a:pt x="229" y="1803"/>
                    <a:pt x="260" y="1819"/>
                  </a:cubicBezTo>
                  <a:cubicBezTo>
                    <a:pt x="275" y="1826"/>
                    <a:pt x="305" y="1819"/>
                    <a:pt x="321" y="1834"/>
                  </a:cubicBezTo>
                  <a:cubicBezTo>
                    <a:pt x="336" y="1849"/>
                    <a:pt x="321" y="1872"/>
                    <a:pt x="313" y="1887"/>
                  </a:cubicBezTo>
                  <a:lnTo>
                    <a:pt x="313" y="1887"/>
                  </a:lnTo>
                  <a:cubicBezTo>
                    <a:pt x="427" y="1933"/>
                    <a:pt x="427" y="1933"/>
                    <a:pt x="427" y="1933"/>
                  </a:cubicBezTo>
                  <a:lnTo>
                    <a:pt x="427" y="1933"/>
                  </a:lnTo>
                  <a:cubicBezTo>
                    <a:pt x="427" y="1918"/>
                    <a:pt x="420" y="1895"/>
                    <a:pt x="427" y="1872"/>
                  </a:cubicBezTo>
                  <a:cubicBezTo>
                    <a:pt x="443" y="1857"/>
                    <a:pt x="458" y="1834"/>
                    <a:pt x="481" y="1826"/>
                  </a:cubicBezTo>
                  <a:cubicBezTo>
                    <a:pt x="496" y="1826"/>
                    <a:pt x="496" y="1864"/>
                    <a:pt x="512" y="1872"/>
                  </a:cubicBezTo>
                  <a:cubicBezTo>
                    <a:pt x="535" y="1872"/>
                    <a:pt x="550" y="1857"/>
                    <a:pt x="573" y="1849"/>
                  </a:cubicBezTo>
                  <a:lnTo>
                    <a:pt x="573" y="1849"/>
                  </a:lnTo>
                  <a:cubicBezTo>
                    <a:pt x="580" y="1819"/>
                    <a:pt x="603" y="1788"/>
                    <a:pt x="603" y="1750"/>
                  </a:cubicBezTo>
                  <a:cubicBezTo>
                    <a:pt x="611" y="1734"/>
                    <a:pt x="596" y="1711"/>
                    <a:pt x="596" y="1696"/>
                  </a:cubicBezTo>
                  <a:lnTo>
                    <a:pt x="618" y="1650"/>
                  </a:lnTo>
                  <a:lnTo>
                    <a:pt x="702" y="1620"/>
                  </a:lnTo>
                  <a:cubicBezTo>
                    <a:pt x="710" y="1635"/>
                    <a:pt x="718" y="1650"/>
                    <a:pt x="733" y="1673"/>
                  </a:cubicBezTo>
                  <a:lnTo>
                    <a:pt x="733" y="1673"/>
                  </a:lnTo>
                  <a:cubicBezTo>
                    <a:pt x="748" y="1650"/>
                    <a:pt x="756" y="1620"/>
                    <a:pt x="779" y="1620"/>
                  </a:cubicBezTo>
                  <a:cubicBezTo>
                    <a:pt x="802" y="1612"/>
                    <a:pt x="810" y="1658"/>
                    <a:pt x="825" y="1658"/>
                  </a:cubicBezTo>
                  <a:cubicBezTo>
                    <a:pt x="863" y="1643"/>
                    <a:pt x="878" y="1605"/>
                    <a:pt x="901" y="1582"/>
                  </a:cubicBezTo>
                  <a:lnTo>
                    <a:pt x="901" y="1582"/>
                  </a:lnTo>
                  <a:cubicBezTo>
                    <a:pt x="893" y="1544"/>
                    <a:pt x="878" y="1513"/>
                    <a:pt x="878" y="1475"/>
                  </a:cubicBezTo>
                  <a:cubicBezTo>
                    <a:pt x="878" y="1444"/>
                    <a:pt x="909" y="1421"/>
                    <a:pt x="909" y="1398"/>
                  </a:cubicBezTo>
                  <a:cubicBezTo>
                    <a:pt x="901" y="1368"/>
                    <a:pt x="855" y="1360"/>
                    <a:pt x="840" y="1330"/>
                  </a:cubicBezTo>
                  <a:cubicBezTo>
                    <a:pt x="832" y="1314"/>
                    <a:pt x="840" y="1284"/>
                    <a:pt x="840" y="1261"/>
                  </a:cubicBezTo>
                  <a:cubicBezTo>
                    <a:pt x="848" y="1253"/>
                    <a:pt x="840" y="1230"/>
                    <a:pt x="855" y="1223"/>
                  </a:cubicBezTo>
                  <a:cubicBezTo>
                    <a:pt x="871" y="1207"/>
                    <a:pt x="901" y="1223"/>
                    <a:pt x="916" y="1215"/>
                  </a:cubicBezTo>
                  <a:cubicBezTo>
                    <a:pt x="932" y="1207"/>
                    <a:pt x="939" y="1184"/>
                    <a:pt x="962" y="1184"/>
                  </a:cubicBezTo>
                  <a:cubicBezTo>
                    <a:pt x="977" y="1184"/>
                    <a:pt x="993" y="1200"/>
                    <a:pt x="1008" y="1215"/>
                  </a:cubicBezTo>
                  <a:lnTo>
                    <a:pt x="1023" y="1307"/>
                  </a:lnTo>
                  <a:cubicBezTo>
                    <a:pt x="1023" y="1314"/>
                    <a:pt x="1077" y="1414"/>
                    <a:pt x="1077" y="1414"/>
                  </a:cubicBezTo>
                  <a:cubicBezTo>
                    <a:pt x="1092" y="1414"/>
                    <a:pt x="1107" y="1414"/>
                    <a:pt x="1115" y="1429"/>
                  </a:cubicBezTo>
                  <a:cubicBezTo>
                    <a:pt x="1123" y="1436"/>
                    <a:pt x="1123" y="1459"/>
                    <a:pt x="1130" y="1475"/>
                  </a:cubicBezTo>
                  <a:lnTo>
                    <a:pt x="1130" y="1475"/>
                  </a:lnTo>
                  <a:cubicBezTo>
                    <a:pt x="1153" y="1490"/>
                    <a:pt x="1176" y="1505"/>
                    <a:pt x="1199" y="1505"/>
                  </a:cubicBezTo>
                  <a:cubicBezTo>
                    <a:pt x="1214" y="1513"/>
                    <a:pt x="1222" y="1475"/>
                    <a:pt x="1229" y="1490"/>
                  </a:cubicBezTo>
                  <a:cubicBezTo>
                    <a:pt x="1245" y="1513"/>
                    <a:pt x="1237" y="1559"/>
                    <a:pt x="1252" y="1589"/>
                  </a:cubicBezTo>
                  <a:cubicBezTo>
                    <a:pt x="1260" y="1605"/>
                    <a:pt x="1275" y="1605"/>
                    <a:pt x="1283" y="1612"/>
                  </a:cubicBezTo>
                  <a:lnTo>
                    <a:pt x="1283" y="1612"/>
                  </a:lnTo>
                  <a:cubicBezTo>
                    <a:pt x="1283" y="1582"/>
                    <a:pt x="1268" y="1544"/>
                    <a:pt x="1283" y="1521"/>
                  </a:cubicBezTo>
                  <a:cubicBezTo>
                    <a:pt x="1298" y="1490"/>
                    <a:pt x="1329" y="1467"/>
                    <a:pt x="1359" y="1475"/>
                  </a:cubicBezTo>
                  <a:cubicBezTo>
                    <a:pt x="1390" y="1475"/>
                    <a:pt x="1390" y="1521"/>
                    <a:pt x="1413" y="1536"/>
                  </a:cubicBezTo>
                  <a:cubicBezTo>
                    <a:pt x="1428" y="1551"/>
                    <a:pt x="1443" y="1566"/>
                    <a:pt x="1451" y="1559"/>
                  </a:cubicBezTo>
                  <a:cubicBezTo>
                    <a:pt x="1466" y="1544"/>
                    <a:pt x="1436" y="1513"/>
                    <a:pt x="1443" y="1498"/>
                  </a:cubicBezTo>
                  <a:cubicBezTo>
                    <a:pt x="1443" y="1482"/>
                    <a:pt x="1466" y="1467"/>
                    <a:pt x="1474" y="1452"/>
                  </a:cubicBezTo>
                  <a:lnTo>
                    <a:pt x="1474" y="1452"/>
                  </a:lnTo>
                  <a:cubicBezTo>
                    <a:pt x="1459" y="1414"/>
                    <a:pt x="1428" y="1375"/>
                    <a:pt x="1436" y="1330"/>
                  </a:cubicBezTo>
                  <a:cubicBezTo>
                    <a:pt x="1436" y="1299"/>
                    <a:pt x="1489" y="1292"/>
                    <a:pt x="1504" y="1261"/>
                  </a:cubicBezTo>
                  <a:cubicBezTo>
                    <a:pt x="1512" y="1238"/>
                    <a:pt x="1497" y="1200"/>
                    <a:pt x="1504" y="1177"/>
                  </a:cubicBezTo>
                  <a:cubicBezTo>
                    <a:pt x="1504" y="1161"/>
                    <a:pt x="1504" y="1139"/>
                    <a:pt x="1512" y="1131"/>
                  </a:cubicBezTo>
                  <a:cubicBezTo>
                    <a:pt x="1543" y="1108"/>
                    <a:pt x="1581" y="1093"/>
                    <a:pt x="1611" y="1070"/>
                  </a:cubicBezTo>
                  <a:lnTo>
                    <a:pt x="1611" y="1070"/>
                  </a:lnTo>
                  <a:cubicBezTo>
                    <a:pt x="1619" y="1062"/>
                    <a:pt x="1634" y="1055"/>
                    <a:pt x="1634" y="1047"/>
                  </a:cubicBezTo>
                  <a:cubicBezTo>
                    <a:pt x="1642" y="1032"/>
                    <a:pt x="1634" y="1017"/>
                    <a:pt x="1634" y="1001"/>
                  </a:cubicBezTo>
                  <a:lnTo>
                    <a:pt x="1634" y="1001"/>
                  </a:lnTo>
                  <a:cubicBezTo>
                    <a:pt x="1581" y="932"/>
                    <a:pt x="1543" y="856"/>
                    <a:pt x="1489" y="795"/>
                  </a:cubicBezTo>
                  <a:cubicBezTo>
                    <a:pt x="1474" y="772"/>
                    <a:pt x="1436" y="787"/>
                    <a:pt x="1421" y="772"/>
                  </a:cubicBezTo>
                  <a:cubicBezTo>
                    <a:pt x="1405" y="749"/>
                    <a:pt x="1413" y="711"/>
                    <a:pt x="1398" y="680"/>
                  </a:cubicBezTo>
                  <a:cubicBezTo>
                    <a:pt x="1390" y="673"/>
                    <a:pt x="1367" y="665"/>
                    <a:pt x="1352" y="665"/>
                  </a:cubicBezTo>
                  <a:cubicBezTo>
                    <a:pt x="1329" y="657"/>
                    <a:pt x="1298" y="673"/>
                    <a:pt x="1275" y="665"/>
                  </a:cubicBezTo>
                  <a:cubicBezTo>
                    <a:pt x="1237" y="657"/>
                    <a:pt x="1191" y="642"/>
                    <a:pt x="1168" y="612"/>
                  </a:cubicBezTo>
                  <a:cubicBezTo>
                    <a:pt x="1146" y="573"/>
                    <a:pt x="1184" y="512"/>
                    <a:pt x="1153" y="482"/>
                  </a:cubicBezTo>
                  <a:cubicBezTo>
                    <a:pt x="1107" y="451"/>
                    <a:pt x="1039" y="505"/>
                    <a:pt x="985" y="489"/>
                  </a:cubicBezTo>
                  <a:cubicBezTo>
                    <a:pt x="970" y="482"/>
                    <a:pt x="985" y="451"/>
                    <a:pt x="977" y="436"/>
                  </a:cubicBezTo>
                  <a:cubicBezTo>
                    <a:pt x="977" y="413"/>
                    <a:pt x="970" y="390"/>
                    <a:pt x="954" y="367"/>
                  </a:cubicBezTo>
                  <a:cubicBezTo>
                    <a:pt x="932" y="337"/>
                    <a:pt x="886" y="314"/>
                    <a:pt x="871" y="275"/>
                  </a:cubicBezTo>
                  <a:cubicBezTo>
                    <a:pt x="863" y="253"/>
                    <a:pt x="871" y="222"/>
                    <a:pt x="878" y="199"/>
                  </a:cubicBezTo>
                  <a:cubicBezTo>
                    <a:pt x="893" y="169"/>
                    <a:pt x="932" y="153"/>
                    <a:pt x="954" y="123"/>
                  </a:cubicBezTo>
                  <a:cubicBezTo>
                    <a:pt x="977" y="92"/>
                    <a:pt x="993" y="54"/>
                    <a:pt x="1008" y="23"/>
                  </a:cubicBezTo>
                  <a:lnTo>
                    <a:pt x="1008" y="23"/>
                  </a:lnTo>
                  <a:cubicBezTo>
                    <a:pt x="1008" y="16"/>
                    <a:pt x="1008" y="8"/>
                    <a:pt x="1000" y="8"/>
                  </a:cubicBezTo>
                  <a:cubicBezTo>
                    <a:pt x="970" y="0"/>
                    <a:pt x="939" y="8"/>
                    <a:pt x="909" y="16"/>
                  </a:cubicBezTo>
                  <a:cubicBezTo>
                    <a:pt x="878" y="31"/>
                    <a:pt x="855" y="69"/>
                    <a:pt x="817" y="77"/>
                  </a:cubicBezTo>
                  <a:cubicBezTo>
                    <a:pt x="787" y="92"/>
                    <a:pt x="748" y="62"/>
                    <a:pt x="718" y="69"/>
                  </a:cubicBezTo>
                  <a:cubicBezTo>
                    <a:pt x="687" y="85"/>
                    <a:pt x="687" y="138"/>
                    <a:pt x="657" y="161"/>
                  </a:cubicBezTo>
                  <a:cubicBezTo>
                    <a:pt x="634" y="169"/>
                    <a:pt x="603" y="161"/>
                    <a:pt x="580" y="146"/>
                  </a:cubicBezTo>
                  <a:cubicBezTo>
                    <a:pt x="557" y="130"/>
                    <a:pt x="565" y="100"/>
                    <a:pt x="542" y="92"/>
                  </a:cubicBezTo>
                  <a:cubicBezTo>
                    <a:pt x="519" y="77"/>
                    <a:pt x="489" y="69"/>
                    <a:pt x="458" y="77"/>
                  </a:cubicBezTo>
                  <a:cubicBezTo>
                    <a:pt x="450" y="85"/>
                    <a:pt x="450" y="108"/>
                    <a:pt x="443" y="115"/>
                  </a:cubicBezTo>
                  <a:cubicBezTo>
                    <a:pt x="412" y="130"/>
                    <a:pt x="382" y="130"/>
                    <a:pt x="343" y="1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60"/>
            <p:cNvSpPr>
              <a:spLocks noChangeArrowheads="1"/>
            </p:cNvSpPr>
            <p:nvPr/>
          </p:nvSpPr>
          <p:spPr bwMode="auto">
            <a:xfrm>
              <a:off x="6235294" y="6769100"/>
              <a:ext cx="52385" cy="96838"/>
            </a:xfrm>
            <a:custGeom>
              <a:avLst/>
              <a:gdLst>
                <a:gd name="T0" fmla="*/ 8 w 146"/>
                <a:gd name="T1" fmla="*/ 7 h 268"/>
                <a:gd name="T2" fmla="*/ 8 w 146"/>
                <a:gd name="T3" fmla="*/ 7 h 268"/>
                <a:gd name="T4" fmla="*/ 8 w 146"/>
                <a:gd name="T5" fmla="*/ 30 h 268"/>
                <a:gd name="T6" fmla="*/ 0 w 146"/>
                <a:gd name="T7" fmla="*/ 267 h 268"/>
                <a:gd name="T8" fmla="*/ 0 w 146"/>
                <a:gd name="T9" fmla="*/ 267 h 268"/>
                <a:gd name="T10" fmla="*/ 77 w 146"/>
                <a:gd name="T11" fmla="*/ 252 h 268"/>
                <a:gd name="T12" fmla="*/ 107 w 146"/>
                <a:gd name="T13" fmla="*/ 221 h 268"/>
                <a:gd name="T14" fmla="*/ 138 w 146"/>
                <a:gd name="T15" fmla="*/ 176 h 268"/>
                <a:gd name="T16" fmla="*/ 130 w 146"/>
                <a:gd name="T17" fmla="*/ 130 h 268"/>
                <a:gd name="T18" fmla="*/ 115 w 146"/>
                <a:gd name="T19" fmla="*/ 69 h 268"/>
                <a:gd name="T20" fmla="*/ 92 w 146"/>
                <a:gd name="T21" fmla="*/ 15 h 268"/>
                <a:gd name="T22" fmla="*/ 8 w 146"/>
                <a:gd name="T23" fmla="*/ 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68">
                  <a:moveTo>
                    <a:pt x="8" y="7"/>
                  </a:moveTo>
                  <a:lnTo>
                    <a:pt x="8" y="7"/>
                  </a:lnTo>
                  <a:cubicBezTo>
                    <a:pt x="8" y="15"/>
                    <a:pt x="8" y="23"/>
                    <a:pt x="8" y="30"/>
                  </a:cubicBezTo>
                  <a:cubicBezTo>
                    <a:pt x="0" y="107"/>
                    <a:pt x="0" y="191"/>
                    <a:pt x="0" y="267"/>
                  </a:cubicBezTo>
                  <a:lnTo>
                    <a:pt x="0" y="267"/>
                  </a:lnTo>
                  <a:cubicBezTo>
                    <a:pt x="23" y="259"/>
                    <a:pt x="54" y="259"/>
                    <a:pt x="77" y="252"/>
                  </a:cubicBezTo>
                  <a:cubicBezTo>
                    <a:pt x="92" y="244"/>
                    <a:pt x="92" y="229"/>
                    <a:pt x="107" y="221"/>
                  </a:cubicBezTo>
                  <a:cubicBezTo>
                    <a:pt x="115" y="206"/>
                    <a:pt x="138" y="198"/>
                    <a:pt x="138" y="176"/>
                  </a:cubicBezTo>
                  <a:cubicBezTo>
                    <a:pt x="145" y="160"/>
                    <a:pt x="130" y="145"/>
                    <a:pt x="130" y="130"/>
                  </a:cubicBezTo>
                  <a:cubicBezTo>
                    <a:pt x="123" y="115"/>
                    <a:pt x="123" y="92"/>
                    <a:pt x="115" y="69"/>
                  </a:cubicBezTo>
                  <a:cubicBezTo>
                    <a:pt x="107" y="53"/>
                    <a:pt x="107" y="23"/>
                    <a:pt x="92" y="15"/>
                  </a:cubicBezTo>
                  <a:cubicBezTo>
                    <a:pt x="61" y="0"/>
                    <a:pt x="38" y="7"/>
                    <a:pt x="8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61"/>
            <p:cNvSpPr>
              <a:spLocks noChangeArrowheads="1"/>
            </p:cNvSpPr>
            <p:nvPr/>
          </p:nvSpPr>
          <p:spPr bwMode="auto">
            <a:xfrm>
              <a:off x="6535312" y="6116639"/>
              <a:ext cx="1314364" cy="904875"/>
            </a:xfrm>
            <a:custGeom>
              <a:avLst/>
              <a:gdLst>
                <a:gd name="T0" fmla="*/ 221 w 3652"/>
                <a:gd name="T1" fmla="*/ 908 h 2514"/>
                <a:gd name="T2" fmla="*/ 351 w 3652"/>
                <a:gd name="T3" fmla="*/ 725 h 2514"/>
                <a:gd name="T4" fmla="*/ 344 w 3652"/>
                <a:gd name="T5" fmla="*/ 511 h 2514"/>
                <a:gd name="T6" fmla="*/ 397 w 3652"/>
                <a:gd name="T7" fmla="*/ 358 h 2514"/>
                <a:gd name="T8" fmla="*/ 588 w 3652"/>
                <a:gd name="T9" fmla="*/ 290 h 2514"/>
                <a:gd name="T10" fmla="*/ 771 w 3652"/>
                <a:gd name="T11" fmla="*/ 229 h 2514"/>
                <a:gd name="T12" fmla="*/ 1069 w 3652"/>
                <a:gd name="T13" fmla="*/ 236 h 2514"/>
                <a:gd name="T14" fmla="*/ 1191 w 3652"/>
                <a:gd name="T15" fmla="*/ 99 h 2514"/>
                <a:gd name="T16" fmla="*/ 1314 w 3652"/>
                <a:gd name="T17" fmla="*/ 91 h 2514"/>
                <a:gd name="T18" fmla="*/ 1512 w 3652"/>
                <a:gd name="T19" fmla="*/ 221 h 2514"/>
                <a:gd name="T20" fmla="*/ 1673 w 3652"/>
                <a:gd name="T21" fmla="*/ 290 h 2514"/>
                <a:gd name="T22" fmla="*/ 1726 w 3652"/>
                <a:gd name="T23" fmla="*/ 206 h 2514"/>
                <a:gd name="T24" fmla="*/ 1764 w 3652"/>
                <a:gd name="T25" fmla="*/ 198 h 2514"/>
                <a:gd name="T26" fmla="*/ 1825 w 3652"/>
                <a:gd name="T27" fmla="*/ 267 h 2514"/>
                <a:gd name="T28" fmla="*/ 1963 w 3652"/>
                <a:gd name="T29" fmla="*/ 221 h 2514"/>
                <a:gd name="T30" fmla="*/ 2032 w 3652"/>
                <a:gd name="T31" fmla="*/ 152 h 2514"/>
                <a:gd name="T32" fmla="*/ 2223 w 3652"/>
                <a:gd name="T33" fmla="*/ 183 h 2514"/>
                <a:gd name="T34" fmla="*/ 2352 w 3652"/>
                <a:gd name="T35" fmla="*/ 168 h 2514"/>
                <a:gd name="T36" fmla="*/ 2566 w 3652"/>
                <a:gd name="T37" fmla="*/ 191 h 2514"/>
                <a:gd name="T38" fmla="*/ 2643 w 3652"/>
                <a:gd name="T39" fmla="*/ 68 h 2514"/>
                <a:gd name="T40" fmla="*/ 2902 w 3652"/>
                <a:gd name="T41" fmla="*/ 122 h 2514"/>
                <a:gd name="T42" fmla="*/ 3193 w 3652"/>
                <a:gd name="T43" fmla="*/ 412 h 2514"/>
                <a:gd name="T44" fmla="*/ 3544 w 3652"/>
                <a:gd name="T45" fmla="*/ 916 h 2514"/>
                <a:gd name="T46" fmla="*/ 3620 w 3652"/>
                <a:gd name="T47" fmla="*/ 1153 h 2514"/>
                <a:gd name="T48" fmla="*/ 3254 w 3652"/>
                <a:gd name="T49" fmla="*/ 1161 h 2514"/>
                <a:gd name="T50" fmla="*/ 2925 w 3652"/>
                <a:gd name="T51" fmla="*/ 1352 h 2514"/>
                <a:gd name="T52" fmla="*/ 2780 w 3652"/>
                <a:gd name="T53" fmla="*/ 1443 h 2514"/>
                <a:gd name="T54" fmla="*/ 2505 w 3652"/>
                <a:gd name="T55" fmla="*/ 1550 h 2514"/>
                <a:gd name="T56" fmla="*/ 2413 w 3652"/>
                <a:gd name="T57" fmla="*/ 1481 h 2514"/>
                <a:gd name="T58" fmla="*/ 2261 w 3652"/>
                <a:gd name="T59" fmla="*/ 1397 h 2514"/>
                <a:gd name="T60" fmla="*/ 2100 w 3652"/>
                <a:gd name="T61" fmla="*/ 1520 h 2514"/>
                <a:gd name="T62" fmla="*/ 2055 w 3652"/>
                <a:gd name="T63" fmla="*/ 1627 h 2514"/>
                <a:gd name="T64" fmla="*/ 2284 w 3652"/>
                <a:gd name="T65" fmla="*/ 1848 h 2514"/>
                <a:gd name="T66" fmla="*/ 2498 w 3652"/>
                <a:gd name="T67" fmla="*/ 1833 h 2514"/>
                <a:gd name="T68" fmla="*/ 2482 w 3652"/>
                <a:gd name="T69" fmla="*/ 2131 h 2514"/>
                <a:gd name="T70" fmla="*/ 2521 w 3652"/>
                <a:gd name="T71" fmla="*/ 2230 h 2514"/>
                <a:gd name="T72" fmla="*/ 2398 w 3652"/>
                <a:gd name="T73" fmla="*/ 2314 h 2514"/>
                <a:gd name="T74" fmla="*/ 2314 w 3652"/>
                <a:gd name="T75" fmla="*/ 2421 h 2514"/>
                <a:gd name="T76" fmla="*/ 2192 w 3652"/>
                <a:gd name="T77" fmla="*/ 2474 h 2514"/>
                <a:gd name="T78" fmla="*/ 2070 w 3652"/>
                <a:gd name="T79" fmla="*/ 2459 h 2514"/>
                <a:gd name="T80" fmla="*/ 1994 w 3652"/>
                <a:gd name="T81" fmla="*/ 2429 h 2514"/>
                <a:gd name="T82" fmla="*/ 2047 w 3652"/>
                <a:gd name="T83" fmla="*/ 2276 h 2514"/>
                <a:gd name="T84" fmla="*/ 1902 w 3652"/>
                <a:gd name="T85" fmla="*/ 2200 h 2514"/>
                <a:gd name="T86" fmla="*/ 1909 w 3652"/>
                <a:gd name="T87" fmla="*/ 2001 h 2514"/>
                <a:gd name="T88" fmla="*/ 1894 w 3652"/>
                <a:gd name="T89" fmla="*/ 1772 h 2514"/>
                <a:gd name="T90" fmla="*/ 1772 w 3652"/>
                <a:gd name="T91" fmla="*/ 1672 h 2514"/>
                <a:gd name="T92" fmla="*/ 1612 w 3652"/>
                <a:gd name="T93" fmla="*/ 1756 h 2514"/>
                <a:gd name="T94" fmla="*/ 1474 w 3652"/>
                <a:gd name="T95" fmla="*/ 1779 h 2514"/>
                <a:gd name="T96" fmla="*/ 1260 w 3652"/>
                <a:gd name="T97" fmla="*/ 1764 h 2514"/>
                <a:gd name="T98" fmla="*/ 1169 w 3652"/>
                <a:gd name="T99" fmla="*/ 1718 h 2514"/>
                <a:gd name="T100" fmla="*/ 1085 w 3652"/>
                <a:gd name="T101" fmla="*/ 1703 h 2514"/>
                <a:gd name="T102" fmla="*/ 901 w 3652"/>
                <a:gd name="T103" fmla="*/ 1642 h 2514"/>
                <a:gd name="T104" fmla="*/ 886 w 3652"/>
                <a:gd name="T105" fmla="*/ 1779 h 2514"/>
                <a:gd name="T106" fmla="*/ 771 w 3652"/>
                <a:gd name="T107" fmla="*/ 1909 h 2514"/>
                <a:gd name="T108" fmla="*/ 558 w 3652"/>
                <a:gd name="T109" fmla="*/ 1680 h 2514"/>
                <a:gd name="T110" fmla="*/ 412 w 3652"/>
                <a:gd name="T111" fmla="*/ 1573 h 2514"/>
                <a:gd name="T112" fmla="*/ 122 w 3652"/>
                <a:gd name="T113" fmla="*/ 1397 h 2514"/>
                <a:gd name="T114" fmla="*/ 8 w 3652"/>
                <a:gd name="T115" fmla="*/ 1183 h 2514"/>
                <a:gd name="T116" fmla="*/ 145 w 3652"/>
                <a:gd name="T117" fmla="*/ 931 h 2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2" h="2514">
                  <a:moveTo>
                    <a:pt x="145" y="931"/>
                  </a:moveTo>
                  <a:lnTo>
                    <a:pt x="145" y="931"/>
                  </a:lnTo>
                  <a:cubicBezTo>
                    <a:pt x="176" y="924"/>
                    <a:pt x="199" y="924"/>
                    <a:pt x="221" y="908"/>
                  </a:cubicBezTo>
                  <a:cubicBezTo>
                    <a:pt x="244" y="893"/>
                    <a:pt x="244" y="855"/>
                    <a:pt x="267" y="847"/>
                  </a:cubicBezTo>
                  <a:cubicBezTo>
                    <a:pt x="290" y="840"/>
                    <a:pt x="313" y="893"/>
                    <a:pt x="328" y="878"/>
                  </a:cubicBezTo>
                  <a:cubicBezTo>
                    <a:pt x="351" y="832"/>
                    <a:pt x="344" y="779"/>
                    <a:pt x="351" y="725"/>
                  </a:cubicBezTo>
                  <a:cubicBezTo>
                    <a:pt x="351" y="695"/>
                    <a:pt x="366" y="664"/>
                    <a:pt x="351" y="633"/>
                  </a:cubicBezTo>
                  <a:cubicBezTo>
                    <a:pt x="344" y="603"/>
                    <a:pt x="290" y="595"/>
                    <a:pt x="290" y="565"/>
                  </a:cubicBezTo>
                  <a:cubicBezTo>
                    <a:pt x="290" y="534"/>
                    <a:pt x="321" y="527"/>
                    <a:pt x="344" y="511"/>
                  </a:cubicBezTo>
                  <a:cubicBezTo>
                    <a:pt x="359" y="504"/>
                    <a:pt x="389" y="511"/>
                    <a:pt x="397" y="496"/>
                  </a:cubicBezTo>
                  <a:cubicBezTo>
                    <a:pt x="405" y="473"/>
                    <a:pt x="366" y="450"/>
                    <a:pt x="366" y="427"/>
                  </a:cubicBezTo>
                  <a:cubicBezTo>
                    <a:pt x="366" y="404"/>
                    <a:pt x="382" y="374"/>
                    <a:pt x="397" y="358"/>
                  </a:cubicBezTo>
                  <a:cubicBezTo>
                    <a:pt x="405" y="336"/>
                    <a:pt x="428" y="313"/>
                    <a:pt x="451" y="305"/>
                  </a:cubicBezTo>
                  <a:cubicBezTo>
                    <a:pt x="481" y="297"/>
                    <a:pt x="519" y="320"/>
                    <a:pt x="550" y="313"/>
                  </a:cubicBezTo>
                  <a:cubicBezTo>
                    <a:pt x="565" y="313"/>
                    <a:pt x="573" y="297"/>
                    <a:pt x="588" y="290"/>
                  </a:cubicBezTo>
                  <a:lnTo>
                    <a:pt x="588" y="290"/>
                  </a:lnTo>
                  <a:cubicBezTo>
                    <a:pt x="619" y="282"/>
                    <a:pt x="664" y="290"/>
                    <a:pt x="695" y="275"/>
                  </a:cubicBezTo>
                  <a:cubicBezTo>
                    <a:pt x="725" y="267"/>
                    <a:pt x="741" y="229"/>
                    <a:pt x="771" y="229"/>
                  </a:cubicBezTo>
                  <a:cubicBezTo>
                    <a:pt x="810" y="229"/>
                    <a:pt x="840" y="259"/>
                    <a:pt x="878" y="282"/>
                  </a:cubicBezTo>
                  <a:cubicBezTo>
                    <a:pt x="886" y="290"/>
                    <a:pt x="886" y="313"/>
                    <a:pt x="901" y="313"/>
                  </a:cubicBezTo>
                  <a:cubicBezTo>
                    <a:pt x="955" y="297"/>
                    <a:pt x="1016" y="275"/>
                    <a:pt x="1069" y="236"/>
                  </a:cubicBezTo>
                  <a:cubicBezTo>
                    <a:pt x="1085" y="229"/>
                    <a:pt x="1054" y="183"/>
                    <a:pt x="1077" y="183"/>
                  </a:cubicBezTo>
                  <a:cubicBezTo>
                    <a:pt x="1108" y="175"/>
                    <a:pt x="1130" y="236"/>
                    <a:pt x="1153" y="221"/>
                  </a:cubicBezTo>
                  <a:cubicBezTo>
                    <a:pt x="1191" y="191"/>
                    <a:pt x="1161" y="129"/>
                    <a:pt x="1191" y="99"/>
                  </a:cubicBezTo>
                  <a:cubicBezTo>
                    <a:pt x="1207" y="84"/>
                    <a:pt x="1237" y="106"/>
                    <a:pt x="1260" y="106"/>
                  </a:cubicBezTo>
                  <a:cubicBezTo>
                    <a:pt x="1275" y="99"/>
                    <a:pt x="1291" y="91"/>
                    <a:pt x="1314" y="91"/>
                  </a:cubicBezTo>
                  <a:lnTo>
                    <a:pt x="1314" y="91"/>
                  </a:lnTo>
                  <a:cubicBezTo>
                    <a:pt x="1344" y="99"/>
                    <a:pt x="1382" y="114"/>
                    <a:pt x="1413" y="122"/>
                  </a:cubicBezTo>
                  <a:cubicBezTo>
                    <a:pt x="1428" y="129"/>
                    <a:pt x="1451" y="137"/>
                    <a:pt x="1466" y="152"/>
                  </a:cubicBezTo>
                  <a:cubicBezTo>
                    <a:pt x="1489" y="168"/>
                    <a:pt x="1497" y="198"/>
                    <a:pt x="1512" y="221"/>
                  </a:cubicBezTo>
                  <a:cubicBezTo>
                    <a:pt x="1527" y="236"/>
                    <a:pt x="1535" y="252"/>
                    <a:pt x="1558" y="259"/>
                  </a:cubicBezTo>
                  <a:cubicBezTo>
                    <a:pt x="1573" y="259"/>
                    <a:pt x="1581" y="236"/>
                    <a:pt x="1596" y="236"/>
                  </a:cubicBezTo>
                  <a:cubicBezTo>
                    <a:pt x="1627" y="244"/>
                    <a:pt x="1642" y="290"/>
                    <a:pt x="1673" y="290"/>
                  </a:cubicBezTo>
                  <a:cubicBezTo>
                    <a:pt x="1688" y="282"/>
                    <a:pt x="1696" y="252"/>
                    <a:pt x="1696" y="229"/>
                  </a:cubicBezTo>
                  <a:cubicBezTo>
                    <a:pt x="1696" y="206"/>
                    <a:pt x="1657" y="183"/>
                    <a:pt x="1673" y="168"/>
                  </a:cubicBezTo>
                  <a:cubicBezTo>
                    <a:pt x="1696" y="160"/>
                    <a:pt x="1711" y="191"/>
                    <a:pt x="1726" y="206"/>
                  </a:cubicBezTo>
                  <a:lnTo>
                    <a:pt x="1726" y="206"/>
                  </a:lnTo>
                  <a:cubicBezTo>
                    <a:pt x="1734" y="221"/>
                    <a:pt x="1741" y="244"/>
                    <a:pt x="1757" y="244"/>
                  </a:cubicBezTo>
                  <a:cubicBezTo>
                    <a:pt x="1772" y="244"/>
                    <a:pt x="1757" y="214"/>
                    <a:pt x="1764" y="198"/>
                  </a:cubicBezTo>
                  <a:cubicBezTo>
                    <a:pt x="1772" y="198"/>
                    <a:pt x="1780" y="214"/>
                    <a:pt x="1787" y="214"/>
                  </a:cubicBezTo>
                  <a:cubicBezTo>
                    <a:pt x="1795" y="221"/>
                    <a:pt x="1810" y="206"/>
                    <a:pt x="1818" y="214"/>
                  </a:cubicBezTo>
                  <a:cubicBezTo>
                    <a:pt x="1825" y="229"/>
                    <a:pt x="1810" y="252"/>
                    <a:pt x="1825" y="267"/>
                  </a:cubicBezTo>
                  <a:cubicBezTo>
                    <a:pt x="1833" y="275"/>
                    <a:pt x="1848" y="259"/>
                    <a:pt x="1856" y="259"/>
                  </a:cubicBezTo>
                  <a:cubicBezTo>
                    <a:pt x="1864" y="259"/>
                    <a:pt x="1864" y="275"/>
                    <a:pt x="1864" y="275"/>
                  </a:cubicBezTo>
                  <a:cubicBezTo>
                    <a:pt x="1902" y="259"/>
                    <a:pt x="1932" y="236"/>
                    <a:pt x="1963" y="221"/>
                  </a:cubicBezTo>
                  <a:cubicBezTo>
                    <a:pt x="1978" y="214"/>
                    <a:pt x="2001" y="206"/>
                    <a:pt x="2009" y="198"/>
                  </a:cubicBezTo>
                  <a:cubicBezTo>
                    <a:pt x="2024" y="183"/>
                    <a:pt x="2024" y="168"/>
                    <a:pt x="2032" y="152"/>
                  </a:cubicBezTo>
                  <a:lnTo>
                    <a:pt x="2032" y="152"/>
                  </a:lnTo>
                  <a:cubicBezTo>
                    <a:pt x="2169" y="175"/>
                    <a:pt x="2169" y="175"/>
                    <a:pt x="2169" y="175"/>
                  </a:cubicBezTo>
                  <a:lnTo>
                    <a:pt x="2169" y="175"/>
                  </a:lnTo>
                  <a:cubicBezTo>
                    <a:pt x="2169" y="175"/>
                    <a:pt x="2215" y="183"/>
                    <a:pt x="2223" y="183"/>
                  </a:cubicBezTo>
                  <a:cubicBezTo>
                    <a:pt x="2230" y="183"/>
                    <a:pt x="2261" y="168"/>
                    <a:pt x="2261" y="168"/>
                  </a:cubicBezTo>
                  <a:cubicBezTo>
                    <a:pt x="2284" y="175"/>
                    <a:pt x="2314" y="191"/>
                    <a:pt x="2337" y="191"/>
                  </a:cubicBezTo>
                  <a:cubicBezTo>
                    <a:pt x="2345" y="191"/>
                    <a:pt x="2345" y="168"/>
                    <a:pt x="2352" y="168"/>
                  </a:cubicBezTo>
                  <a:cubicBezTo>
                    <a:pt x="2368" y="160"/>
                    <a:pt x="2391" y="168"/>
                    <a:pt x="2413" y="175"/>
                  </a:cubicBezTo>
                  <a:cubicBezTo>
                    <a:pt x="2436" y="183"/>
                    <a:pt x="2452" y="206"/>
                    <a:pt x="2482" y="214"/>
                  </a:cubicBezTo>
                  <a:cubicBezTo>
                    <a:pt x="2513" y="214"/>
                    <a:pt x="2536" y="191"/>
                    <a:pt x="2566" y="191"/>
                  </a:cubicBezTo>
                  <a:cubicBezTo>
                    <a:pt x="2589" y="191"/>
                    <a:pt x="2612" y="206"/>
                    <a:pt x="2627" y="198"/>
                  </a:cubicBezTo>
                  <a:cubicBezTo>
                    <a:pt x="2635" y="191"/>
                    <a:pt x="2612" y="175"/>
                    <a:pt x="2612" y="160"/>
                  </a:cubicBezTo>
                  <a:cubicBezTo>
                    <a:pt x="2620" y="129"/>
                    <a:pt x="2620" y="99"/>
                    <a:pt x="2643" y="68"/>
                  </a:cubicBezTo>
                  <a:cubicBezTo>
                    <a:pt x="2658" y="38"/>
                    <a:pt x="2681" y="30"/>
                    <a:pt x="2711" y="0"/>
                  </a:cubicBezTo>
                  <a:lnTo>
                    <a:pt x="2711" y="0"/>
                  </a:lnTo>
                  <a:cubicBezTo>
                    <a:pt x="2788" y="30"/>
                    <a:pt x="2857" y="68"/>
                    <a:pt x="2902" y="122"/>
                  </a:cubicBezTo>
                  <a:cubicBezTo>
                    <a:pt x="2948" y="183"/>
                    <a:pt x="3032" y="206"/>
                    <a:pt x="3093" y="252"/>
                  </a:cubicBezTo>
                  <a:cubicBezTo>
                    <a:pt x="3109" y="259"/>
                    <a:pt x="3162" y="290"/>
                    <a:pt x="3162" y="297"/>
                  </a:cubicBezTo>
                  <a:cubicBezTo>
                    <a:pt x="3162" y="358"/>
                    <a:pt x="3132" y="358"/>
                    <a:pt x="3193" y="412"/>
                  </a:cubicBezTo>
                  <a:cubicBezTo>
                    <a:pt x="3269" y="481"/>
                    <a:pt x="3292" y="542"/>
                    <a:pt x="3322" y="633"/>
                  </a:cubicBezTo>
                  <a:cubicBezTo>
                    <a:pt x="3338" y="672"/>
                    <a:pt x="3376" y="825"/>
                    <a:pt x="3414" y="840"/>
                  </a:cubicBezTo>
                  <a:cubicBezTo>
                    <a:pt x="3430" y="863"/>
                    <a:pt x="3544" y="916"/>
                    <a:pt x="3544" y="916"/>
                  </a:cubicBezTo>
                  <a:cubicBezTo>
                    <a:pt x="3552" y="1046"/>
                    <a:pt x="3582" y="1054"/>
                    <a:pt x="3651" y="1084"/>
                  </a:cubicBezTo>
                  <a:lnTo>
                    <a:pt x="3651" y="1084"/>
                  </a:lnTo>
                  <a:cubicBezTo>
                    <a:pt x="3643" y="1115"/>
                    <a:pt x="3651" y="1145"/>
                    <a:pt x="3620" y="1153"/>
                  </a:cubicBezTo>
                  <a:cubicBezTo>
                    <a:pt x="3559" y="1176"/>
                    <a:pt x="3491" y="1161"/>
                    <a:pt x="3437" y="1145"/>
                  </a:cubicBezTo>
                  <a:cubicBezTo>
                    <a:pt x="3391" y="1138"/>
                    <a:pt x="3368" y="1077"/>
                    <a:pt x="3322" y="1077"/>
                  </a:cubicBezTo>
                  <a:cubicBezTo>
                    <a:pt x="3284" y="1084"/>
                    <a:pt x="3277" y="1138"/>
                    <a:pt x="3254" y="1161"/>
                  </a:cubicBezTo>
                  <a:cubicBezTo>
                    <a:pt x="3216" y="1206"/>
                    <a:pt x="3177" y="1260"/>
                    <a:pt x="3124" y="1283"/>
                  </a:cubicBezTo>
                  <a:cubicBezTo>
                    <a:pt x="3093" y="1298"/>
                    <a:pt x="3055" y="1268"/>
                    <a:pt x="3024" y="1275"/>
                  </a:cubicBezTo>
                  <a:cubicBezTo>
                    <a:pt x="2986" y="1290"/>
                    <a:pt x="2956" y="1329"/>
                    <a:pt x="2925" y="1352"/>
                  </a:cubicBezTo>
                  <a:cubicBezTo>
                    <a:pt x="2910" y="1367"/>
                    <a:pt x="2887" y="1382"/>
                    <a:pt x="2880" y="1405"/>
                  </a:cubicBezTo>
                  <a:cubicBezTo>
                    <a:pt x="2872" y="1436"/>
                    <a:pt x="2895" y="1489"/>
                    <a:pt x="2872" y="1497"/>
                  </a:cubicBezTo>
                  <a:cubicBezTo>
                    <a:pt x="2841" y="1512"/>
                    <a:pt x="2818" y="1451"/>
                    <a:pt x="2780" y="1443"/>
                  </a:cubicBezTo>
                  <a:cubicBezTo>
                    <a:pt x="2727" y="1443"/>
                    <a:pt x="2666" y="1451"/>
                    <a:pt x="2612" y="1474"/>
                  </a:cubicBezTo>
                  <a:cubicBezTo>
                    <a:pt x="2566" y="1489"/>
                    <a:pt x="2536" y="1527"/>
                    <a:pt x="2505" y="1550"/>
                  </a:cubicBezTo>
                  <a:lnTo>
                    <a:pt x="2505" y="1550"/>
                  </a:lnTo>
                  <a:cubicBezTo>
                    <a:pt x="2475" y="1558"/>
                    <a:pt x="2452" y="1565"/>
                    <a:pt x="2429" y="1565"/>
                  </a:cubicBezTo>
                  <a:cubicBezTo>
                    <a:pt x="2413" y="1565"/>
                    <a:pt x="2398" y="1573"/>
                    <a:pt x="2398" y="1558"/>
                  </a:cubicBezTo>
                  <a:cubicBezTo>
                    <a:pt x="2391" y="1535"/>
                    <a:pt x="2406" y="1512"/>
                    <a:pt x="2413" y="1481"/>
                  </a:cubicBezTo>
                  <a:cubicBezTo>
                    <a:pt x="2413" y="1466"/>
                    <a:pt x="2421" y="1443"/>
                    <a:pt x="2413" y="1420"/>
                  </a:cubicBezTo>
                  <a:cubicBezTo>
                    <a:pt x="2398" y="1397"/>
                    <a:pt x="2375" y="1382"/>
                    <a:pt x="2345" y="1382"/>
                  </a:cubicBezTo>
                  <a:cubicBezTo>
                    <a:pt x="2314" y="1375"/>
                    <a:pt x="2284" y="1390"/>
                    <a:pt x="2261" y="1397"/>
                  </a:cubicBezTo>
                  <a:cubicBezTo>
                    <a:pt x="2223" y="1413"/>
                    <a:pt x="2177" y="1420"/>
                    <a:pt x="2154" y="1451"/>
                  </a:cubicBezTo>
                  <a:cubicBezTo>
                    <a:pt x="2138" y="1474"/>
                    <a:pt x="2169" y="1512"/>
                    <a:pt x="2154" y="1535"/>
                  </a:cubicBezTo>
                  <a:cubicBezTo>
                    <a:pt x="2146" y="1550"/>
                    <a:pt x="2116" y="1512"/>
                    <a:pt x="2100" y="1520"/>
                  </a:cubicBezTo>
                  <a:cubicBezTo>
                    <a:pt x="2093" y="1527"/>
                    <a:pt x="2123" y="1558"/>
                    <a:pt x="2108" y="1573"/>
                  </a:cubicBezTo>
                  <a:cubicBezTo>
                    <a:pt x="2093" y="1581"/>
                    <a:pt x="2062" y="1550"/>
                    <a:pt x="2047" y="1565"/>
                  </a:cubicBezTo>
                  <a:cubicBezTo>
                    <a:pt x="2032" y="1581"/>
                    <a:pt x="2047" y="1611"/>
                    <a:pt x="2055" y="1627"/>
                  </a:cubicBezTo>
                  <a:cubicBezTo>
                    <a:pt x="2070" y="1680"/>
                    <a:pt x="2077" y="1733"/>
                    <a:pt x="2116" y="1779"/>
                  </a:cubicBezTo>
                  <a:cubicBezTo>
                    <a:pt x="2138" y="1810"/>
                    <a:pt x="2177" y="1825"/>
                    <a:pt x="2215" y="1840"/>
                  </a:cubicBezTo>
                  <a:cubicBezTo>
                    <a:pt x="2238" y="1848"/>
                    <a:pt x="2261" y="1848"/>
                    <a:pt x="2284" y="1848"/>
                  </a:cubicBezTo>
                  <a:cubicBezTo>
                    <a:pt x="2314" y="1840"/>
                    <a:pt x="2352" y="1840"/>
                    <a:pt x="2391" y="1840"/>
                  </a:cubicBezTo>
                  <a:cubicBezTo>
                    <a:pt x="2421" y="1840"/>
                    <a:pt x="2459" y="1833"/>
                    <a:pt x="2498" y="1833"/>
                  </a:cubicBezTo>
                  <a:lnTo>
                    <a:pt x="2498" y="1833"/>
                  </a:lnTo>
                  <a:cubicBezTo>
                    <a:pt x="2490" y="1863"/>
                    <a:pt x="2475" y="1894"/>
                    <a:pt x="2475" y="1925"/>
                  </a:cubicBezTo>
                  <a:cubicBezTo>
                    <a:pt x="2475" y="1955"/>
                    <a:pt x="2498" y="1978"/>
                    <a:pt x="2498" y="2008"/>
                  </a:cubicBezTo>
                  <a:cubicBezTo>
                    <a:pt x="2505" y="2047"/>
                    <a:pt x="2498" y="2092"/>
                    <a:pt x="2482" y="2131"/>
                  </a:cubicBezTo>
                  <a:cubicBezTo>
                    <a:pt x="2475" y="2154"/>
                    <a:pt x="2444" y="2154"/>
                    <a:pt x="2429" y="2177"/>
                  </a:cubicBezTo>
                  <a:cubicBezTo>
                    <a:pt x="2429" y="2184"/>
                    <a:pt x="2436" y="2200"/>
                    <a:pt x="2444" y="2207"/>
                  </a:cubicBezTo>
                  <a:cubicBezTo>
                    <a:pt x="2467" y="2222"/>
                    <a:pt x="2505" y="2215"/>
                    <a:pt x="2521" y="2230"/>
                  </a:cubicBezTo>
                  <a:cubicBezTo>
                    <a:pt x="2536" y="2238"/>
                    <a:pt x="2536" y="2261"/>
                    <a:pt x="2521" y="2261"/>
                  </a:cubicBezTo>
                  <a:cubicBezTo>
                    <a:pt x="2498" y="2276"/>
                    <a:pt x="2467" y="2268"/>
                    <a:pt x="2444" y="2276"/>
                  </a:cubicBezTo>
                  <a:cubicBezTo>
                    <a:pt x="2429" y="2283"/>
                    <a:pt x="2413" y="2306"/>
                    <a:pt x="2398" y="2314"/>
                  </a:cubicBezTo>
                  <a:cubicBezTo>
                    <a:pt x="2360" y="2314"/>
                    <a:pt x="2322" y="2276"/>
                    <a:pt x="2291" y="2291"/>
                  </a:cubicBezTo>
                  <a:cubicBezTo>
                    <a:pt x="2261" y="2306"/>
                    <a:pt x="2230" y="2337"/>
                    <a:pt x="2230" y="2375"/>
                  </a:cubicBezTo>
                  <a:cubicBezTo>
                    <a:pt x="2238" y="2406"/>
                    <a:pt x="2284" y="2406"/>
                    <a:pt x="2314" y="2421"/>
                  </a:cubicBezTo>
                  <a:lnTo>
                    <a:pt x="2314" y="2421"/>
                  </a:lnTo>
                  <a:cubicBezTo>
                    <a:pt x="2284" y="2429"/>
                    <a:pt x="2261" y="2436"/>
                    <a:pt x="2238" y="2452"/>
                  </a:cubicBezTo>
                  <a:cubicBezTo>
                    <a:pt x="2223" y="2459"/>
                    <a:pt x="2207" y="2474"/>
                    <a:pt x="2192" y="2474"/>
                  </a:cubicBezTo>
                  <a:cubicBezTo>
                    <a:pt x="2177" y="2474"/>
                    <a:pt x="2169" y="2459"/>
                    <a:pt x="2154" y="2459"/>
                  </a:cubicBezTo>
                  <a:cubicBezTo>
                    <a:pt x="2138" y="2459"/>
                    <a:pt x="2123" y="2474"/>
                    <a:pt x="2108" y="2474"/>
                  </a:cubicBezTo>
                  <a:cubicBezTo>
                    <a:pt x="2093" y="2474"/>
                    <a:pt x="2085" y="2459"/>
                    <a:pt x="2070" y="2459"/>
                  </a:cubicBezTo>
                  <a:cubicBezTo>
                    <a:pt x="2055" y="2474"/>
                    <a:pt x="2039" y="2497"/>
                    <a:pt x="2032" y="2513"/>
                  </a:cubicBezTo>
                  <a:lnTo>
                    <a:pt x="2032" y="2513"/>
                  </a:lnTo>
                  <a:cubicBezTo>
                    <a:pt x="2016" y="2482"/>
                    <a:pt x="2001" y="2459"/>
                    <a:pt x="1994" y="2429"/>
                  </a:cubicBezTo>
                  <a:cubicBezTo>
                    <a:pt x="1994" y="2398"/>
                    <a:pt x="1978" y="2352"/>
                    <a:pt x="2001" y="2329"/>
                  </a:cubicBezTo>
                  <a:cubicBezTo>
                    <a:pt x="2016" y="2306"/>
                    <a:pt x="2062" y="2337"/>
                    <a:pt x="2077" y="2314"/>
                  </a:cubicBezTo>
                  <a:cubicBezTo>
                    <a:pt x="2085" y="2299"/>
                    <a:pt x="2062" y="2283"/>
                    <a:pt x="2047" y="2276"/>
                  </a:cubicBezTo>
                  <a:cubicBezTo>
                    <a:pt x="2024" y="2268"/>
                    <a:pt x="2001" y="2283"/>
                    <a:pt x="1986" y="2276"/>
                  </a:cubicBezTo>
                  <a:cubicBezTo>
                    <a:pt x="1955" y="2261"/>
                    <a:pt x="1932" y="2222"/>
                    <a:pt x="1902" y="2200"/>
                  </a:cubicBezTo>
                  <a:lnTo>
                    <a:pt x="1902" y="2200"/>
                  </a:lnTo>
                  <a:cubicBezTo>
                    <a:pt x="1917" y="2177"/>
                    <a:pt x="1940" y="2154"/>
                    <a:pt x="1940" y="2131"/>
                  </a:cubicBezTo>
                  <a:cubicBezTo>
                    <a:pt x="1940" y="2123"/>
                    <a:pt x="1909" y="2123"/>
                    <a:pt x="1902" y="2115"/>
                  </a:cubicBezTo>
                  <a:cubicBezTo>
                    <a:pt x="1894" y="2077"/>
                    <a:pt x="1925" y="2039"/>
                    <a:pt x="1909" y="2001"/>
                  </a:cubicBezTo>
                  <a:cubicBezTo>
                    <a:pt x="1902" y="1963"/>
                    <a:pt x="1848" y="1940"/>
                    <a:pt x="1848" y="1902"/>
                  </a:cubicBezTo>
                  <a:cubicBezTo>
                    <a:pt x="1848" y="1879"/>
                    <a:pt x="1894" y="1894"/>
                    <a:pt x="1902" y="1871"/>
                  </a:cubicBezTo>
                  <a:cubicBezTo>
                    <a:pt x="1917" y="1840"/>
                    <a:pt x="1894" y="1802"/>
                    <a:pt x="1894" y="1772"/>
                  </a:cubicBezTo>
                  <a:cubicBezTo>
                    <a:pt x="1902" y="1756"/>
                    <a:pt x="1925" y="1749"/>
                    <a:pt x="1917" y="1733"/>
                  </a:cubicBezTo>
                  <a:cubicBezTo>
                    <a:pt x="1909" y="1711"/>
                    <a:pt x="1894" y="1688"/>
                    <a:pt x="1871" y="1680"/>
                  </a:cubicBezTo>
                  <a:cubicBezTo>
                    <a:pt x="1841" y="1672"/>
                    <a:pt x="1802" y="1665"/>
                    <a:pt x="1772" y="1672"/>
                  </a:cubicBezTo>
                  <a:cubicBezTo>
                    <a:pt x="1749" y="1680"/>
                    <a:pt x="1741" y="1703"/>
                    <a:pt x="1726" y="1718"/>
                  </a:cubicBezTo>
                  <a:cubicBezTo>
                    <a:pt x="1719" y="1733"/>
                    <a:pt x="1711" y="1756"/>
                    <a:pt x="1696" y="1764"/>
                  </a:cubicBezTo>
                  <a:cubicBezTo>
                    <a:pt x="1673" y="1772"/>
                    <a:pt x="1634" y="1756"/>
                    <a:pt x="1612" y="1756"/>
                  </a:cubicBezTo>
                  <a:cubicBezTo>
                    <a:pt x="1581" y="1764"/>
                    <a:pt x="1558" y="1779"/>
                    <a:pt x="1535" y="1779"/>
                  </a:cubicBezTo>
                  <a:cubicBezTo>
                    <a:pt x="1520" y="1779"/>
                    <a:pt x="1512" y="1764"/>
                    <a:pt x="1497" y="1764"/>
                  </a:cubicBezTo>
                  <a:cubicBezTo>
                    <a:pt x="1489" y="1764"/>
                    <a:pt x="1482" y="1779"/>
                    <a:pt x="1474" y="1779"/>
                  </a:cubicBezTo>
                  <a:cubicBezTo>
                    <a:pt x="1444" y="1787"/>
                    <a:pt x="1421" y="1779"/>
                    <a:pt x="1390" y="1772"/>
                  </a:cubicBezTo>
                  <a:cubicBezTo>
                    <a:pt x="1360" y="1764"/>
                    <a:pt x="1329" y="1741"/>
                    <a:pt x="1298" y="1741"/>
                  </a:cubicBezTo>
                  <a:cubicBezTo>
                    <a:pt x="1283" y="1741"/>
                    <a:pt x="1275" y="1756"/>
                    <a:pt x="1260" y="1764"/>
                  </a:cubicBezTo>
                  <a:lnTo>
                    <a:pt x="1260" y="1764"/>
                  </a:lnTo>
                  <a:cubicBezTo>
                    <a:pt x="1252" y="1749"/>
                    <a:pt x="1245" y="1741"/>
                    <a:pt x="1230" y="1726"/>
                  </a:cubicBezTo>
                  <a:cubicBezTo>
                    <a:pt x="1230" y="1726"/>
                    <a:pt x="1176" y="1718"/>
                    <a:pt x="1169" y="1718"/>
                  </a:cubicBezTo>
                  <a:lnTo>
                    <a:pt x="1130" y="1688"/>
                  </a:lnTo>
                  <a:cubicBezTo>
                    <a:pt x="1115" y="1680"/>
                    <a:pt x="1100" y="1680"/>
                    <a:pt x="1085" y="1680"/>
                  </a:cubicBezTo>
                  <a:cubicBezTo>
                    <a:pt x="1077" y="1680"/>
                    <a:pt x="1085" y="1695"/>
                    <a:pt x="1085" y="1703"/>
                  </a:cubicBezTo>
                  <a:cubicBezTo>
                    <a:pt x="1069" y="1703"/>
                    <a:pt x="1062" y="1703"/>
                    <a:pt x="1054" y="1695"/>
                  </a:cubicBezTo>
                  <a:cubicBezTo>
                    <a:pt x="1039" y="1672"/>
                    <a:pt x="1039" y="1634"/>
                    <a:pt x="1016" y="1627"/>
                  </a:cubicBezTo>
                  <a:cubicBezTo>
                    <a:pt x="977" y="1611"/>
                    <a:pt x="939" y="1634"/>
                    <a:pt x="901" y="1642"/>
                  </a:cubicBezTo>
                  <a:cubicBezTo>
                    <a:pt x="901" y="1642"/>
                    <a:pt x="886" y="1711"/>
                    <a:pt x="886" y="1718"/>
                  </a:cubicBezTo>
                  <a:lnTo>
                    <a:pt x="916" y="1764"/>
                  </a:lnTo>
                  <a:cubicBezTo>
                    <a:pt x="901" y="1772"/>
                    <a:pt x="886" y="1764"/>
                    <a:pt x="886" y="1779"/>
                  </a:cubicBezTo>
                  <a:cubicBezTo>
                    <a:pt x="871" y="1802"/>
                    <a:pt x="886" y="1840"/>
                    <a:pt x="871" y="1863"/>
                  </a:cubicBezTo>
                  <a:cubicBezTo>
                    <a:pt x="863" y="1879"/>
                    <a:pt x="848" y="1848"/>
                    <a:pt x="833" y="1856"/>
                  </a:cubicBezTo>
                  <a:cubicBezTo>
                    <a:pt x="810" y="1863"/>
                    <a:pt x="794" y="1894"/>
                    <a:pt x="771" y="1909"/>
                  </a:cubicBezTo>
                  <a:lnTo>
                    <a:pt x="771" y="1909"/>
                  </a:lnTo>
                  <a:cubicBezTo>
                    <a:pt x="718" y="1840"/>
                    <a:pt x="680" y="1764"/>
                    <a:pt x="626" y="1703"/>
                  </a:cubicBezTo>
                  <a:cubicBezTo>
                    <a:pt x="611" y="1680"/>
                    <a:pt x="573" y="1695"/>
                    <a:pt x="558" y="1680"/>
                  </a:cubicBezTo>
                  <a:cubicBezTo>
                    <a:pt x="542" y="1657"/>
                    <a:pt x="550" y="1619"/>
                    <a:pt x="535" y="1588"/>
                  </a:cubicBezTo>
                  <a:cubicBezTo>
                    <a:pt x="527" y="1581"/>
                    <a:pt x="504" y="1573"/>
                    <a:pt x="489" y="1573"/>
                  </a:cubicBezTo>
                  <a:cubicBezTo>
                    <a:pt x="466" y="1565"/>
                    <a:pt x="435" y="1581"/>
                    <a:pt x="412" y="1573"/>
                  </a:cubicBezTo>
                  <a:cubicBezTo>
                    <a:pt x="374" y="1565"/>
                    <a:pt x="328" y="1550"/>
                    <a:pt x="305" y="1520"/>
                  </a:cubicBezTo>
                  <a:cubicBezTo>
                    <a:pt x="283" y="1481"/>
                    <a:pt x="321" y="1420"/>
                    <a:pt x="290" y="1390"/>
                  </a:cubicBezTo>
                  <a:cubicBezTo>
                    <a:pt x="244" y="1359"/>
                    <a:pt x="176" y="1413"/>
                    <a:pt x="122" y="1397"/>
                  </a:cubicBezTo>
                  <a:cubicBezTo>
                    <a:pt x="107" y="1390"/>
                    <a:pt x="122" y="1359"/>
                    <a:pt x="114" y="1344"/>
                  </a:cubicBezTo>
                  <a:cubicBezTo>
                    <a:pt x="114" y="1321"/>
                    <a:pt x="107" y="1298"/>
                    <a:pt x="91" y="1275"/>
                  </a:cubicBezTo>
                  <a:cubicBezTo>
                    <a:pt x="69" y="1245"/>
                    <a:pt x="23" y="1222"/>
                    <a:pt x="8" y="1183"/>
                  </a:cubicBezTo>
                  <a:cubicBezTo>
                    <a:pt x="0" y="1161"/>
                    <a:pt x="8" y="1130"/>
                    <a:pt x="15" y="1107"/>
                  </a:cubicBezTo>
                  <a:cubicBezTo>
                    <a:pt x="30" y="1077"/>
                    <a:pt x="69" y="1061"/>
                    <a:pt x="91" y="1031"/>
                  </a:cubicBezTo>
                  <a:cubicBezTo>
                    <a:pt x="114" y="1000"/>
                    <a:pt x="130" y="962"/>
                    <a:pt x="145" y="93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62"/>
            <p:cNvSpPr>
              <a:spLocks noChangeArrowheads="1"/>
            </p:cNvSpPr>
            <p:nvPr/>
          </p:nvSpPr>
          <p:spPr bwMode="auto">
            <a:xfrm>
              <a:off x="7425841" y="6913563"/>
              <a:ext cx="419073" cy="273050"/>
            </a:xfrm>
            <a:custGeom>
              <a:avLst/>
              <a:gdLst>
                <a:gd name="T0" fmla="*/ 23 w 1162"/>
                <a:gd name="T1" fmla="*/ 611 h 757"/>
                <a:gd name="T2" fmla="*/ 23 w 1162"/>
                <a:gd name="T3" fmla="*/ 611 h 757"/>
                <a:gd name="T4" fmla="*/ 0 w 1162"/>
                <a:gd name="T5" fmla="*/ 542 h 757"/>
                <a:gd name="T6" fmla="*/ 61 w 1162"/>
                <a:gd name="T7" fmla="*/ 519 h 757"/>
                <a:gd name="T8" fmla="*/ 76 w 1162"/>
                <a:gd name="T9" fmla="*/ 359 h 757"/>
                <a:gd name="T10" fmla="*/ 114 w 1162"/>
                <a:gd name="T11" fmla="*/ 252 h 757"/>
                <a:gd name="T12" fmla="*/ 114 w 1162"/>
                <a:gd name="T13" fmla="*/ 252 h 757"/>
                <a:gd name="T14" fmla="*/ 168 w 1162"/>
                <a:gd name="T15" fmla="*/ 267 h 757"/>
                <a:gd name="T16" fmla="*/ 374 w 1162"/>
                <a:gd name="T17" fmla="*/ 137 h 757"/>
                <a:gd name="T18" fmla="*/ 412 w 1162"/>
                <a:gd name="T19" fmla="*/ 84 h 757"/>
                <a:gd name="T20" fmla="*/ 412 w 1162"/>
                <a:gd name="T21" fmla="*/ 84 h 757"/>
                <a:gd name="T22" fmla="*/ 588 w 1162"/>
                <a:gd name="T23" fmla="*/ 99 h 757"/>
                <a:gd name="T24" fmla="*/ 672 w 1162"/>
                <a:gd name="T25" fmla="*/ 145 h 757"/>
                <a:gd name="T26" fmla="*/ 824 w 1162"/>
                <a:gd name="T27" fmla="*/ 84 h 757"/>
                <a:gd name="T28" fmla="*/ 1099 w 1162"/>
                <a:gd name="T29" fmla="*/ 122 h 757"/>
                <a:gd name="T30" fmla="*/ 1161 w 1162"/>
                <a:gd name="T31" fmla="*/ 229 h 757"/>
                <a:gd name="T32" fmla="*/ 1161 w 1162"/>
                <a:gd name="T33" fmla="*/ 229 h 757"/>
                <a:gd name="T34" fmla="*/ 1031 w 1162"/>
                <a:gd name="T35" fmla="*/ 313 h 757"/>
                <a:gd name="T36" fmla="*/ 1031 w 1162"/>
                <a:gd name="T37" fmla="*/ 313 h 757"/>
                <a:gd name="T38" fmla="*/ 993 w 1162"/>
                <a:gd name="T39" fmla="*/ 321 h 757"/>
                <a:gd name="T40" fmla="*/ 955 w 1162"/>
                <a:gd name="T41" fmla="*/ 450 h 757"/>
                <a:gd name="T42" fmla="*/ 786 w 1162"/>
                <a:gd name="T43" fmla="*/ 427 h 757"/>
                <a:gd name="T44" fmla="*/ 710 w 1162"/>
                <a:gd name="T45" fmla="*/ 496 h 757"/>
                <a:gd name="T46" fmla="*/ 802 w 1162"/>
                <a:gd name="T47" fmla="*/ 496 h 757"/>
                <a:gd name="T48" fmla="*/ 855 w 1162"/>
                <a:gd name="T49" fmla="*/ 557 h 757"/>
                <a:gd name="T50" fmla="*/ 718 w 1162"/>
                <a:gd name="T51" fmla="*/ 588 h 757"/>
                <a:gd name="T52" fmla="*/ 718 w 1162"/>
                <a:gd name="T53" fmla="*/ 672 h 757"/>
                <a:gd name="T54" fmla="*/ 511 w 1162"/>
                <a:gd name="T55" fmla="*/ 733 h 757"/>
                <a:gd name="T56" fmla="*/ 504 w 1162"/>
                <a:gd name="T57" fmla="*/ 588 h 757"/>
                <a:gd name="T58" fmla="*/ 359 w 1162"/>
                <a:gd name="T59" fmla="*/ 550 h 757"/>
                <a:gd name="T60" fmla="*/ 221 w 1162"/>
                <a:gd name="T61" fmla="*/ 733 h 757"/>
                <a:gd name="T62" fmla="*/ 221 w 1162"/>
                <a:gd name="T63" fmla="*/ 733 h 757"/>
                <a:gd name="T64" fmla="*/ 137 w 1162"/>
                <a:gd name="T65" fmla="*/ 710 h 757"/>
                <a:gd name="T66" fmla="*/ 46 w 1162"/>
                <a:gd name="T67" fmla="*/ 710 h 757"/>
                <a:gd name="T68" fmla="*/ 61 w 1162"/>
                <a:gd name="T69" fmla="*/ 679 h 757"/>
                <a:gd name="T70" fmla="*/ 23 w 1162"/>
                <a:gd name="T71" fmla="*/ 611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62" h="757">
                  <a:moveTo>
                    <a:pt x="23" y="611"/>
                  </a:moveTo>
                  <a:lnTo>
                    <a:pt x="23" y="611"/>
                  </a:lnTo>
                  <a:cubicBezTo>
                    <a:pt x="15" y="588"/>
                    <a:pt x="7" y="557"/>
                    <a:pt x="0" y="542"/>
                  </a:cubicBezTo>
                  <a:cubicBezTo>
                    <a:pt x="0" y="534"/>
                    <a:pt x="61" y="527"/>
                    <a:pt x="61" y="519"/>
                  </a:cubicBezTo>
                  <a:cubicBezTo>
                    <a:pt x="61" y="512"/>
                    <a:pt x="68" y="382"/>
                    <a:pt x="76" y="359"/>
                  </a:cubicBezTo>
                  <a:cubicBezTo>
                    <a:pt x="84" y="343"/>
                    <a:pt x="107" y="290"/>
                    <a:pt x="114" y="252"/>
                  </a:cubicBezTo>
                  <a:lnTo>
                    <a:pt x="114" y="252"/>
                  </a:lnTo>
                  <a:cubicBezTo>
                    <a:pt x="137" y="259"/>
                    <a:pt x="152" y="275"/>
                    <a:pt x="168" y="267"/>
                  </a:cubicBezTo>
                  <a:cubicBezTo>
                    <a:pt x="244" y="237"/>
                    <a:pt x="313" y="191"/>
                    <a:pt x="374" y="137"/>
                  </a:cubicBezTo>
                  <a:cubicBezTo>
                    <a:pt x="397" y="114"/>
                    <a:pt x="389" y="107"/>
                    <a:pt x="412" y="84"/>
                  </a:cubicBezTo>
                  <a:lnTo>
                    <a:pt x="412" y="84"/>
                  </a:lnTo>
                  <a:cubicBezTo>
                    <a:pt x="488" y="84"/>
                    <a:pt x="534" y="15"/>
                    <a:pt x="588" y="99"/>
                  </a:cubicBezTo>
                  <a:cubicBezTo>
                    <a:pt x="611" y="129"/>
                    <a:pt x="626" y="160"/>
                    <a:pt x="672" y="145"/>
                  </a:cubicBezTo>
                  <a:cubicBezTo>
                    <a:pt x="725" y="129"/>
                    <a:pt x="771" y="99"/>
                    <a:pt x="824" y="84"/>
                  </a:cubicBezTo>
                  <a:cubicBezTo>
                    <a:pt x="939" y="107"/>
                    <a:pt x="1031" y="0"/>
                    <a:pt x="1099" y="122"/>
                  </a:cubicBezTo>
                  <a:cubicBezTo>
                    <a:pt x="1122" y="160"/>
                    <a:pt x="1138" y="191"/>
                    <a:pt x="1161" y="229"/>
                  </a:cubicBezTo>
                  <a:lnTo>
                    <a:pt x="1161" y="229"/>
                  </a:lnTo>
                  <a:cubicBezTo>
                    <a:pt x="1031" y="313"/>
                    <a:pt x="1031" y="313"/>
                    <a:pt x="1031" y="313"/>
                  </a:cubicBezTo>
                  <a:lnTo>
                    <a:pt x="1031" y="313"/>
                  </a:lnTo>
                  <a:cubicBezTo>
                    <a:pt x="1016" y="313"/>
                    <a:pt x="993" y="305"/>
                    <a:pt x="993" y="321"/>
                  </a:cubicBezTo>
                  <a:cubicBezTo>
                    <a:pt x="970" y="359"/>
                    <a:pt x="993" y="427"/>
                    <a:pt x="955" y="450"/>
                  </a:cubicBezTo>
                  <a:cubicBezTo>
                    <a:pt x="901" y="473"/>
                    <a:pt x="840" y="420"/>
                    <a:pt x="786" y="427"/>
                  </a:cubicBezTo>
                  <a:cubicBezTo>
                    <a:pt x="756" y="435"/>
                    <a:pt x="702" y="458"/>
                    <a:pt x="710" y="496"/>
                  </a:cubicBezTo>
                  <a:cubicBezTo>
                    <a:pt x="718" y="527"/>
                    <a:pt x="771" y="489"/>
                    <a:pt x="802" y="496"/>
                  </a:cubicBezTo>
                  <a:cubicBezTo>
                    <a:pt x="824" y="512"/>
                    <a:pt x="870" y="534"/>
                    <a:pt x="855" y="557"/>
                  </a:cubicBezTo>
                  <a:cubicBezTo>
                    <a:pt x="817" y="588"/>
                    <a:pt x="756" y="557"/>
                    <a:pt x="718" y="588"/>
                  </a:cubicBezTo>
                  <a:cubicBezTo>
                    <a:pt x="695" y="603"/>
                    <a:pt x="748" y="657"/>
                    <a:pt x="718" y="672"/>
                  </a:cubicBezTo>
                  <a:cubicBezTo>
                    <a:pt x="664" y="710"/>
                    <a:pt x="580" y="756"/>
                    <a:pt x="511" y="733"/>
                  </a:cubicBezTo>
                  <a:cubicBezTo>
                    <a:pt x="466" y="710"/>
                    <a:pt x="534" y="618"/>
                    <a:pt x="504" y="588"/>
                  </a:cubicBezTo>
                  <a:cubicBezTo>
                    <a:pt x="473" y="550"/>
                    <a:pt x="405" y="527"/>
                    <a:pt x="359" y="550"/>
                  </a:cubicBezTo>
                  <a:cubicBezTo>
                    <a:pt x="290" y="588"/>
                    <a:pt x="267" y="672"/>
                    <a:pt x="221" y="733"/>
                  </a:cubicBezTo>
                  <a:lnTo>
                    <a:pt x="221" y="733"/>
                  </a:lnTo>
                  <a:cubicBezTo>
                    <a:pt x="198" y="725"/>
                    <a:pt x="168" y="710"/>
                    <a:pt x="137" y="710"/>
                  </a:cubicBezTo>
                  <a:cubicBezTo>
                    <a:pt x="107" y="702"/>
                    <a:pt x="76" y="718"/>
                    <a:pt x="46" y="710"/>
                  </a:cubicBezTo>
                  <a:cubicBezTo>
                    <a:pt x="38" y="702"/>
                    <a:pt x="61" y="687"/>
                    <a:pt x="61" y="679"/>
                  </a:cubicBezTo>
                  <a:cubicBezTo>
                    <a:pt x="53" y="657"/>
                    <a:pt x="30" y="634"/>
                    <a:pt x="23" y="61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63"/>
            <p:cNvSpPr>
              <a:spLocks noChangeArrowheads="1"/>
            </p:cNvSpPr>
            <p:nvPr/>
          </p:nvSpPr>
          <p:spPr bwMode="auto">
            <a:xfrm>
              <a:off x="7797293" y="6996114"/>
              <a:ext cx="169852" cy="198437"/>
            </a:xfrm>
            <a:custGeom>
              <a:avLst/>
              <a:gdLst>
                <a:gd name="T0" fmla="*/ 130 w 474"/>
                <a:gd name="T1" fmla="*/ 0 h 551"/>
                <a:gd name="T2" fmla="*/ 130 w 474"/>
                <a:gd name="T3" fmla="*/ 0 h 551"/>
                <a:gd name="T4" fmla="*/ 0 w 474"/>
                <a:gd name="T5" fmla="*/ 84 h 551"/>
                <a:gd name="T6" fmla="*/ 0 w 474"/>
                <a:gd name="T7" fmla="*/ 84 h 551"/>
                <a:gd name="T8" fmla="*/ 130 w 474"/>
                <a:gd name="T9" fmla="*/ 214 h 551"/>
                <a:gd name="T10" fmla="*/ 107 w 474"/>
                <a:gd name="T11" fmla="*/ 313 h 551"/>
                <a:gd name="T12" fmla="*/ 183 w 474"/>
                <a:gd name="T13" fmla="*/ 450 h 551"/>
                <a:gd name="T14" fmla="*/ 244 w 474"/>
                <a:gd name="T15" fmla="*/ 542 h 551"/>
                <a:gd name="T16" fmla="*/ 305 w 474"/>
                <a:gd name="T17" fmla="*/ 496 h 551"/>
                <a:gd name="T18" fmla="*/ 267 w 474"/>
                <a:gd name="T19" fmla="*/ 450 h 551"/>
                <a:gd name="T20" fmla="*/ 328 w 474"/>
                <a:gd name="T21" fmla="*/ 389 h 551"/>
                <a:gd name="T22" fmla="*/ 351 w 474"/>
                <a:gd name="T23" fmla="*/ 328 h 551"/>
                <a:gd name="T24" fmla="*/ 473 w 474"/>
                <a:gd name="T25" fmla="*/ 260 h 551"/>
                <a:gd name="T26" fmla="*/ 473 w 474"/>
                <a:gd name="T27" fmla="*/ 260 h 551"/>
                <a:gd name="T28" fmla="*/ 435 w 474"/>
                <a:gd name="T29" fmla="*/ 221 h 551"/>
                <a:gd name="T30" fmla="*/ 290 w 474"/>
                <a:gd name="T31" fmla="*/ 145 h 551"/>
                <a:gd name="T32" fmla="*/ 145 w 474"/>
                <a:gd name="T33" fmla="*/ 30 h 551"/>
                <a:gd name="T34" fmla="*/ 130 w 474"/>
                <a:gd name="T35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4" h="551">
                  <a:moveTo>
                    <a:pt x="130" y="0"/>
                  </a:moveTo>
                  <a:lnTo>
                    <a:pt x="130" y="0"/>
                  </a:lnTo>
                  <a:cubicBezTo>
                    <a:pt x="0" y="84"/>
                    <a:pt x="0" y="84"/>
                    <a:pt x="0" y="84"/>
                  </a:cubicBezTo>
                  <a:lnTo>
                    <a:pt x="0" y="84"/>
                  </a:lnTo>
                  <a:cubicBezTo>
                    <a:pt x="46" y="130"/>
                    <a:pt x="107" y="160"/>
                    <a:pt x="130" y="214"/>
                  </a:cubicBezTo>
                  <a:cubicBezTo>
                    <a:pt x="145" y="244"/>
                    <a:pt x="91" y="283"/>
                    <a:pt x="107" y="313"/>
                  </a:cubicBezTo>
                  <a:cubicBezTo>
                    <a:pt x="114" y="367"/>
                    <a:pt x="160" y="405"/>
                    <a:pt x="183" y="450"/>
                  </a:cubicBezTo>
                  <a:cubicBezTo>
                    <a:pt x="206" y="481"/>
                    <a:pt x="214" y="527"/>
                    <a:pt x="244" y="542"/>
                  </a:cubicBezTo>
                  <a:cubicBezTo>
                    <a:pt x="267" y="550"/>
                    <a:pt x="298" y="519"/>
                    <a:pt x="305" y="496"/>
                  </a:cubicBezTo>
                  <a:cubicBezTo>
                    <a:pt x="305" y="473"/>
                    <a:pt x="267" y="466"/>
                    <a:pt x="267" y="450"/>
                  </a:cubicBezTo>
                  <a:cubicBezTo>
                    <a:pt x="275" y="428"/>
                    <a:pt x="313" y="412"/>
                    <a:pt x="328" y="389"/>
                  </a:cubicBezTo>
                  <a:cubicBezTo>
                    <a:pt x="336" y="374"/>
                    <a:pt x="328" y="344"/>
                    <a:pt x="351" y="328"/>
                  </a:cubicBezTo>
                  <a:cubicBezTo>
                    <a:pt x="389" y="290"/>
                    <a:pt x="427" y="290"/>
                    <a:pt x="473" y="260"/>
                  </a:cubicBezTo>
                  <a:lnTo>
                    <a:pt x="473" y="260"/>
                  </a:lnTo>
                  <a:cubicBezTo>
                    <a:pt x="466" y="252"/>
                    <a:pt x="450" y="237"/>
                    <a:pt x="435" y="221"/>
                  </a:cubicBezTo>
                  <a:cubicBezTo>
                    <a:pt x="397" y="183"/>
                    <a:pt x="336" y="183"/>
                    <a:pt x="290" y="145"/>
                  </a:cubicBezTo>
                  <a:cubicBezTo>
                    <a:pt x="275" y="145"/>
                    <a:pt x="160" y="46"/>
                    <a:pt x="145" y="30"/>
                  </a:cubicBezTo>
                  <a:cubicBezTo>
                    <a:pt x="137" y="23"/>
                    <a:pt x="130" y="8"/>
                    <a:pt x="13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64"/>
            <p:cNvSpPr>
              <a:spLocks noChangeArrowheads="1"/>
            </p:cNvSpPr>
            <p:nvPr/>
          </p:nvSpPr>
          <p:spPr bwMode="auto">
            <a:xfrm>
              <a:off x="7462352" y="7791450"/>
              <a:ext cx="217473" cy="217488"/>
            </a:xfrm>
            <a:custGeom>
              <a:avLst/>
              <a:gdLst>
                <a:gd name="T0" fmla="*/ 221 w 604"/>
                <a:gd name="T1" fmla="*/ 8 h 605"/>
                <a:gd name="T2" fmla="*/ 221 w 604"/>
                <a:gd name="T3" fmla="*/ 8 h 605"/>
                <a:gd name="T4" fmla="*/ 397 w 604"/>
                <a:gd name="T5" fmla="*/ 31 h 605"/>
                <a:gd name="T6" fmla="*/ 466 w 604"/>
                <a:gd name="T7" fmla="*/ 123 h 605"/>
                <a:gd name="T8" fmla="*/ 588 w 604"/>
                <a:gd name="T9" fmla="*/ 123 h 605"/>
                <a:gd name="T10" fmla="*/ 596 w 604"/>
                <a:gd name="T11" fmla="*/ 168 h 605"/>
                <a:gd name="T12" fmla="*/ 450 w 604"/>
                <a:gd name="T13" fmla="*/ 237 h 605"/>
                <a:gd name="T14" fmla="*/ 504 w 604"/>
                <a:gd name="T15" fmla="*/ 290 h 605"/>
                <a:gd name="T16" fmla="*/ 504 w 604"/>
                <a:gd name="T17" fmla="*/ 290 h 605"/>
                <a:gd name="T18" fmla="*/ 435 w 604"/>
                <a:gd name="T19" fmla="*/ 336 h 605"/>
                <a:gd name="T20" fmla="*/ 420 w 604"/>
                <a:gd name="T21" fmla="*/ 421 h 605"/>
                <a:gd name="T22" fmla="*/ 275 w 604"/>
                <a:gd name="T23" fmla="*/ 474 h 605"/>
                <a:gd name="T24" fmla="*/ 183 w 604"/>
                <a:gd name="T25" fmla="*/ 604 h 605"/>
                <a:gd name="T26" fmla="*/ 183 w 604"/>
                <a:gd name="T27" fmla="*/ 604 h 605"/>
                <a:gd name="T28" fmla="*/ 122 w 604"/>
                <a:gd name="T29" fmla="*/ 535 h 605"/>
                <a:gd name="T30" fmla="*/ 61 w 604"/>
                <a:gd name="T31" fmla="*/ 436 h 605"/>
                <a:gd name="T32" fmla="*/ 15 w 604"/>
                <a:gd name="T33" fmla="*/ 421 h 605"/>
                <a:gd name="T34" fmla="*/ 38 w 604"/>
                <a:gd name="T35" fmla="*/ 313 h 605"/>
                <a:gd name="T36" fmla="*/ 53 w 604"/>
                <a:gd name="T37" fmla="*/ 199 h 605"/>
                <a:gd name="T38" fmla="*/ 0 w 604"/>
                <a:gd name="T39" fmla="*/ 115 h 605"/>
                <a:gd name="T40" fmla="*/ 38 w 604"/>
                <a:gd name="T41" fmla="*/ 61 h 605"/>
                <a:gd name="T42" fmla="*/ 99 w 604"/>
                <a:gd name="T43" fmla="*/ 77 h 605"/>
                <a:gd name="T44" fmla="*/ 221 w 604"/>
                <a:gd name="T45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4" h="605">
                  <a:moveTo>
                    <a:pt x="221" y="8"/>
                  </a:moveTo>
                  <a:lnTo>
                    <a:pt x="221" y="8"/>
                  </a:lnTo>
                  <a:cubicBezTo>
                    <a:pt x="283" y="16"/>
                    <a:pt x="344" y="0"/>
                    <a:pt x="397" y="31"/>
                  </a:cubicBezTo>
                  <a:cubicBezTo>
                    <a:pt x="435" y="46"/>
                    <a:pt x="435" y="100"/>
                    <a:pt x="466" y="123"/>
                  </a:cubicBezTo>
                  <a:cubicBezTo>
                    <a:pt x="504" y="138"/>
                    <a:pt x="550" y="107"/>
                    <a:pt x="588" y="123"/>
                  </a:cubicBezTo>
                  <a:cubicBezTo>
                    <a:pt x="603" y="130"/>
                    <a:pt x="603" y="161"/>
                    <a:pt x="596" y="168"/>
                  </a:cubicBezTo>
                  <a:cubicBezTo>
                    <a:pt x="558" y="207"/>
                    <a:pt x="481" y="199"/>
                    <a:pt x="450" y="237"/>
                  </a:cubicBezTo>
                  <a:cubicBezTo>
                    <a:pt x="435" y="260"/>
                    <a:pt x="489" y="275"/>
                    <a:pt x="504" y="290"/>
                  </a:cubicBezTo>
                  <a:lnTo>
                    <a:pt x="504" y="290"/>
                  </a:lnTo>
                  <a:cubicBezTo>
                    <a:pt x="481" y="306"/>
                    <a:pt x="458" y="321"/>
                    <a:pt x="435" y="336"/>
                  </a:cubicBezTo>
                  <a:cubicBezTo>
                    <a:pt x="435" y="336"/>
                    <a:pt x="420" y="413"/>
                    <a:pt x="420" y="421"/>
                  </a:cubicBezTo>
                  <a:cubicBezTo>
                    <a:pt x="420" y="428"/>
                    <a:pt x="275" y="474"/>
                    <a:pt x="275" y="474"/>
                  </a:cubicBezTo>
                  <a:cubicBezTo>
                    <a:pt x="244" y="520"/>
                    <a:pt x="214" y="565"/>
                    <a:pt x="183" y="604"/>
                  </a:cubicBezTo>
                  <a:lnTo>
                    <a:pt x="183" y="604"/>
                  </a:lnTo>
                  <a:cubicBezTo>
                    <a:pt x="160" y="581"/>
                    <a:pt x="145" y="558"/>
                    <a:pt x="122" y="535"/>
                  </a:cubicBezTo>
                  <a:cubicBezTo>
                    <a:pt x="99" y="504"/>
                    <a:pt x="84" y="466"/>
                    <a:pt x="61" y="436"/>
                  </a:cubicBezTo>
                  <a:cubicBezTo>
                    <a:pt x="46" y="421"/>
                    <a:pt x="15" y="436"/>
                    <a:pt x="15" y="421"/>
                  </a:cubicBezTo>
                  <a:cubicBezTo>
                    <a:pt x="8" y="382"/>
                    <a:pt x="31" y="344"/>
                    <a:pt x="38" y="313"/>
                  </a:cubicBezTo>
                  <a:cubicBezTo>
                    <a:pt x="46" y="275"/>
                    <a:pt x="61" y="237"/>
                    <a:pt x="53" y="199"/>
                  </a:cubicBezTo>
                  <a:cubicBezTo>
                    <a:pt x="53" y="168"/>
                    <a:pt x="23" y="146"/>
                    <a:pt x="0" y="115"/>
                  </a:cubicBezTo>
                  <a:cubicBezTo>
                    <a:pt x="0" y="115"/>
                    <a:pt x="38" y="69"/>
                    <a:pt x="38" y="61"/>
                  </a:cubicBezTo>
                  <a:cubicBezTo>
                    <a:pt x="46" y="54"/>
                    <a:pt x="99" y="77"/>
                    <a:pt x="99" y="77"/>
                  </a:cubicBezTo>
                  <a:cubicBezTo>
                    <a:pt x="145" y="54"/>
                    <a:pt x="183" y="31"/>
                    <a:pt x="221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65"/>
            <p:cNvSpPr>
              <a:spLocks noChangeArrowheads="1"/>
            </p:cNvSpPr>
            <p:nvPr/>
          </p:nvSpPr>
          <p:spPr bwMode="auto">
            <a:xfrm>
              <a:off x="7200431" y="7896225"/>
              <a:ext cx="558764" cy="630238"/>
            </a:xfrm>
            <a:custGeom>
              <a:avLst/>
              <a:gdLst>
                <a:gd name="T0" fmla="*/ 909 w 1552"/>
                <a:gd name="T1" fmla="*/ 314 h 1751"/>
                <a:gd name="T2" fmla="*/ 1146 w 1552"/>
                <a:gd name="T3" fmla="*/ 131 h 1751"/>
                <a:gd name="T4" fmla="*/ 1230 w 1552"/>
                <a:gd name="T5" fmla="*/ 0 h 1751"/>
                <a:gd name="T6" fmla="*/ 1314 w 1552"/>
                <a:gd name="T7" fmla="*/ 85 h 1751"/>
                <a:gd name="T8" fmla="*/ 1322 w 1552"/>
                <a:gd name="T9" fmla="*/ 237 h 1751"/>
                <a:gd name="T10" fmla="*/ 1406 w 1552"/>
                <a:gd name="T11" fmla="*/ 222 h 1751"/>
                <a:gd name="T12" fmla="*/ 1536 w 1552"/>
                <a:gd name="T13" fmla="*/ 428 h 1751"/>
                <a:gd name="T14" fmla="*/ 1390 w 1552"/>
                <a:gd name="T15" fmla="*/ 696 h 1751"/>
                <a:gd name="T16" fmla="*/ 1352 w 1552"/>
                <a:gd name="T17" fmla="*/ 910 h 1751"/>
                <a:gd name="T18" fmla="*/ 1253 w 1552"/>
                <a:gd name="T19" fmla="*/ 955 h 1751"/>
                <a:gd name="T20" fmla="*/ 1138 w 1552"/>
                <a:gd name="T21" fmla="*/ 994 h 1751"/>
                <a:gd name="T22" fmla="*/ 1100 w 1552"/>
                <a:gd name="T23" fmla="*/ 1123 h 1751"/>
                <a:gd name="T24" fmla="*/ 1093 w 1552"/>
                <a:gd name="T25" fmla="*/ 1314 h 1751"/>
                <a:gd name="T26" fmla="*/ 940 w 1552"/>
                <a:gd name="T27" fmla="*/ 1368 h 1751"/>
                <a:gd name="T28" fmla="*/ 718 w 1552"/>
                <a:gd name="T29" fmla="*/ 1498 h 1751"/>
                <a:gd name="T30" fmla="*/ 718 w 1552"/>
                <a:gd name="T31" fmla="*/ 1567 h 1751"/>
                <a:gd name="T32" fmla="*/ 596 w 1552"/>
                <a:gd name="T33" fmla="*/ 1467 h 1751"/>
                <a:gd name="T34" fmla="*/ 474 w 1552"/>
                <a:gd name="T35" fmla="*/ 1521 h 1751"/>
                <a:gd name="T36" fmla="*/ 336 w 1552"/>
                <a:gd name="T37" fmla="*/ 1643 h 1751"/>
                <a:gd name="T38" fmla="*/ 313 w 1552"/>
                <a:gd name="T39" fmla="*/ 1681 h 1751"/>
                <a:gd name="T40" fmla="*/ 161 w 1552"/>
                <a:gd name="T41" fmla="*/ 1734 h 1751"/>
                <a:gd name="T42" fmla="*/ 92 w 1552"/>
                <a:gd name="T43" fmla="*/ 1689 h 1751"/>
                <a:gd name="T44" fmla="*/ 31 w 1552"/>
                <a:gd name="T45" fmla="*/ 1467 h 1751"/>
                <a:gd name="T46" fmla="*/ 0 w 1552"/>
                <a:gd name="T47" fmla="*/ 1269 h 1751"/>
                <a:gd name="T48" fmla="*/ 54 w 1552"/>
                <a:gd name="T49" fmla="*/ 1200 h 1751"/>
                <a:gd name="T50" fmla="*/ 77 w 1552"/>
                <a:gd name="T51" fmla="*/ 1085 h 1751"/>
                <a:gd name="T52" fmla="*/ 146 w 1552"/>
                <a:gd name="T53" fmla="*/ 932 h 1751"/>
                <a:gd name="T54" fmla="*/ 100 w 1552"/>
                <a:gd name="T55" fmla="*/ 833 h 1751"/>
                <a:gd name="T56" fmla="*/ 176 w 1552"/>
                <a:gd name="T57" fmla="*/ 680 h 1751"/>
                <a:gd name="T58" fmla="*/ 283 w 1552"/>
                <a:gd name="T59" fmla="*/ 658 h 1751"/>
                <a:gd name="T60" fmla="*/ 413 w 1552"/>
                <a:gd name="T61" fmla="*/ 596 h 1751"/>
                <a:gd name="T62" fmla="*/ 512 w 1552"/>
                <a:gd name="T63" fmla="*/ 459 h 1751"/>
                <a:gd name="T64" fmla="*/ 673 w 1552"/>
                <a:gd name="T65" fmla="*/ 314 h 1751"/>
                <a:gd name="T66" fmla="*/ 909 w 1552"/>
                <a:gd name="T67" fmla="*/ 314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52" h="1751">
                  <a:moveTo>
                    <a:pt x="909" y="314"/>
                  </a:moveTo>
                  <a:lnTo>
                    <a:pt x="909" y="314"/>
                  </a:lnTo>
                  <a:cubicBezTo>
                    <a:pt x="940" y="275"/>
                    <a:pt x="970" y="230"/>
                    <a:pt x="1001" y="184"/>
                  </a:cubicBezTo>
                  <a:cubicBezTo>
                    <a:pt x="1001" y="184"/>
                    <a:pt x="1146" y="138"/>
                    <a:pt x="1146" y="131"/>
                  </a:cubicBezTo>
                  <a:cubicBezTo>
                    <a:pt x="1146" y="123"/>
                    <a:pt x="1161" y="46"/>
                    <a:pt x="1161" y="46"/>
                  </a:cubicBezTo>
                  <a:cubicBezTo>
                    <a:pt x="1184" y="31"/>
                    <a:pt x="1207" y="16"/>
                    <a:pt x="1230" y="0"/>
                  </a:cubicBezTo>
                  <a:lnTo>
                    <a:pt x="1230" y="0"/>
                  </a:lnTo>
                  <a:cubicBezTo>
                    <a:pt x="1261" y="31"/>
                    <a:pt x="1307" y="46"/>
                    <a:pt x="1314" y="85"/>
                  </a:cubicBezTo>
                  <a:cubicBezTo>
                    <a:pt x="1322" y="115"/>
                    <a:pt x="1276" y="138"/>
                    <a:pt x="1276" y="169"/>
                  </a:cubicBezTo>
                  <a:cubicBezTo>
                    <a:pt x="1284" y="192"/>
                    <a:pt x="1291" y="230"/>
                    <a:pt x="1322" y="237"/>
                  </a:cubicBezTo>
                  <a:cubicBezTo>
                    <a:pt x="1345" y="253"/>
                    <a:pt x="1375" y="230"/>
                    <a:pt x="1406" y="222"/>
                  </a:cubicBezTo>
                  <a:lnTo>
                    <a:pt x="1406" y="222"/>
                  </a:lnTo>
                  <a:cubicBezTo>
                    <a:pt x="1429" y="268"/>
                    <a:pt x="1436" y="321"/>
                    <a:pt x="1459" y="360"/>
                  </a:cubicBezTo>
                  <a:cubicBezTo>
                    <a:pt x="1482" y="390"/>
                    <a:pt x="1528" y="398"/>
                    <a:pt x="1536" y="428"/>
                  </a:cubicBezTo>
                  <a:cubicBezTo>
                    <a:pt x="1551" y="482"/>
                    <a:pt x="1543" y="535"/>
                    <a:pt x="1520" y="581"/>
                  </a:cubicBezTo>
                  <a:cubicBezTo>
                    <a:pt x="1497" y="627"/>
                    <a:pt x="1436" y="658"/>
                    <a:pt x="1390" y="696"/>
                  </a:cubicBezTo>
                  <a:cubicBezTo>
                    <a:pt x="1368" y="719"/>
                    <a:pt x="1307" y="719"/>
                    <a:pt x="1307" y="749"/>
                  </a:cubicBezTo>
                  <a:cubicBezTo>
                    <a:pt x="1291" y="803"/>
                    <a:pt x="1337" y="856"/>
                    <a:pt x="1352" y="910"/>
                  </a:cubicBezTo>
                  <a:lnTo>
                    <a:pt x="1352" y="910"/>
                  </a:lnTo>
                  <a:cubicBezTo>
                    <a:pt x="1314" y="925"/>
                    <a:pt x="1276" y="925"/>
                    <a:pt x="1253" y="955"/>
                  </a:cubicBezTo>
                  <a:cubicBezTo>
                    <a:pt x="1238" y="978"/>
                    <a:pt x="1245" y="1017"/>
                    <a:pt x="1245" y="1047"/>
                  </a:cubicBezTo>
                  <a:cubicBezTo>
                    <a:pt x="1245" y="1047"/>
                    <a:pt x="1146" y="994"/>
                    <a:pt x="1138" y="994"/>
                  </a:cubicBezTo>
                  <a:cubicBezTo>
                    <a:pt x="1131" y="994"/>
                    <a:pt x="1085" y="1039"/>
                    <a:pt x="1085" y="1039"/>
                  </a:cubicBezTo>
                  <a:cubicBezTo>
                    <a:pt x="1093" y="1070"/>
                    <a:pt x="1108" y="1100"/>
                    <a:pt x="1100" y="1123"/>
                  </a:cubicBezTo>
                  <a:cubicBezTo>
                    <a:pt x="1093" y="1162"/>
                    <a:pt x="1047" y="1184"/>
                    <a:pt x="1047" y="1215"/>
                  </a:cubicBezTo>
                  <a:cubicBezTo>
                    <a:pt x="1047" y="1253"/>
                    <a:pt x="1077" y="1284"/>
                    <a:pt x="1093" y="1314"/>
                  </a:cubicBezTo>
                  <a:lnTo>
                    <a:pt x="1093" y="1314"/>
                  </a:lnTo>
                  <a:cubicBezTo>
                    <a:pt x="1093" y="1314"/>
                    <a:pt x="947" y="1368"/>
                    <a:pt x="940" y="1368"/>
                  </a:cubicBezTo>
                  <a:cubicBezTo>
                    <a:pt x="940" y="1375"/>
                    <a:pt x="909" y="1421"/>
                    <a:pt x="909" y="1421"/>
                  </a:cubicBezTo>
                  <a:cubicBezTo>
                    <a:pt x="848" y="1444"/>
                    <a:pt x="772" y="1452"/>
                    <a:pt x="718" y="1498"/>
                  </a:cubicBezTo>
                  <a:cubicBezTo>
                    <a:pt x="695" y="1505"/>
                    <a:pt x="718" y="1544"/>
                    <a:pt x="718" y="1567"/>
                  </a:cubicBezTo>
                  <a:lnTo>
                    <a:pt x="718" y="1567"/>
                  </a:lnTo>
                  <a:cubicBezTo>
                    <a:pt x="703" y="1582"/>
                    <a:pt x="680" y="1628"/>
                    <a:pt x="665" y="1612"/>
                  </a:cubicBezTo>
                  <a:cubicBezTo>
                    <a:pt x="619" y="1574"/>
                    <a:pt x="642" y="1490"/>
                    <a:pt x="596" y="1467"/>
                  </a:cubicBezTo>
                  <a:cubicBezTo>
                    <a:pt x="558" y="1444"/>
                    <a:pt x="512" y="1475"/>
                    <a:pt x="482" y="1498"/>
                  </a:cubicBezTo>
                  <a:cubicBezTo>
                    <a:pt x="474" y="1498"/>
                    <a:pt x="482" y="1521"/>
                    <a:pt x="474" y="1521"/>
                  </a:cubicBezTo>
                  <a:cubicBezTo>
                    <a:pt x="428" y="1544"/>
                    <a:pt x="375" y="1528"/>
                    <a:pt x="336" y="1559"/>
                  </a:cubicBezTo>
                  <a:cubicBezTo>
                    <a:pt x="313" y="1582"/>
                    <a:pt x="336" y="1620"/>
                    <a:pt x="336" y="1643"/>
                  </a:cubicBezTo>
                  <a:lnTo>
                    <a:pt x="336" y="1643"/>
                  </a:lnTo>
                  <a:cubicBezTo>
                    <a:pt x="329" y="1658"/>
                    <a:pt x="321" y="1673"/>
                    <a:pt x="313" y="1681"/>
                  </a:cubicBezTo>
                  <a:cubicBezTo>
                    <a:pt x="290" y="1704"/>
                    <a:pt x="275" y="1719"/>
                    <a:pt x="252" y="1727"/>
                  </a:cubicBezTo>
                  <a:cubicBezTo>
                    <a:pt x="229" y="1734"/>
                    <a:pt x="191" y="1734"/>
                    <a:pt x="161" y="1734"/>
                  </a:cubicBezTo>
                  <a:cubicBezTo>
                    <a:pt x="138" y="1734"/>
                    <a:pt x="107" y="1750"/>
                    <a:pt x="84" y="1734"/>
                  </a:cubicBezTo>
                  <a:cubicBezTo>
                    <a:pt x="69" y="1727"/>
                    <a:pt x="92" y="1704"/>
                    <a:pt x="92" y="1689"/>
                  </a:cubicBezTo>
                  <a:cubicBezTo>
                    <a:pt x="92" y="1658"/>
                    <a:pt x="84" y="1628"/>
                    <a:pt x="77" y="1597"/>
                  </a:cubicBezTo>
                  <a:cubicBezTo>
                    <a:pt x="61" y="1551"/>
                    <a:pt x="16" y="1513"/>
                    <a:pt x="31" y="1467"/>
                  </a:cubicBezTo>
                  <a:cubicBezTo>
                    <a:pt x="38" y="1437"/>
                    <a:pt x="138" y="1475"/>
                    <a:pt x="130" y="1437"/>
                  </a:cubicBezTo>
                  <a:cubicBezTo>
                    <a:pt x="123" y="1368"/>
                    <a:pt x="46" y="1322"/>
                    <a:pt x="0" y="1269"/>
                  </a:cubicBezTo>
                  <a:cubicBezTo>
                    <a:pt x="8" y="1269"/>
                    <a:pt x="8" y="1269"/>
                    <a:pt x="8" y="1269"/>
                  </a:cubicBezTo>
                  <a:cubicBezTo>
                    <a:pt x="23" y="1246"/>
                    <a:pt x="31" y="1223"/>
                    <a:pt x="54" y="1200"/>
                  </a:cubicBezTo>
                  <a:cubicBezTo>
                    <a:pt x="69" y="1184"/>
                    <a:pt x="115" y="1200"/>
                    <a:pt x="123" y="1177"/>
                  </a:cubicBezTo>
                  <a:cubicBezTo>
                    <a:pt x="130" y="1146"/>
                    <a:pt x="69" y="1116"/>
                    <a:pt x="77" y="1085"/>
                  </a:cubicBezTo>
                  <a:cubicBezTo>
                    <a:pt x="92" y="1047"/>
                    <a:pt x="153" y="1047"/>
                    <a:pt x="168" y="1009"/>
                  </a:cubicBezTo>
                  <a:cubicBezTo>
                    <a:pt x="184" y="986"/>
                    <a:pt x="146" y="963"/>
                    <a:pt x="146" y="932"/>
                  </a:cubicBezTo>
                  <a:cubicBezTo>
                    <a:pt x="146" y="910"/>
                    <a:pt x="184" y="894"/>
                    <a:pt x="168" y="879"/>
                  </a:cubicBezTo>
                  <a:cubicBezTo>
                    <a:pt x="161" y="856"/>
                    <a:pt x="84" y="864"/>
                    <a:pt x="100" y="833"/>
                  </a:cubicBezTo>
                  <a:cubicBezTo>
                    <a:pt x="115" y="795"/>
                    <a:pt x="191" y="818"/>
                    <a:pt x="214" y="780"/>
                  </a:cubicBezTo>
                  <a:cubicBezTo>
                    <a:pt x="229" y="749"/>
                    <a:pt x="191" y="711"/>
                    <a:pt x="176" y="680"/>
                  </a:cubicBezTo>
                  <a:lnTo>
                    <a:pt x="176" y="680"/>
                  </a:lnTo>
                  <a:cubicBezTo>
                    <a:pt x="214" y="673"/>
                    <a:pt x="252" y="680"/>
                    <a:pt x="283" y="658"/>
                  </a:cubicBezTo>
                  <a:cubicBezTo>
                    <a:pt x="313" y="642"/>
                    <a:pt x="313" y="589"/>
                    <a:pt x="352" y="573"/>
                  </a:cubicBezTo>
                  <a:cubicBezTo>
                    <a:pt x="367" y="566"/>
                    <a:pt x="398" y="612"/>
                    <a:pt x="413" y="596"/>
                  </a:cubicBezTo>
                  <a:cubicBezTo>
                    <a:pt x="436" y="581"/>
                    <a:pt x="413" y="543"/>
                    <a:pt x="421" y="520"/>
                  </a:cubicBezTo>
                  <a:cubicBezTo>
                    <a:pt x="443" y="489"/>
                    <a:pt x="482" y="467"/>
                    <a:pt x="512" y="459"/>
                  </a:cubicBezTo>
                  <a:cubicBezTo>
                    <a:pt x="558" y="451"/>
                    <a:pt x="611" y="505"/>
                    <a:pt x="642" y="474"/>
                  </a:cubicBezTo>
                  <a:cubicBezTo>
                    <a:pt x="680" y="436"/>
                    <a:pt x="627" y="337"/>
                    <a:pt x="673" y="314"/>
                  </a:cubicBezTo>
                  <a:cubicBezTo>
                    <a:pt x="718" y="283"/>
                    <a:pt x="772" y="352"/>
                    <a:pt x="833" y="352"/>
                  </a:cubicBezTo>
                  <a:cubicBezTo>
                    <a:pt x="856" y="360"/>
                    <a:pt x="879" y="329"/>
                    <a:pt x="909" y="3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66"/>
            <p:cNvSpPr>
              <a:spLocks noChangeArrowheads="1"/>
            </p:cNvSpPr>
            <p:nvPr/>
          </p:nvSpPr>
          <p:spPr bwMode="auto">
            <a:xfrm>
              <a:off x="7643316" y="7889876"/>
              <a:ext cx="306367" cy="138113"/>
            </a:xfrm>
            <a:custGeom>
              <a:avLst/>
              <a:gdLst>
                <a:gd name="T0" fmla="*/ 0 w 849"/>
                <a:gd name="T1" fmla="*/ 15 h 383"/>
                <a:gd name="T2" fmla="*/ 0 w 849"/>
                <a:gd name="T3" fmla="*/ 15 h 383"/>
                <a:gd name="T4" fmla="*/ 130 w 849"/>
                <a:gd name="T5" fmla="*/ 31 h 383"/>
                <a:gd name="T6" fmla="*/ 229 w 849"/>
                <a:gd name="T7" fmla="*/ 84 h 383"/>
                <a:gd name="T8" fmla="*/ 329 w 849"/>
                <a:gd name="T9" fmla="*/ 15 h 383"/>
                <a:gd name="T10" fmla="*/ 435 w 849"/>
                <a:gd name="T11" fmla="*/ 69 h 383"/>
                <a:gd name="T12" fmla="*/ 496 w 849"/>
                <a:gd name="T13" fmla="*/ 38 h 383"/>
                <a:gd name="T14" fmla="*/ 588 w 849"/>
                <a:gd name="T15" fmla="*/ 77 h 383"/>
                <a:gd name="T16" fmla="*/ 688 w 849"/>
                <a:gd name="T17" fmla="*/ 8 h 383"/>
                <a:gd name="T18" fmla="*/ 802 w 849"/>
                <a:gd name="T19" fmla="*/ 31 h 383"/>
                <a:gd name="T20" fmla="*/ 802 w 849"/>
                <a:gd name="T21" fmla="*/ 31 h 383"/>
                <a:gd name="T22" fmla="*/ 802 w 849"/>
                <a:gd name="T23" fmla="*/ 115 h 383"/>
                <a:gd name="T24" fmla="*/ 825 w 849"/>
                <a:gd name="T25" fmla="*/ 222 h 383"/>
                <a:gd name="T26" fmla="*/ 565 w 849"/>
                <a:gd name="T27" fmla="*/ 283 h 383"/>
                <a:gd name="T28" fmla="*/ 550 w 849"/>
                <a:gd name="T29" fmla="*/ 359 h 383"/>
                <a:gd name="T30" fmla="*/ 428 w 849"/>
                <a:gd name="T31" fmla="*/ 375 h 383"/>
                <a:gd name="T32" fmla="*/ 420 w 849"/>
                <a:gd name="T33" fmla="*/ 344 h 383"/>
                <a:gd name="T34" fmla="*/ 352 w 849"/>
                <a:gd name="T35" fmla="*/ 367 h 383"/>
                <a:gd name="T36" fmla="*/ 313 w 849"/>
                <a:gd name="T37" fmla="*/ 290 h 383"/>
                <a:gd name="T38" fmla="*/ 252 w 849"/>
                <a:gd name="T39" fmla="*/ 245 h 383"/>
                <a:gd name="T40" fmla="*/ 176 w 849"/>
                <a:gd name="T41" fmla="*/ 237 h 383"/>
                <a:gd name="T42" fmla="*/ 176 w 849"/>
                <a:gd name="T43" fmla="*/ 237 h 383"/>
                <a:gd name="T44" fmla="*/ 92 w 849"/>
                <a:gd name="T45" fmla="*/ 252 h 383"/>
                <a:gd name="T46" fmla="*/ 46 w 849"/>
                <a:gd name="T47" fmla="*/ 184 h 383"/>
                <a:gd name="T48" fmla="*/ 84 w 849"/>
                <a:gd name="T49" fmla="*/ 100 h 383"/>
                <a:gd name="T50" fmla="*/ 0 w 849"/>
                <a:gd name="T51" fmla="*/ 1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49" h="383">
                  <a:moveTo>
                    <a:pt x="0" y="15"/>
                  </a:moveTo>
                  <a:lnTo>
                    <a:pt x="0" y="15"/>
                  </a:lnTo>
                  <a:cubicBezTo>
                    <a:pt x="46" y="23"/>
                    <a:pt x="92" y="15"/>
                    <a:pt x="130" y="31"/>
                  </a:cubicBezTo>
                  <a:cubicBezTo>
                    <a:pt x="168" y="38"/>
                    <a:pt x="191" y="84"/>
                    <a:pt x="229" y="84"/>
                  </a:cubicBezTo>
                  <a:cubicBezTo>
                    <a:pt x="275" y="84"/>
                    <a:pt x="290" y="23"/>
                    <a:pt x="329" y="15"/>
                  </a:cubicBezTo>
                  <a:cubicBezTo>
                    <a:pt x="367" y="15"/>
                    <a:pt x="397" y="61"/>
                    <a:pt x="435" y="69"/>
                  </a:cubicBezTo>
                  <a:cubicBezTo>
                    <a:pt x="458" y="69"/>
                    <a:pt x="474" y="31"/>
                    <a:pt x="496" y="38"/>
                  </a:cubicBezTo>
                  <a:cubicBezTo>
                    <a:pt x="535" y="38"/>
                    <a:pt x="558" y="77"/>
                    <a:pt x="588" y="77"/>
                  </a:cubicBezTo>
                  <a:cubicBezTo>
                    <a:pt x="626" y="69"/>
                    <a:pt x="649" y="15"/>
                    <a:pt x="688" y="8"/>
                  </a:cubicBezTo>
                  <a:cubicBezTo>
                    <a:pt x="726" y="0"/>
                    <a:pt x="764" y="23"/>
                    <a:pt x="802" y="31"/>
                  </a:cubicBezTo>
                  <a:lnTo>
                    <a:pt x="802" y="31"/>
                  </a:lnTo>
                  <a:cubicBezTo>
                    <a:pt x="802" y="61"/>
                    <a:pt x="802" y="84"/>
                    <a:pt x="802" y="115"/>
                  </a:cubicBezTo>
                  <a:cubicBezTo>
                    <a:pt x="810" y="146"/>
                    <a:pt x="848" y="199"/>
                    <a:pt x="825" y="222"/>
                  </a:cubicBezTo>
                  <a:cubicBezTo>
                    <a:pt x="749" y="268"/>
                    <a:pt x="649" y="245"/>
                    <a:pt x="565" y="283"/>
                  </a:cubicBezTo>
                  <a:cubicBezTo>
                    <a:pt x="542" y="290"/>
                    <a:pt x="573" y="344"/>
                    <a:pt x="550" y="359"/>
                  </a:cubicBezTo>
                  <a:cubicBezTo>
                    <a:pt x="519" y="382"/>
                    <a:pt x="474" y="382"/>
                    <a:pt x="428" y="375"/>
                  </a:cubicBezTo>
                  <a:cubicBezTo>
                    <a:pt x="420" y="375"/>
                    <a:pt x="435" y="352"/>
                    <a:pt x="420" y="344"/>
                  </a:cubicBezTo>
                  <a:cubicBezTo>
                    <a:pt x="397" y="344"/>
                    <a:pt x="374" y="375"/>
                    <a:pt x="352" y="367"/>
                  </a:cubicBezTo>
                  <a:cubicBezTo>
                    <a:pt x="329" y="352"/>
                    <a:pt x="329" y="313"/>
                    <a:pt x="313" y="290"/>
                  </a:cubicBezTo>
                  <a:cubicBezTo>
                    <a:pt x="298" y="275"/>
                    <a:pt x="275" y="252"/>
                    <a:pt x="252" y="245"/>
                  </a:cubicBezTo>
                  <a:cubicBezTo>
                    <a:pt x="229" y="229"/>
                    <a:pt x="206" y="237"/>
                    <a:pt x="176" y="237"/>
                  </a:cubicBezTo>
                  <a:lnTo>
                    <a:pt x="176" y="237"/>
                  </a:lnTo>
                  <a:cubicBezTo>
                    <a:pt x="145" y="245"/>
                    <a:pt x="115" y="268"/>
                    <a:pt x="92" y="252"/>
                  </a:cubicBezTo>
                  <a:cubicBezTo>
                    <a:pt x="61" y="245"/>
                    <a:pt x="54" y="207"/>
                    <a:pt x="46" y="184"/>
                  </a:cubicBezTo>
                  <a:cubicBezTo>
                    <a:pt x="46" y="153"/>
                    <a:pt x="92" y="130"/>
                    <a:pt x="84" y="100"/>
                  </a:cubicBezTo>
                  <a:cubicBezTo>
                    <a:pt x="77" y="61"/>
                    <a:pt x="31" y="46"/>
                    <a:pt x="0" y="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67"/>
            <p:cNvSpPr>
              <a:spLocks noChangeArrowheads="1"/>
            </p:cNvSpPr>
            <p:nvPr/>
          </p:nvSpPr>
          <p:spPr bwMode="auto">
            <a:xfrm>
              <a:off x="7665539" y="7840663"/>
              <a:ext cx="563525" cy="671512"/>
            </a:xfrm>
            <a:custGeom>
              <a:avLst/>
              <a:gdLst>
                <a:gd name="T0" fmla="*/ 741 w 1567"/>
                <a:gd name="T1" fmla="*/ 168 h 1864"/>
                <a:gd name="T2" fmla="*/ 856 w 1567"/>
                <a:gd name="T3" fmla="*/ 46 h 1864"/>
                <a:gd name="T4" fmla="*/ 1054 w 1567"/>
                <a:gd name="T5" fmla="*/ 30 h 1864"/>
                <a:gd name="T6" fmla="*/ 1031 w 1567"/>
                <a:gd name="T7" fmla="*/ 145 h 1864"/>
                <a:gd name="T8" fmla="*/ 1123 w 1567"/>
                <a:gd name="T9" fmla="*/ 298 h 1864"/>
                <a:gd name="T10" fmla="*/ 1108 w 1567"/>
                <a:gd name="T11" fmla="*/ 504 h 1864"/>
                <a:gd name="T12" fmla="*/ 1276 w 1567"/>
                <a:gd name="T13" fmla="*/ 550 h 1864"/>
                <a:gd name="T14" fmla="*/ 1451 w 1567"/>
                <a:gd name="T15" fmla="*/ 695 h 1864"/>
                <a:gd name="T16" fmla="*/ 1474 w 1567"/>
                <a:gd name="T17" fmla="*/ 771 h 1864"/>
                <a:gd name="T18" fmla="*/ 1398 w 1567"/>
                <a:gd name="T19" fmla="*/ 886 h 1864"/>
                <a:gd name="T20" fmla="*/ 1451 w 1567"/>
                <a:gd name="T21" fmla="*/ 1016 h 1864"/>
                <a:gd name="T22" fmla="*/ 1551 w 1567"/>
                <a:gd name="T23" fmla="*/ 1100 h 1864"/>
                <a:gd name="T24" fmla="*/ 1444 w 1567"/>
                <a:gd name="T25" fmla="*/ 1184 h 1864"/>
                <a:gd name="T26" fmla="*/ 1337 w 1567"/>
                <a:gd name="T27" fmla="*/ 1123 h 1864"/>
                <a:gd name="T28" fmla="*/ 1367 w 1567"/>
                <a:gd name="T29" fmla="*/ 1252 h 1864"/>
                <a:gd name="T30" fmla="*/ 1543 w 1567"/>
                <a:gd name="T31" fmla="*/ 1252 h 1864"/>
                <a:gd name="T32" fmla="*/ 1459 w 1567"/>
                <a:gd name="T33" fmla="*/ 1413 h 1864"/>
                <a:gd name="T34" fmla="*/ 1398 w 1567"/>
                <a:gd name="T35" fmla="*/ 1581 h 1864"/>
                <a:gd name="T36" fmla="*/ 1413 w 1567"/>
                <a:gd name="T37" fmla="*/ 1711 h 1864"/>
                <a:gd name="T38" fmla="*/ 1367 w 1567"/>
                <a:gd name="T39" fmla="*/ 1749 h 1864"/>
                <a:gd name="T40" fmla="*/ 1192 w 1567"/>
                <a:gd name="T41" fmla="*/ 1634 h 1864"/>
                <a:gd name="T42" fmla="*/ 1092 w 1567"/>
                <a:gd name="T43" fmla="*/ 1680 h 1864"/>
                <a:gd name="T44" fmla="*/ 963 w 1567"/>
                <a:gd name="T45" fmla="*/ 1703 h 1864"/>
                <a:gd name="T46" fmla="*/ 917 w 1567"/>
                <a:gd name="T47" fmla="*/ 1863 h 1864"/>
                <a:gd name="T48" fmla="*/ 848 w 1567"/>
                <a:gd name="T49" fmla="*/ 1703 h 1864"/>
                <a:gd name="T50" fmla="*/ 634 w 1567"/>
                <a:gd name="T51" fmla="*/ 1780 h 1864"/>
                <a:gd name="T52" fmla="*/ 581 w 1567"/>
                <a:gd name="T53" fmla="*/ 1680 h 1864"/>
                <a:gd name="T54" fmla="*/ 443 w 1567"/>
                <a:gd name="T55" fmla="*/ 1489 h 1864"/>
                <a:gd name="T56" fmla="*/ 413 w 1567"/>
                <a:gd name="T57" fmla="*/ 1398 h 1864"/>
                <a:gd name="T58" fmla="*/ 336 w 1567"/>
                <a:gd name="T59" fmla="*/ 1298 h 1864"/>
                <a:gd name="T60" fmla="*/ 252 w 1567"/>
                <a:gd name="T61" fmla="*/ 1252 h 1864"/>
                <a:gd name="T62" fmla="*/ 153 w 1567"/>
                <a:gd name="T63" fmla="*/ 1123 h 1864"/>
                <a:gd name="T64" fmla="*/ 61 w 1567"/>
                <a:gd name="T65" fmla="*/ 1062 h 1864"/>
                <a:gd name="T66" fmla="*/ 99 w 1567"/>
                <a:gd name="T67" fmla="*/ 848 h 1864"/>
                <a:gd name="T68" fmla="*/ 245 w 1567"/>
                <a:gd name="T69" fmla="*/ 580 h 1864"/>
                <a:gd name="T70" fmla="*/ 115 w 1567"/>
                <a:gd name="T71" fmla="*/ 374 h 1864"/>
                <a:gd name="T72" fmla="*/ 191 w 1567"/>
                <a:gd name="T73" fmla="*/ 382 h 1864"/>
                <a:gd name="T74" fmla="*/ 291 w 1567"/>
                <a:gd name="T75" fmla="*/ 504 h 1864"/>
                <a:gd name="T76" fmla="*/ 367 w 1567"/>
                <a:gd name="T77" fmla="*/ 512 h 1864"/>
                <a:gd name="T78" fmla="*/ 504 w 1567"/>
                <a:gd name="T79" fmla="*/ 420 h 1864"/>
                <a:gd name="T80" fmla="*/ 741 w 1567"/>
                <a:gd name="T81" fmla="*/ 252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67" h="1864">
                  <a:moveTo>
                    <a:pt x="741" y="168"/>
                  </a:moveTo>
                  <a:lnTo>
                    <a:pt x="741" y="168"/>
                  </a:lnTo>
                  <a:cubicBezTo>
                    <a:pt x="772" y="160"/>
                    <a:pt x="817" y="168"/>
                    <a:pt x="840" y="145"/>
                  </a:cubicBezTo>
                  <a:cubicBezTo>
                    <a:pt x="863" y="122"/>
                    <a:pt x="840" y="76"/>
                    <a:pt x="856" y="46"/>
                  </a:cubicBezTo>
                  <a:cubicBezTo>
                    <a:pt x="871" y="23"/>
                    <a:pt x="902" y="0"/>
                    <a:pt x="932" y="0"/>
                  </a:cubicBezTo>
                  <a:cubicBezTo>
                    <a:pt x="978" y="0"/>
                    <a:pt x="1016" y="23"/>
                    <a:pt x="1054" y="30"/>
                  </a:cubicBezTo>
                  <a:lnTo>
                    <a:pt x="1054" y="30"/>
                  </a:lnTo>
                  <a:cubicBezTo>
                    <a:pt x="1046" y="69"/>
                    <a:pt x="1024" y="107"/>
                    <a:pt x="1031" y="145"/>
                  </a:cubicBezTo>
                  <a:cubicBezTo>
                    <a:pt x="1039" y="183"/>
                    <a:pt x="1062" y="214"/>
                    <a:pt x="1077" y="244"/>
                  </a:cubicBezTo>
                  <a:cubicBezTo>
                    <a:pt x="1092" y="267"/>
                    <a:pt x="1115" y="275"/>
                    <a:pt x="1123" y="298"/>
                  </a:cubicBezTo>
                  <a:cubicBezTo>
                    <a:pt x="1123" y="328"/>
                    <a:pt x="1100" y="351"/>
                    <a:pt x="1100" y="382"/>
                  </a:cubicBezTo>
                  <a:cubicBezTo>
                    <a:pt x="1100" y="420"/>
                    <a:pt x="1092" y="466"/>
                    <a:pt x="1108" y="504"/>
                  </a:cubicBezTo>
                  <a:cubicBezTo>
                    <a:pt x="1115" y="527"/>
                    <a:pt x="1131" y="558"/>
                    <a:pt x="1154" y="565"/>
                  </a:cubicBezTo>
                  <a:cubicBezTo>
                    <a:pt x="1192" y="573"/>
                    <a:pt x="1238" y="542"/>
                    <a:pt x="1276" y="550"/>
                  </a:cubicBezTo>
                  <a:cubicBezTo>
                    <a:pt x="1321" y="558"/>
                    <a:pt x="1360" y="588"/>
                    <a:pt x="1398" y="611"/>
                  </a:cubicBezTo>
                  <a:cubicBezTo>
                    <a:pt x="1421" y="634"/>
                    <a:pt x="1436" y="664"/>
                    <a:pt x="1451" y="695"/>
                  </a:cubicBezTo>
                  <a:cubicBezTo>
                    <a:pt x="1459" y="718"/>
                    <a:pt x="1467" y="748"/>
                    <a:pt x="1474" y="771"/>
                  </a:cubicBezTo>
                  <a:lnTo>
                    <a:pt x="1474" y="771"/>
                  </a:lnTo>
                  <a:cubicBezTo>
                    <a:pt x="1444" y="794"/>
                    <a:pt x="1406" y="802"/>
                    <a:pt x="1383" y="825"/>
                  </a:cubicBezTo>
                  <a:cubicBezTo>
                    <a:pt x="1367" y="840"/>
                    <a:pt x="1383" y="871"/>
                    <a:pt x="1398" y="886"/>
                  </a:cubicBezTo>
                  <a:cubicBezTo>
                    <a:pt x="1413" y="909"/>
                    <a:pt x="1451" y="924"/>
                    <a:pt x="1459" y="955"/>
                  </a:cubicBezTo>
                  <a:cubicBezTo>
                    <a:pt x="1467" y="970"/>
                    <a:pt x="1444" y="1000"/>
                    <a:pt x="1451" y="1016"/>
                  </a:cubicBezTo>
                  <a:cubicBezTo>
                    <a:pt x="1459" y="1031"/>
                    <a:pt x="1482" y="1023"/>
                    <a:pt x="1497" y="1039"/>
                  </a:cubicBezTo>
                  <a:cubicBezTo>
                    <a:pt x="1520" y="1054"/>
                    <a:pt x="1535" y="1077"/>
                    <a:pt x="1551" y="1100"/>
                  </a:cubicBezTo>
                  <a:cubicBezTo>
                    <a:pt x="1551" y="1115"/>
                    <a:pt x="1558" y="1138"/>
                    <a:pt x="1551" y="1146"/>
                  </a:cubicBezTo>
                  <a:cubicBezTo>
                    <a:pt x="1520" y="1169"/>
                    <a:pt x="1482" y="1191"/>
                    <a:pt x="1444" y="1184"/>
                  </a:cubicBezTo>
                  <a:cubicBezTo>
                    <a:pt x="1406" y="1169"/>
                    <a:pt x="1390" y="1115"/>
                    <a:pt x="1344" y="1092"/>
                  </a:cubicBezTo>
                  <a:cubicBezTo>
                    <a:pt x="1337" y="1084"/>
                    <a:pt x="1337" y="1115"/>
                    <a:pt x="1337" y="1123"/>
                  </a:cubicBezTo>
                  <a:cubicBezTo>
                    <a:pt x="1329" y="1146"/>
                    <a:pt x="1314" y="1169"/>
                    <a:pt x="1314" y="1191"/>
                  </a:cubicBezTo>
                  <a:cubicBezTo>
                    <a:pt x="1321" y="1222"/>
                    <a:pt x="1344" y="1245"/>
                    <a:pt x="1367" y="1252"/>
                  </a:cubicBezTo>
                  <a:cubicBezTo>
                    <a:pt x="1406" y="1260"/>
                    <a:pt x="1436" y="1214"/>
                    <a:pt x="1467" y="1214"/>
                  </a:cubicBezTo>
                  <a:cubicBezTo>
                    <a:pt x="1497" y="1214"/>
                    <a:pt x="1528" y="1230"/>
                    <a:pt x="1543" y="1252"/>
                  </a:cubicBezTo>
                  <a:cubicBezTo>
                    <a:pt x="1558" y="1306"/>
                    <a:pt x="1566" y="1367"/>
                    <a:pt x="1543" y="1413"/>
                  </a:cubicBezTo>
                  <a:cubicBezTo>
                    <a:pt x="1528" y="1436"/>
                    <a:pt x="1482" y="1398"/>
                    <a:pt x="1459" y="1413"/>
                  </a:cubicBezTo>
                  <a:cubicBezTo>
                    <a:pt x="1436" y="1428"/>
                    <a:pt x="1436" y="1459"/>
                    <a:pt x="1429" y="1489"/>
                  </a:cubicBezTo>
                  <a:cubicBezTo>
                    <a:pt x="1413" y="1520"/>
                    <a:pt x="1406" y="1550"/>
                    <a:pt x="1398" y="1581"/>
                  </a:cubicBezTo>
                  <a:cubicBezTo>
                    <a:pt x="1398" y="1627"/>
                    <a:pt x="1406" y="1665"/>
                    <a:pt x="1413" y="1711"/>
                  </a:cubicBezTo>
                  <a:lnTo>
                    <a:pt x="1413" y="1711"/>
                  </a:lnTo>
                  <a:cubicBezTo>
                    <a:pt x="1413" y="1726"/>
                    <a:pt x="1413" y="1741"/>
                    <a:pt x="1406" y="1749"/>
                  </a:cubicBezTo>
                  <a:cubicBezTo>
                    <a:pt x="1398" y="1757"/>
                    <a:pt x="1375" y="1757"/>
                    <a:pt x="1367" y="1749"/>
                  </a:cubicBezTo>
                  <a:cubicBezTo>
                    <a:pt x="1321" y="1703"/>
                    <a:pt x="1291" y="1642"/>
                    <a:pt x="1238" y="1611"/>
                  </a:cubicBezTo>
                  <a:cubicBezTo>
                    <a:pt x="1222" y="1596"/>
                    <a:pt x="1207" y="1634"/>
                    <a:pt x="1192" y="1634"/>
                  </a:cubicBezTo>
                  <a:cubicBezTo>
                    <a:pt x="1161" y="1627"/>
                    <a:pt x="1146" y="1573"/>
                    <a:pt x="1123" y="1589"/>
                  </a:cubicBezTo>
                  <a:cubicBezTo>
                    <a:pt x="1092" y="1604"/>
                    <a:pt x="1108" y="1650"/>
                    <a:pt x="1092" y="1680"/>
                  </a:cubicBezTo>
                  <a:cubicBezTo>
                    <a:pt x="1077" y="1696"/>
                    <a:pt x="1054" y="1703"/>
                    <a:pt x="1031" y="1711"/>
                  </a:cubicBezTo>
                  <a:cubicBezTo>
                    <a:pt x="1008" y="1711"/>
                    <a:pt x="978" y="1680"/>
                    <a:pt x="963" y="1703"/>
                  </a:cubicBezTo>
                  <a:cubicBezTo>
                    <a:pt x="924" y="1749"/>
                    <a:pt x="932" y="1810"/>
                    <a:pt x="917" y="1863"/>
                  </a:cubicBezTo>
                  <a:lnTo>
                    <a:pt x="917" y="1863"/>
                  </a:lnTo>
                  <a:cubicBezTo>
                    <a:pt x="886" y="1841"/>
                    <a:pt x="840" y="1833"/>
                    <a:pt x="825" y="1802"/>
                  </a:cubicBezTo>
                  <a:cubicBezTo>
                    <a:pt x="817" y="1772"/>
                    <a:pt x="871" y="1726"/>
                    <a:pt x="848" y="1703"/>
                  </a:cubicBezTo>
                  <a:cubicBezTo>
                    <a:pt x="825" y="1673"/>
                    <a:pt x="772" y="1665"/>
                    <a:pt x="733" y="1680"/>
                  </a:cubicBezTo>
                  <a:cubicBezTo>
                    <a:pt x="695" y="1696"/>
                    <a:pt x="688" y="1780"/>
                    <a:pt x="634" y="1780"/>
                  </a:cubicBezTo>
                  <a:cubicBezTo>
                    <a:pt x="604" y="1780"/>
                    <a:pt x="604" y="1711"/>
                    <a:pt x="581" y="1680"/>
                  </a:cubicBezTo>
                  <a:lnTo>
                    <a:pt x="581" y="1680"/>
                  </a:lnTo>
                  <a:cubicBezTo>
                    <a:pt x="581" y="1619"/>
                    <a:pt x="611" y="1543"/>
                    <a:pt x="573" y="1489"/>
                  </a:cubicBezTo>
                  <a:cubicBezTo>
                    <a:pt x="550" y="1451"/>
                    <a:pt x="481" y="1505"/>
                    <a:pt x="443" y="1489"/>
                  </a:cubicBezTo>
                  <a:cubicBezTo>
                    <a:pt x="428" y="1482"/>
                    <a:pt x="466" y="1451"/>
                    <a:pt x="466" y="1436"/>
                  </a:cubicBezTo>
                  <a:cubicBezTo>
                    <a:pt x="458" y="1413"/>
                    <a:pt x="420" y="1413"/>
                    <a:pt x="413" y="1398"/>
                  </a:cubicBezTo>
                  <a:cubicBezTo>
                    <a:pt x="397" y="1375"/>
                    <a:pt x="405" y="1352"/>
                    <a:pt x="390" y="1329"/>
                  </a:cubicBezTo>
                  <a:cubicBezTo>
                    <a:pt x="374" y="1314"/>
                    <a:pt x="344" y="1321"/>
                    <a:pt x="336" y="1298"/>
                  </a:cubicBezTo>
                  <a:cubicBezTo>
                    <a:pt x="329" y="1283"/>
                    <a:pt x="367" y="1245"/>
                    <a:pt x="344" y="1230"/>
                  </a:cubicBezTo>
                  <a:cubicBezTo>
                    <a:pt x="313" y="1214"/>
                    <a:pt x="275" y="1275"/>
                    <a:pt x="252" y="1252"/>
                  </a:cubicBezTo>
                  <a:cubicBezTo>
                    <a:pt x="214" y="1230"/>
                    <a:pt x="237" y="1169"/>
                    <a:pt x="206" y="1130"/>
                  </a:cubicBezTo>
                  <a:cubicBezTo>
                    <a:pt x="199" y="1115"/>
                    <a:pt x="168" y="1130"/>
                    <a:pt x="153" y="1123"/>
                  </a:cubicBezTo>
                  <a:cubicBezTo>
                    <a:pt x="122" y="1107"/>
                    <a:pt x="92" y="1077"/>
                    <a:pt x="61" y="1062"/>
                  </a:cubicBezTo>
                  <a:lnTo>
                    <a:pt x="61" y="1062"/>
                  </a:lnTo>
                  <a:cubicBezTo>
                    <a:pt x="46" y="1008"/>
                    <a:pt x="0" y="955"/>
                    <a:pt x="16" y="901"/>
                  </a:cubicBezTo>
                  <a:cubicBezTo>
                    <a:pt x="16" y="871"/>
                    <a:pt x="77" y="871"/>
                    <a:pt x="99" y="848"/>
                  </a:cubicBezTo>
                  <a:cubicBezTo>
                    <a:pt x="145" y="810"/>
                    <a:pt x="206" y="779"/>
                    <a:pt x="229" y="733"/>
                  </a:cubicBezTo>
                  <a:cubicBezTo>
                    <a:pt x="252" y="687"/>
                    <a:pt x="260" y="634"/>
                    <a:pt x="245" y="580"/>
                  </a:cubicBezTo>
                  <a:cubicBezTo>
                    <a:pt x="237" y="550"/>
                    <a:pt x="191" y="542"/>
                    <a:pt x="168" y="512"/>
                  </a:cubicBezTo>
                  <a:cubicBezTo>
                    <a:pt x="145" y="473"/>
                    <a:pt x="138" y="420"/>
                    <a:pt x="115" y="374"/>
                  </a:cubicBezTo>
                  <a:lnTo>
                    <a:pt x="115" y="374"/>
                  </a:lnTo>
                  <a:cubicBezTo>
                    <a:pt x="145" y="374"/>
                    <a:pt x="168" y="366"/>
                    <a:pt x="191" y="382"/>
                  </a:cubicBezTo>
                  <a:cubicBezTo>
                    <a:pt x="214" y="389"/>
                    <a:pt x="237" y="412"/>
                    <a:pt x="252" y="427"/>
                  </a:cubicBezTo>
                  <a:cubicBezTo>
                    <a:pt x="268" y="450"/>
                    <a:pt x="268" y="489"/>
                    <a:pt x="291" y="504"/>
                  </a:cubicBezTo>
                  <a:cubicBezTo>
                    <a:pt x="313" y="512"/>
                    <a:pt x="336" y="481"/>
                    <a:pt x="359" y="481"/>
                  </a:cubicBezTo>
                  <a:cubicBezTo>
                    <a:pt x="374" y="489"/>
                    <a:pt x="359" y="512"/>
                    <a:pt x="367" y="512"/>
                  </a:cubicBezTo>
                  <a:cubicBezTo>
                    <a:pt x="413" y="519"/>
                    <a:pt x="458" y="519"/>
                    <a:pt x="489" y="496"/>
                  </a:cubicBezTo>
                  <a:cubicBezTo>
                    <a:pt x="512" y="481"/>
                    <a:pt x="481" y="427"/>
                    <a:pt x="504" y="420"/>
                  </a:cubicBezTo>
                  <a:cubicBezTo>
                    <a:pt x="588" y="382"/>
                    <a:pt x="688" y="405"/>
                    <a:pt x="764" y="359"/>
                  </a:cubicBezTo>
                  <a:cubicBezTo>
                    <a:pt x="787" y="336"/>
                    <a:pt x="749" y="283"/>
                    <a:pt x="741" y="252"/>
                  </a:cubicBezTo>
                  <a:cubicBezTo>
                    <a:pt x="741" y="221"/>
                    <a:pt x="741" y="198"/>
                    <a:pt x="741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68"/>
            <p:cNvSpPr>
              <a:spLocks noChangeArrowheads="1"/>
            </p:cNvSpPr>
            <p:nvPr/>
          </p:nvSpPr>
          <p:spPr bwMode="auto">
            <a:xfrm>
              <a:off x="8033815" y="7631113"/>
              <a:ext cx="920690" cy="554037"/>
            </a:xfrm>
            <a:custGeom>
              <a:avLst/>
              <a:gdLst>
                <a:gd name="T0" fmla="*/ 214 w 2559"/>
                <a:gd name="T1" fmla="*/ 413 h 1537"/>
                <a:gd name="T2" fmla="*/ 214 w 2559"/>
                <a:gd name="T3" fmla="*/ 413 h 1537"/>
                <a:gd name="T4" fmla="*/ 183 w 2559"/>
                <a:gd name="T5" fmla="*/ 481 h 1537"/>
                <a:gd name="T6" fmla="*/ 206 w 2559"/>
                <a:gd name="T7" fmla="*/ 527 h 1537"/>
                <a:gd name="T8" fmla="*/ 122 w 2559"/>
                <a:gd name="T9" fmla="*/ 581 h 1537"/>
                <a:gd name="T10" fmla="*/ 30 w 2559"/>
                <a:gd name="T11" fmla="*/ 611 h 1537"/>
                <a:gd name="T12" fmla="*/ 30 w 2559"/>
                <a:gd name="T13" fmla="*/ 611 h 1537"/>
                <a:gd name="T14" fmla="*/ 7 w 2559"/>
                <a:gd name="T15" fmla="*/ 726 h 1537"/>
                <a:gd name="T16" fmla="*/ 53 w 2559"/>
                <a:gd name="T17" fmla="*/ 825 h 1537"/>
                <a:gd name="T18" fmla="*/ 99 w 2559"/>
                <a:gd name="T19" fmla="*/ 879 h 1537"/>
                <a:gd name="T20" fmla="*/ 76 w 2559"/>
                <a:gd name="T21" fmla="*/ 963 h 1537"/>
                <a:gd name="T22" fmla="*/ 84 w 2559"/>
                <a:gd name="T23" fmla="*/ 1085 h 1537"/>
                <a:gd name="T24" fmla="*/ 130 w 2559"/>
                <a:gd name="T25" fmla="*/ 1146 h 1537"/>
                <a:gd name="T26" fmla="*/ 252 w 2559"/>
                <a:gd name="T27" fmla="*/ 1131 h 1537"/>
                <a:gd name="T28" fmla="*/ 374 w 2559"/>
                <a:gd name="T29" fmla="*/ 1192 h 1537"/>
                <a:gd name="T30" fmla="*/ 427 w 2559"/>
                <a:gd name="T31" fmla="*/ 1276 h 1537"/>
                <a:gd name="T32" fmla="*/ 450 w 2559"/>
                <a:gd name="T33" fmla="*/ 1352 h 1537"/>
                <a:gd name="T34" fmla="*/ 450 w 2559"/>
                <a:gd name="T35" fmla="*/ 1360 h 1537"/>
                <a:gd name="T36" fmla="*/ 588 w 2559"/>
                <a:gd name="T37" fmla="*/ 1314 h 1537"/>
                <a:gd name="T38" fmla="*/ 779 w 2559"/>
                <a:gd name="T39" fmla="*/ 1283 h 1537"/>
                <a:gd name="T40" fmla="*/ 863 w 2559"/>
                <a:gd name="T41" fmla="*/ 1322 h 1537"/>
                <a:gd name="T42" fmla="*/ 825 w 2559"/>
                <a:gd name="T43" fmla="*/ 1436 h 1537"/>
                <a:gd name="T44" fmla="*/ 939 w 2559"/>
                <a:gd name="T45" fmla="*/ 1459 h 1537"/>
                <a:gd name="T46" fmla="*/ 1153 w 2559"/>
                <a:gd name="T47" fmla="*/ 1459 h 1537"/>
                <a:gd name="T48" fmla="*/ 1321 w 2559"/>
                <a:gd name="T49" fmla="*/ 1490 h 1537"/>
                <a:gd name="T50" fmla="*/ 1436 w 2559"/>
                <a:gd name="T51" fmla="*/ 1513 h 1537"/>
                <a:gd name="T52" fmla="*/ 1665 w 2559"/>
                <a:gd name="T53" fmla="*/ 1528 h 1537"/>
                <a:gd name="T54" fmla="*/ 1741 w 2559"/>
                <a:gd name="T55" fmla="*/ 1475 h 1537"/>
                <a:gd name="T56" fmla="*/ 1840 w 2559"/>
                <a:gd name="T57" fmla="*/ 1413 h 1537"/>
                <a:gd name="T58" fmla="*/ 1917 w 2559"/>
                <a:gd name="T59" fmla="*/ 1314 h 1537"/>
                <a:gd name="T60" fmla="*/ 1970 w 2559"/>
                <a:gd name="T61" fmla="*/ 1245 h 1537"/>
                <a:gd name="T62" fmla="*/ 2131 w 2559"/>
                <a:gd name="T63" fmla="*/ 1261 h 1537"/>
                <a:gd name="T64" fmla="*/ 2314 w 2559"/>
                <a:gd name="T65" fmla="*/ 1253 h 1537"/>
                <a:gd name="T66" fmla="*/ 2383 w 2559"/>
                <a:gd name="T67" fmla="*/ 1154 h 1537"/>
                <a:gd name="T68" fmla="*/ 2352 w 2559"/>
                <a:gd name="T69" fmla="*/ 1100 h 1537"/>
                <a:gd name="T70" fmla="*/ 2406 w 2559"/>
                <a:gd name="T71" fmla="*/ 1024 h 1537"/>
                <a:gd name="T72" fmla="*/ 2558 w 2559"/>
                <a:gd name="T73" fmla="*/ 1016 h 1537"/>
                <a:gd name="T74" fmla="*/ 2558 w 2559"/>
                <a:gd name="T75" fmla="*/ 1016 h 1537"/>
                <a:gd name="T76" fmla="*/ 2513 w 2559"/>
                <a:gd name="T77" fmla="*/ 802 h 1537"/>
                <a:gd name="T78" fmla="*/ 2497 w 2559"/>
                <a:gd name="T79" fmla="*/ 711 h 1537"/>
                <a:gd name="T80" fmla="*/ 2444 w 2559"/>
                <a:gd name="T81" fmla="*/ 596 h 1537"/>
                <a:gd name="T82" fmla="*/ 2047 w 2559"/>
                <a:gd name="T83" fmla="*/ 222 h 1537"/>
                <a:gd name="T84" fmla="*/ 1543 w 2559"/>
                <a:gd name="T85" fmla="*/ 69 h 1537"/>
                <a:gd name="T86" fmla="*/ 1199 w 2559"/>
                <a:gd name="T87" fmla="*/ 31 h 1537"/>
                <a:gd name="T88" fmla="*/ 962 w 2559"/>
                <a:gd name="T89" fmla="*/ 16 h 1537"/>
                <a:gd name="T90" fmla="*/ 710 w 2559"/>
                <a:gd name="T91" fmla="*/ 16 h 1537"/>
                <a:gd name="T92" fmla="*/ 519 w 2559"/>
                <a:gd name="T93" fmla="*/ 336 h 1537"/>
                <a:gd name="T94" fmla="*/ 397 w 2559"/>
                <a:gd name="T95" fmla="*/ 474 h 1537"/>
                <a:gd name="T96" fmla="*/ 214 w 2559"/>
                <a:gd name="T97" fmla="*/ 413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59" h="1537">
                  <a:moveTo>
                    <a:pt x="214" y="413"/>
                  </a:moveTo>
                  <a:lnTo>
                    <a:pt x="214" y="413"/>
                  </a:lnTo>
                  <a:cubicBezTo>
                    <a:pt x="206" y="436"/>
                    <a:pt x="183" y="459"/>
                    <a:pt x="183" y="481"/>
                  </a:cubicBezTo>
                  <a:cubicBezTo>
                    <a:pt x="183" y="497"/>
                    <a:pt x="214" y="512"/>
                    <a:pt x="206" y="527"/>
                  </a:cubicBezTo>
                  <a:cubicBezTo>
                    <a:pt x="191" y="558"/>
                    <a:pt x="153" y="566"/>
                    <a:pt x="122" y="581"/>
                  </a:cubicBezTo>
                  <a:cubicBezTo>
                    <a:pt x="91" y="596"/>
                    <a:pt x="61" y="596"/>
                    <a:pt x="30" y="611"/>
                  </a:cubicBezTo>
                  <a:lnTo>
                    <a:pt x="30" y="611"/>
                  </a:lnTo>
                  <a:cubicBezTo>
                    <a:pt x="22" y="650"/>
                    <a:pt x="0" y="688"/>
                    <a:pt x="7" y="726"/>
                  </a:cubicBezTo>
                  <a:cubicBezTo>
                    <a:pt x="15" y="764"/>
                    <a:pt x="38" y="795"/>
                    <a:pt x="53" y="825"/>
                  </a:cubicBezTo>
                  <a:cubicBezTo>
                    <a:pt x="68" y="848"/>
                    <a:pt x="91" y="856"/>
                    <a:pt x="99" y="879"/>
                  </a:cubicBezTo>
                  <a:cubicBezTo>
                    <a:pt x="99" y="909"/>
                    <a:pt x="76" y="932"/>
                    <a:pt x="76" y="963"/>
                  </a:cubicBezTo>
                  <a:cubicBezTo>
                    <a:pt x="76" y="1001"/>
                    <a:pt x="68" y="1047"/>
                    <a:pt x="84" y="1085"/>
                  </a:cubicBezTo>
                  <a:cubicBezTo>
                    <a:pt x="91" y="1108"/>
                    <a:pt x="107" y="1139"/>
                    <a:pt x="130" y="1146"/>
                  </a:cubicBezTo>
                  <a:cubicBezTo>
                    <a:pt x="168" y="1154"/>
                    <a:pt x="214" y="1123"/>
                    <a:pt x="252" y="1131"/>
                  </a:cubicBezTo>
                  <a:cubicBezTo>
                    <a:pt x="297" y="1139"/>
                    <a:pt x="336" y="1169"/>
                    <a:pt x="374" y="1192"/>
                  </a:cubicBezTo>
                  <a:cubicBezTo>
                    <a:pt x="397" y="1215"/>
                    <a:pt x="412" y="1245"/>
                    <a:pt x="427" y="1276"/>
                  </a:cubicBezTo>
                  <a:cubicBezTo>
                    <a:pt x="435" y="1299"/>
                    <a:pt x="443" y="1329"/>
                    <a:pt x="450" y="1352"/>
                  </a:cubicBezTo>
                  <a:cubicBezTo>
                    <a:pt x="450" y="1360"/>
                    <a:pt x="450" y="1360"/>
                    <a:pt x="450" y="1360"/>
                  </a:cubicBezTo>
                  <a:cubicBezTo>
                    <a:pt x="496" y="1345"/>
                    <a:pt x="542" y="1322"/>
                    <a:pt x="588" y="1314"/>
                  </a:cubicBezTo>
                  <a:cubicBezTo>
                    <a:pt x="649" y="1299"/>
                    <a:pt x="718" y="1283"/>
                    <a:pt x="779" y="1283"/>
                  </a:cubicBezTo>
                  <a:cubicBezTo>
                    <a:pt x="809" y="1283"/>
                    <a:pt x="855" y="1291"/>
                    <a:pt x="863" y="1322"/>
                  </a:cubicBezTo>
                  <a:cubicBezTo>
                    <a:pt x="870" y="1360"/>
                    <a:pt x="802" y="1398"/>
                    <a:pt x="825" y="1436"/>
                  </a:cubicBezTo>
                  <a:cubicBezTo>
                    <a:pt x="840" y="1475"/>
                    <a:pt x="901" y="1459"/>
                    <a:pt x="939" y="1459"/>
                  </a:cubicBezTo>
                  <a:cubicBezTo>
                    <a:pt x="1008" y="1467"/>
                    <a:pt x="1084" y="1452"/>
                    <a:pt x="1153" y="1459"/>
                  </a:cubicBezTo>
                  <a:cubicBezTo>
                    <a:pt x="1206" y="1459"/>
                    <a:pt x="1268" y="1482"/>
                    <a:pt x="1321" y="1490"/>
                  </a:cubicBezTo>
                  <a:cubicBezTo>
                    <a:pt x="1359" y="1497"/>
                    <a:pt x="1397" y="1505"/>
                    <a:pt x="1436" y="1513"/>
                  </a:cubicBezTo>
                  <a:cubicBezTo>
                    <a:pt x="1512" y="1520"/>
                    <a:pt x="1588" y="1536"/>
                    <a:pt x="1665" y="1528"/>
                  </a:cubicBezTo>
                  <a:cubicBezTo>
                    <a:pt x="1695" y="1528"/>
                    <a:pt x="1718" y="1490"/>
                    <a:pt x="1741" y="1475"/>
                  </a:cubicBezTo>
                  <a:cubicBezTo>
                    <a:pt x="1779" y="1452"/>
                    <a:pt x="1810" y="1436"/>
                    <a:pt x="1840" y="1413"/>
                  </a:cubicBezTo>
                  <a:cubicBezTo>
                    <a:pt x="1871" y="1383"/>
                    <a:pt x="1894" y="1345"/>
                    <a:pt x="1917" y="1314"/>
                  </a:cubicBezTo>
                  <a:cubicBezTo>
                    <a:pt x="1932" y="1291"/>
                    <a:pt x="1940" y="1253"/>
                    <a:pt x="1970" y="1245"/>
                  </a:cubicBezTo>
                  <a:cubicBezTo>
                    <a:pt x="2024" y="1238"/>
                    <a:pt x="2077" y="1261"/>
                    <a:pt x="2131" y="1261"/>
                  </a:cubicBezTo>
                  <a:cubicBezTo>
                    <a:pt x="2192" y="1261"/>
                    <a:pt x="2253" y="1276"/>
                    <a:pt x="2314" y="1253"/>
                  </a:cubicBezTo>
                  <a:cubicBezTo>
                    <a:pt x="2344" y="1238"/>
                    <a:pt x="2375" y="1192"/>
                    <a:pt x="2383" y="1154"/>
                  </a:cubicBezTo>
                  <a:cubicBezTo>
                    <a:pt x="2390" y="1139"/>
                    <a:pt x="2352" y="1123"/>
                    <a:pt x="2352" y="1100"/>
                  </a:cubicBezTo>
                  <a:cubicBezTo>
                    <a:pt x="2360" y="1070"/>
                    <a:pt x="2375" y="1039"/>
                    <a:pt x="2406" y="1024"/>
                  </a:cubicBezTo>
                  <a:cubicBezTo>
                    <a:pt x="2452" y="1008"/>
                    <a:pt x="2513" y="1016"/>
                    <a:pt x="2558" y="1016"/>
                  </a:cubicBezTo>
                  <a:lnTo>
                    <a:pt x="2558" y="1016"/>
                  </a:lnTo>
                  <a:cubicBezTo>
                    <a:pt x="2558" y="940"/>
                    <a:pt x="2558" y="879"/>
                    <a:pt x="2513" y="802"/>
                  </a:cubicBezTo>
                  <a:cubicBezTo>
                    <a:pt x="2497" y="772"/>
                    <a:pt x="2505" y="741"/>
                    <a:pt x="2497" y="711"/>
                  </a:cubicBezTo>
                  <a:cubicBezTo>
                    <a:pt x="2482" y="657"/>
                    <a:pt x="2467" y="634"/>
                    <a:pt x="2444" y="596"/>
                  </a:cubicBezTo>
                  <a:cubicBezTo>
                    <a:pt x="2352" y="459"/>
                    <a:pt x="2177" y="336"/>
                    <a:pt x="2047" y="222"/>
                  </a:cubicBezTo>
                  <a:cubicBezTo>
                    <a:pt x="1909" y="92"/>
                    <a:pt x="1711" y="138"/>
                    <a:pt x="1543" y="69"/>
                  </a:cubicBezTo>
                  <a:cubicBezTo>
                    <a:pt x="1443" y="31"/>
                    <a:pt x="1283" y="84"/>
                    <a:pt x="1199" y="31"/>
                  </a:cubicBezTo>
                  <a:cubicBezTo>
                    <a:pt x="1115" y="0"/>
                    <a:pt x="1054" y="0"/>
                    <a:pt x="962" y="16"/>
                  </a:cubicBezTo>
                  <a:cubicBezTo>
                    <a:pt x="886" y="23"/>
                    <a:pt x="794" y="0"/>
                    <a:pt x="710" y="16"/>
                  </a:cubicBezTo>
                  <a:cubicBezTo>
                    <a:pt x="557" y="39"/>
                    <a:pt x="534" y="207"/>
                    <a:pt x="519" y="336"/>
                  </a:cubicBezTo>
                  <a:cubicBezTo>
                    <a:pt x="511" y="375"/>
                    <a:pt x="412" y="405"/>
                    <a:pt x="397" y="474"/>
                  </a:cubicBezTo>
                  <a:cubicBezTo>
                    <a:pt x="366" y="474"/>
                    <a:pt x="275" y="443"/>
                    <a:pt x="214" y="4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" name="Freeform 69"/>
            <p:cNvSpPr>
              <a:spLocks noChangeArrowheads="1"/>
            </p:cNvSpPr>
            <p:nvPr/>
          </p:nvSpPr>
          <p:spPr bwMode="auto">
            <a:xfrm>
              <a:off x="8138583" y="7994650"/>
              <a:ext cx="825446" cy="622300"/>
            </a:xfrm>
            <a:custGeom>
              <a:avLst/>
              <a:gdLst>
                <a:gd name="T0" fmla="*/ 99 w 2292"/>
                <a:gd name="T1" fmla="*/ 1284 h 1728"/>
                <a:gd name="T2" fmla="*/ 99 w 2292"/>
                <a:gd name="T3" fmla="*/ 1284 h 1728"/>
                <a:gd name="T4" fmla="*/ 84 w 2292"/>
                <a:gd name="T5" fmla="*/ 1154 h 1728"/>
                <a:gd name="T6" fmla="*/ 115 w 2292"/>
                <a:gd name="T7" fmla="*/ 1062 h 1728"/>
                <a:gd name="T8" fmla="*/ 145 w 2292"/>
                <a:gd name="T9" fmla="*/ 986 h 1728"/>
                <a:gd name="T10" fmla="*/ 229 w 2292"/>
                <a:gd name="T11" fmla="*/ 986 h 1728"/>
                <a:gd name="T12" fmla="*/ 229 w 2292"/>
                <a:gd name="T13" fmla="*/ 825 h 1728"/>
                <a:gd name="T14" fmla="*/ 153 w 2292"/>
                <a:gd name="T15" fmla="*/ 787 h 1728"/>
                <a:gd name="T16" fmla="*/ 53 w 2292"/>
                <a:gd name="T17" fmla="*/ 825 h 1728"/>
                <a:gd name="T18" fmla="*/ 0 w 2292"/>
                <a:gd name="T19" fmla="*/ 764 h 1728"/>
                <a:gd name="T20" fmla="*/ 23 w 2292"/>
                <a:gd name="T21" fmla="*/ 696 h 1728"/>
                <a:gd name="T22" fmla="*/ 30 w 2292"/>
                <a:gd name="T23" fmla="*/ 665 h 1728"/>
                <a:gd name="T24" fmla="*/ 130 w 2292"/>
                <a:gd name="T25" fmla="*/ 757 h 1728"/>
                <a:gd name="T26" fmla="*/ 237 w 2292"/>
                <a:gd name="T27" fmla="*/ 719 h 1728"/>
                <a:gd name="T28" fmla="*/ 237 w 2292"/>
                <a:gd name="T29" fmla="*/ 673 h 1728"/>
                <a:gd name="T30" fmla="*/ 183 w 2292"/>
                <a:gd name="T31" fmla="*/ 612 h 1728"/>
                <a:gd name="T32" fmla="*/ 137 w 2292"/>
                <a:gd name="T33" fmla="*/ 589 h 1728"/>
                <a:gd name="T34" fmla="*/ 145 w 2292"/>
                <a:gd name="T35" fmla="*/ 528 h 1728"/>
                <a:gd name="T36" fmla="*/ 84 w 2292"/>
                <a:gd name="T37" fmla="*/ 459 h 1728"/>
                <a:gd name="T38" fmla="*/ 69 w 2292"/>
                <a:gd name="T39" fmla="*/ 398 h 1728"/>
                <a:gd name="T40" fmla="*/ 160 w 2292"/>
                <a:gd name="T41" fmla="*/ 344 h 1728"/>
                <a:gd name="T42" fmla="*/ 160 w 2292"/>
                <a:gd name="T43" fmla="*/ 352 h 1728"/>
                <a:gd name="T44" fmla="*/ 298 w 2292"/>
                <a:gd name="T45" fmla="*/ 306 h 1728"/>
                <a:gd name="T46" fmla="*/ 489 w 2292"/>
                <a:gd name="T47" fmla="*/ 275 h 1728"/>
                <a:gd name="T48" fmla="*/ 573 w 2292"/>
                <a:gd name="T49" fmla="*/ 314 h 1728"/>
                <a:gd name="T50" fmla="*/ 535 w 2292"/>
                <a:gd name="T51" fmla="*/ 428 h 1728"/>
                <a:gd name="T52" fmla="*/ 649 w 2292"/>
                <a:gd name="T53" fmla="*/ 451 h 1728"/>
                <a:gd name="T54" fmla="*/ 863 w 2292"/>
                <a:gd name="T55" fmla="*/ 451 h 1728"/>
                <a:gd name="T56" fmla="*/ 1031 w 2292"/>
                <a:gd name="T57" fmla="*/ 482 h 1728"/>
                <a:gd name="T58" fmla="*/ 1146 w 2292"/>
                <a:gd name="T59" fmla="*/ 505 h 1728"/>
                <a:gd name="T60" fmla="*/ 1375 w 2292"/>
                <a:gd name="T61" fmla="*/ 520 h 1728"/>
                <a:gd name="T62" fmla="*/ 1451 w 2292"/>
                <a:gd name="T63" fmla="*/ 467 h 1728"/>
                <a:gd name="T64" fmla="*/ 1550 w 2292"/>
                <a:gd name="T65" fmla="*/ 405 h 1728"/>
                <a:gd name="T66" fmla="*/ 1627 w 2292"/>
                <a:gd name="T67" fmla="*/ 306 h 1728"/>
                <a:gd name="T68" fmla="*/ 1680 w 2292"/>
                <a:gd name="T69" fmla="*/ 237 h 1728"/>
                <a:gd name="T70" fmla="*/ 1841 w 2292"/>
                <a:gd name="T71" fmla="*/ 253 h 1728"/>
                <a:gd name="T72" fmla="*/ 2024 w 2292"/>
                <a:gd name="T73" fmla="*/ 245 h 1728"/>
                <a:gd name="T74" fmla="*/ 2093 w 2292"/>
                <a:gd name="T75" fmla="*/ 146 h 1728"/>
                <a:gd name="T76" fmla="*/ 2062 w 2292"/>
                <a:gd name="T77" fmla="*/ 92 h 1728"/>
                <a:gd name="T78" fmla="*/ 2116 w 2292"/>
                <a:gd name="T79" fmla="*/ 16 h 1728"/>
                <a:gd name="T80" fmla="*/ 2268 w 2292"/>
                <a:gd name="T81" fmla="*/ 8 h 1728"/>
                <a:gd name="T82" fmla="*/ 2268 w 2292"/>
                <a:gd name="T83" fmla="*/ 8 h 1728"/>
                <a:gd name="T84" fmla="*/ 2276 w 2292"/>
                <a:gd name="T85" fmla="*/ 123 h 1728"/>
                <a:gd name="T86" fmla="*/ 2253 w 2292"/>
                <a:gd name="T87" fmla="*/ 497 h 1728"/>
                <a:gd name="T88" fmla="*/ 2116 w 2292"/>
                <a:gd name="T89" fmla="*/ 772 h 1728"/>
                <a:gd name="T90" fmla="*/ 2085 w 2292"/>
                <a:gd name="T91" fmla="*/ 994 h 1728"/>
                <a:gd name="T92" fmla="*/ 2009 w 2292"/>
                <a:gd name="T93" fmla="*/ 1314 h 1728"/>
                <a:gd name="T94" fmla="*/ 1848 w 2292"/>
                <a:gd name="T95" fmla="*/ 1406 h 1728"/>
                <a:gd name="T96" fmla="*/ 1757 w 2292"/>
                <a:gd name="T97" fmla="*/ 1567 h 1728"/>
                <a:gd name="T98" fmla="*/ 1550 w 2292"/>
                <a:gd name="T99" fmla="*/ 1628 h 1728"/>
                <a:gd name="T100" fmla="*/ 1421 w 2292"/>
                <a:gd name="T101" fmla="*/ 1498 h 1728"/>
                <a:gd name="T102" fmla="*/ 1489 w 2292"/>
                <a:gd name="T103" fmla="*/ 1628 h 1728"/>
                <a:gd name="T104" fmla="*/ 1489 w 2292"/>
                <a:gd name="T105" fmla="*/ 1628 h 1728"/>
                <a:gd name="T106" fmla="*/ 1245 w 2292"/>
                <a:gd name="T107" fmla="*/ 1544 h 1728"/>
                <a:gd name="T108" fmla="*/ 1024 w 2292"/>
                <a:gd name="T109" fmla="*/ 1521 h 1728"/>
                <a:gd name="T110" fmla="*/ 978 w 2292"/>
                <a:gd name="T111" fmla="*/ 1505 h 1728"/>
                <a:gd name="T112" fmla="*/ 718 w 2292"/>
                <a:gd name="T113" fmla="*/ 1528 h 1728"/>
                <a:gd name="T114" fmla="*/ 657 w 2292"/>
                <a:gd name="T115" fmla="*/ 1391 h 1728"/>
                <a:gd name="T116" fmla="*/ 557 w 2292"/>
                <a:gd name="T117" fmla="*/ 1253 h 1728"/>
                <a:gd name="T118" fmla="*/ 313 w 2292"/>
                <a:gd name="T119" fmla="*/ 1299 h 1728"/>
                <a:gd name="T120" fmla="*/ 260 w 2292"/>
                <a:gd name="T121" fmla="*/ 1261 h 1728"/>
                <a:gd name="T122" fmla="*/ 99 w 2292"/>
                <a:gd name="T123" fmla="*/ 1284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92" h="1728">
                  <a:moveTo>
                    <a:pt x="99" y="1284"/>
                  </a:moveTo>
                  <a:lnTo>
                    <a:pt x="99" y="1284"/>
                  </a:lnTo>
                  <a:cubicBezTo>
                    <a:pt x="92" y="1238"/>
                    <a:pt x="84" y="1200"/>
                    <a:pt x="84" y="1154"/>
                  </a:cubicBezTo>
                  <a:cubicBezTo>
                    <a:pt x="92" y="1123"/>
                    <a:pt x="99" y="1093"/>
                    <a:pt x="115" y="1062"/>
                  </a:cubicBezTo>
                  <a:cubicBezTo>
                    <a:pt x="122" y="1032"/>
                    <a:pt x="122" y="1001"/>
                    <a:pt x="145" y="986"/>
                  </a:cubicBezTo>
                  <a:cubicBezTo>
                    <a:pt x="168" y="971"/>
                    <a:pt x="214" y="1009"/>
                    <a:pt x="229" y="986"/>
                  </a:cubicBezTo>
                  <a:cubicBezTo>
                    <a:pt x="252" y="940"/>
                    <a:pt x="244" y="879"/>
                    <a:pt x="229" y="825"/>
                  </a:cubicBezTo>
                  <a:cubicBezTo>
                    <a:pt x="214" y="803"/>
                    <a:pt x="183" y="787"/>
                    <a:pt x="153" y="787"/>
                  </a:cubicBezTo>
                  <a:cubicBezTo>
                    <a:pt x="122" y="787"/>
                    <a:pt x="92" y="833"/>
                    <a:pt x="53" y="825"/>
                  </a:cubicBezTo>
                  <a:cubicBezTo>
                    <a:pt x="30" y="818"/>
                    <a:pt x="7" y="795"/>
                    <a:pt x="0" y="764"/>
                  </a:cubicBezTo>
                  <a:cubicBezTo>
                    <a:pt x="0" y="742"/>
                    <a:pt x="15" y="719"/>
                    <a:pt x="23" y="696"/>
                  </a:cubicBezTo>
                  <a:cubicBezTo>
                    <a:pt x="23" y="688"/>
                    <a:pt x="23" y="657"/>
                    <a:pt x="30" y="665"/>
                  </a:cubicBezTo>
                  <a:cubicBezTo>
                    <a:pt x="76" y="688"/>
                    <a:pt x="92" y="742"/>
                    <a:pt x="130" y="757"/>
                  </a:cubicBezTo>
                  <a:cubicBezTo>
                    <a:pt x="168" y="764"/>
                    <a:pt x="206" y="742"/>
                    <a:pt x="237" y="719"/>
                  </a:cubicBezTo>
                  <a:cubicBezTo>
                    <a:pt x="244" y="711"/>
                    <a:pt x="237" y="688"/>
                    <a:pt x="237" y="673"/>
                  </a:cubicBezTo>
                  <a:cubicBezTo>
                    <a:pt x="221" y="650"/>
                    <a:pt x="206" y="627"/>
                    <a:pt x="183" y="612"/>
                  </a:cubicBezTo>
                  <a:cubicBezTo>
                    <a:pt x="168" y="596"/>
                    <a:pt x="145" y="604"/>
                    <a:pt x="137" y="589"/>
                  </a:cubicBezTo>
                  <a:cubicBezTo>
                    <a:pt x="130" y="573"/>
                    <a:pt x="153" y="543"/>
                    <a:pt x="145" y="528"/>
                  </a:cubicBezTo>
                  <a:cubicBezTo>
                    <a:pt x="137" y="497"/>
                    <a:pt x="99" y="482"/>
                    <a:pt x="84" y="459"/>
                  </a:cubicBezTo>
                  <a:cubicBezTo>
                    <a:pt x="69" y="444"/>
                    <a:pt x="53" y="413"/>
                    <a:pt x="69" y="398"/>
                  </a:cubicBezTo>
                  <a:cubicBezTo>
                    <a:pt x="92" y="375"/>
                    <a:pt x="130" y="367"/>
                    <a:pt x="160" y="344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206" y="337"/>
                    <a:pt x="252" y="314"/>
                    <a:pt x="298" y="306"/>
                  </a:cubicBezTo>
                  <a:cubicBezTo>
                    <a:pt x="359" y="291"/>
                    <a:pt x="428" y="275"/>
                    <a:pt x="489" y="275"/>
                  </a:cubicBezTo>
                  <a:cubicBezTo>
                    <a:pt x="519" y="275"/>
                    <a:pt x="565" y="283"/>
                    <a:pt x="573" y="314"/>
                  </a:cubicBezTo>
                  <a:cubicBezTo>
                    <a:pt x="580" y="352"/>
                    <a:pt x="512" y="390"/>
                    <a:pt x="535" y="428"/>
                  </a:cubicBezTo>
                  <a:cubicBezTo>
                    <a:pt x="550" y="467"/>
                    <a:pt x="611" y="451"/>
                    <a:pt x="649" y="451"/>
                  </a:cubicBezTo>
                  <a:cubicBezTo>
                    <a:pt x="718" y="459"/>
                    <a:pt x="794" y="444"/>
                    <a:pt x="863" y="451"/>
                  </a:cubicBezTo>
                  <a:cubicBezTo>
                    <a:pt x="916" y="451"/>
                    <a:pt x="978" y="474"/>
                    <a:pt x="1031" y="482"/>
                  </a:cubicBezTo>
                  <a:cubicBezTo>
                    <a:pt x="1069" y="489"/>
                    <a:pt x="1107" y="497"/>
                    <a:pt x="1146" y="505"/>
                  </a:cubicBezTo>
                  <a:cubicBezTo>
                    <a:pt x="1222" y="512"/>
                    <a:pt x="1298" y="528"/>
                    <a:pt x="1375" y="520"/>
                  </a:cubicBezTo>
                  <a:cubicBezTo>
                    <a:pt x="1405" y="520"/>
                    <a:pt x="1428" y="482"/>
                    <a:pt x="1451" y="467"/>
                  </a:cubicBezTo>
                  <a:cubicBezTo>
                    <a:pt x="1489" y="444"/>
                    <a:pt x="1520" y="428"/>
                    <a:pt x="1550" y="405"/>
                  </a:cubicBezTo>
                  <a:cubicBezTo>
                    <a:pt x="1581" y="375"/>
                    <a:pt x="1604" y="337"/>
                    <a:pt x="1627" y="306"/>
                  </a:cubicBezTo>
                  <a:cubicBezTo>
                    <a:pt x="1642" y="283"/>
                    <a:pt x="1650" y="245"/>
                    <a:pt x="1680" y="237"/>
                  </a:cubicBezTo>
                  <a:cubicBezTo>
                    <a:pt x="1734" y="230"/>
                    <a:pt x="1787" y="253"/>
                    <a:pt x="1841" y="253"/>
                  </a:cubicBezTo>
                  <a:cubicBezTo>
                    <a:pt x="1902" y="253"/>
                    <a:pt x="1963" y="268"/>
                    <a:pt x="2024" y="245"/>
                  </a:cubicBezTo>
                  <a:cubicBezTo>
                    <a:pt x="2054" y="230"/>
                    <a:pt x="2085" y="184"/>
                    <a:pt x="2093" y="146"/>
                  </a:cubicBezTo>
                  <a:cubicBezTo>
                    <a:pt x="2100" y="131"/>
                    <a:pt x="2062" y="115"/>
                    <a:pt x="2062" y="92"/>
                  </a:cubicBezTo>
                  <a:cubicBezTo>
                    <a:pt x="2070" y="62"/>
                    <a:pt x="2085" y="31"/>
                    <a:pt x="2116" y="16"/>
                  </a:cubicBezTo>
                  <a:cubicBezTo>
                    <a:pt x="2162" y="0"/>
                    <a:pt x="2223" y="8"/>
                    <a:pt x="2268" y="8"/>
                  </a:cubicBezTo>
                  <a:lnTo>
                    <a:pt x="2268" y="8"/>
                  </a:lnTo>
                  <a:cubicBezTo>
                    <a:pt x="2268" y="46"/>
                    <a:pt x="2261" y="85"/>
                    <a:pt x="2276" y="123"/>
                  </a:cubicBezTo>
                  <a:cubicBezTo>
                    <a:pt x="2291" y="237"/>
                    <a:pt x="2284" y="383"/>
                    <a:pt x="2253" y="497"/>
                  </a:cubicBezTo>
                  <a:cubicBezTo>
                    <a:pt x="2116" y="772"/>
                    <a:pt x="2116" y="772"/>
                    <a:pt x="2116" y="772"/>
                  </a:cubicBezTo>
                  <a:cubicBezTo>
                    <a:pt x="2093" y="825"/>
                    <a:pt x="2085" y="940"/>
                    <a:pt x="2085" y="994"/>
                  </a:cubicBezTo>
                  <a:cubicBezTo>
                    <a:pt x="2085" y="1039"/>
                    <a:pt x="2032" y="1299"/>
                    <a:pt x="2009" y="1314"/>
                  </a:cubicBezTo>
                  <a:cubicBezTo>
                    <a:pt x="1955" y="1345"/>
                    <a:pt x="1894" y="1368"/>
                    <a:pt x="1848" y="1406"/>
                  </a:cubicBezTo>
                  <a:cubicBezTo>
                    <a:pt x="1802" y="1436"/>
                    <a:pt x="1795" y="1521"/>
                    <a:pt x="1757" y="1567"/>
                  </a:cubicBezTo>
                  <a:cubicBezTo>
                    <a:pt x="1696" y="1605"/>
                    <a:pt x="1604" y="1727"/>
                    <a:pt x="1550" y="1628"/>
                  </a:cubicBezTo>
                  <a:cubicBezTo>
                    <a:pt x="1512" y="1551"/>
                    <a:pt x="1535" y="1528"/>
                    <a:pt x="1421" y="1498"/>
                  </a:cubicBezTo>
                  <a:cubicBezTo>
                    <a:pt x="1497" y="1498"/>
                    <a:pt x="1543" y="1597"/>
                    <a:pt x="1489" y="1628"/>
                  </a:cubicBezTo>
                  <a:lnTo>
                    <a:pt x="1489" y="1628"/>
                  </a:lnTo>
                  <a:cubicBezTo>
                    <a:pt x="1382" y="1589"/>
                    <a:pt x="1352" y="1567"/>
                    <a:pt x="1245" y="1544"/>
                  </a:cubicBezTo>
                  <a:cubicBezTo>
                    <a:pt x="1168" y="1528"/>
                    <a:pt x="1092" y="1536"/>
                    <a:pt x="1024" y="1521"/>
                  </a:cubicBezTo>
                  <a:cubicBezTo>
                    <a:pt x="1008" y="1521"/>
                    <a:pt x="993" y="1505"/>
                    <a:pt x="978" y="1505"/>
                  </a:cubicBezTo>
                  <a:cubicBezTo>
                    <a:pt x="893" y="1505"/>
                    <a:pt x="802" y="1559"/>
                    <a:pt x="718" y="1528"/>
                  </a:cubicBezTo>
                  <a:cubicBezTo>
                    <a:pt x="672" y="1513"/>
                    <a:pt x="680" y="1436"/>
                    <a:pt x="657" y="1391"/>
                  </a:cubicBezTo>
                  <a:cubicBezTo>
                    <a:pt x="626" y="1345"/>
                    <a:pt x="611" y="1269"/>
                    <a:pt x="557" y="1253"/>
                  </a:cubicBezTo>
                  <a:cubicBezTo>
                    <a:pt x="481" y="1230"/>
                    <a:pt x="397" y="1299"/>
                    <a:pt x="313" y="1299"/>
                  </a:cubicBezTo>
                  <a:cubicBezTo>
                    <a:pt x="298" y="1299"/>
                    <a:pt x="282" y="1269"/>
                    <a:pt x="260" y="1261"/>
                  </a:cubicBezTo>
                  <a:cubicBezTo>
                    <a:pt x="206" y="1261"/>
                    <a:pt x="153" y="1276"/>
                    <a:pt x="99" y="128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" name="Freeform 70"/>
            <p:cNvSpPr>
              <a:spLocks noChangeArrowheads="1"/>
            </p:cNvSpPr>
            <p:nvPr/>
          </p:nvSpPr>
          <p:spPr bwMode="auto">
            <a:xfrm>
              <a:off x="7948096" y="8407400"/>
              <a:ext cx="769887" cy="585788"/>
            </a:xfrm>
            <a:custGeom>
              <a:avLst/>
              <a:gdLst>
                <a:gd name="T0" fmla="*/ 130 w 2140"/>
                <a:gd name="T1" fmla="*/ 290 h 1628"/>
                <a:gd name="T2" fmla="*/ 244 w 2140"/>
                <a:gd name="T3" fmla="*/ 138 h 1628"/>
                <a:gd name="T4" fmla="*/ 336 w 2140"/>
                <a:gd name="T5" fmla="*/ 16 h 1628"/>
                <a:gd name="T6" fmla="*/ 451 w 2140"/>
                <a:gd name="T7" fmla="*/ 38 h 1628"/>
                <a:gd name="T8" fmla="*/ 619 w 2140"/>
                <a:gd name="T9" fmla="*/ 176 h 1628"/>
                <a:gd name="T10" fmla="*/ 626 w 2140"/>
                <a:gd name="T11" fmla="*/ 138 h 1628"/>
                <a:gd name="T12" fmla="*/ 840 w 2140"/>
                <a:gd name="T13" fmla="*/ 153 h 1628"/>
                <a:gd name="T14" fmla="*/ 1184 w 2140"/>
                <a:gd name="T15" fmla="*/ 245 h 1628"/>
                <a:gd name="T16" fmla="*/ 1505 w 2140"/>
                <a:gd name="T17" fmla="*/ 359 h 1628"/>
                <a:gd name="T18" fmla="*/ 1772 w 2140"/>
                <a:gd name="T19" fmla="*/ 398 h 1628"/>
                <a:gd name="T20" fmla="*/ 2016 w 2140"/>
                <a:gd name="T21" fmla="*/ 482 h 1628"/>
                <a:gd name="T22" fmla="*/ 1787 w 2140"/>
                <a:gd name="T23" fmla="*/ 504 h 1628"/>
                <a:gd name="T24" fmla="*/ 1993 w 2140"/>
                <a:gd name="T25" fmla="*/ 619 h 1628"/>
                <a:gd name="T26" fmla="*/ 2055 w 2140"/>
                <a:gd name="T27" fmla="*/ 688 h 1628"/>
                <a:gd name="T28" fmla="*/ 1665 w 2140"/>
                <a:gd name="T29" fmla="*/ 894 h 1628"/>
                <a:gd name="T30" fmla="*/ 1451 w 2140"/>
                <a:gd name="T31" fmla="*/ 978 h 1628"/>
                <a:gd name="T32" fmla="*/ 1428 w 2140"/>
                <a:gd name="T33" fmla="*/ 1108 h 1628"/>
                <a:gd name="T34" fmla="*/ 1558 w 2140"/>
                <a:gd name="T35" fmla="*/ 1276 h 1628"/>
                <a:gd name="T36" fmla="*/ 1375 w 2140"/>
                <a:gd name="T37" fmla="*/ 1559 h 1628"/>
                <a:gd name="T38" fmla="*/ 1054 w 2140"/>
                <a:gd name="T39" fmla="*/ 1413 h 1628"/>
                <a:gd name="T40" fmla="*/ 1069 w 2140"/>
                <a:gd name="T41" fmla="*/ 1582 h 1628"/>
                <a:gd name="T42" fmla="*/ 955 w 2140"/>
                <a:gd name="T43" fmla="*/ 1627 h 1628"/>
                <a:gd name="T44" fmla="*/ 718 w 2140"/>
                <a:gd name="T45" fmla="*/ 1490 h 1628"/>
                <a:gd name="T46" fmla="*/ 550 w 2140"/>
                <a:gd name="T47" fmla="*/ 1467 h 1628"/>
                <a:gd name="T48" fmla="*/ 481 w 2140"/>
                <a:gd name="T49" fmla="*/ 1398 h 1628"/>
                <a:gd name="T50" fmla="*/ 435 w 2140"/>
                <a:gd name="T51" fmla="*/ 1291 h 1628"/>
                <a:gd name="T52" fmla="*/ 321 w 2140"/>
                <a:gd name="T53" fmla="*/ 1307 h 1628"/>
                <a:gd name="T54" fmla="*/ 107 w 2140"/>
                <a:gd name="T55" fmla="*/ 1268 h 1628"/>
                <a:gd name="T56" fmla="*/ 53 w 2140"/>
                <a:gd name="T57" fmla="*/ 1177 h 1628"/>
                <a:gd name="T58" fmla="*/ 7 w 2140"/>
                <a:gd name="T59" fmla="*/ 1039 h 1628"/>
                <a:gd name="T60" fmla="*/ 237 w 2140"/>
                <a:gd name="T61" fmla="*/ 833 h 1628"/>
                <a:gd name="T62" fmla="*/ 313 w 2140"/>
                <a:gd name="T63" fmla="*/ 611 h 1628"/>
                <a:gd name="T64" fmla="*/ 221 w 2140"/>
                <a:gd name="T65" fmla="*/ 474 h 1628"/>
                <a:gd name="T66" fmla="*/ 130 w 2140"/>
                <a:gd name="T67" fmla="*/ 290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40" h="1628">
                  <a:moveTo>
                    <a:pt x="130" y="290"/>
                  </a:moveTo>
                  <a:lnTo>
                    <a:pt x="130" y="290"/>
                  </a:lnTo>
                  <a:cubicBezTo>
                    <a:pt x="145" y="237"/>
                    <a:pt x="137" y="176"/>
                    <a:pt x="176" y="130"/>
                  </a:cubicBezTo>
                  <a:cubicBezTo>
                    <a:pt x="191" y="107"/>
                    <a:pt x="221" y="138"/>
                    <a:pt x="244" y="138"/>
                  </a:cubicBezTo>
                  <a:cubicBezTo>
                    <a:pt x="267" y="130"/>
                    <a:pt x="290" y="123"/>
                    <a:pt x="305" y="107"/>
                  </a:cubicBezTo>
                  <a:cubicBezTo>
                    <a:pt x="321" y="77"/>
                    <a:pt x="305" y="31"/>
                    <a:pt x="336" y="16"/>
                  </a:cubicBezTo>
                  <a:cubicBezTo>
                    <a:pt x="359" y="0"/>
                    <a:pt x="374" y="54"/>
                    <a:pt x="405" y="61"/>
                  </a:cubicBezTo>
                  <a:cubicBezTo>
                    <a:pt x="420" y="61"/>
                    <a:pt x="435" y="23"/>
                    <a:pt x="451" y="38"/>
                  </a:cubicBezTo>
                  <a:cubicBezTo>
                    <a:pt x="504" y="69"/>
                    <a:pt x="534" y="130"/>
                    <a:pt x="580" y="176"/>
                  </a:cubicBezTo>
                  <a:cubicBezTo>
                    <a:pt x="588" y="184"/>
                    <a:pt x="611" y="184"/>
                    <a:pt x="619" y="176"/>
                  </a:cubicBezTo>
                  <a:cubicBezTo>
                    <a:pt x="626" y="168"/>
                    <a:pt x="626" y="153"/>
                    <a:pt x="626" y="138"/>
                  </a:cubicBezTo>
                  <a:lnTo>
                    <a:pt x="626" y="138"/>
                  </a:lnTo>
                  <a:cubicBezTo>
                    <a:pt x="680" y="130"/>
                    <a:pt x="733" y="115"/>
                    <a:pt x="787" y="115"/>
                  </a:cubicBezTo>
                  <a:cubicBezTo>
                    <a:pt x="809" y="123"/>
                    <a:pt x="825" y="153"/>
                    <a:pt x="840" y="153"/>
                  </a:cubicBezTo>
                  <a:cubicBezTo>
                    <a:pt x="924" y="153"/>
                    <a:pt x="1008" y="84"/>
                    <a:pt x="1084" y="107"/>
                  </a:cubicBezTo>
                  <a:cubicBezTo>
                    <a:pt x="1138" y="123"/>
                    <a:pt x="1153" y="199"/>
                    <a:pt x="1184" y="245"/>
                  </a:cubicBezTo>
                  <a:cubicBezTo>
                    <a:pt x="1207" y="290"/>
                    <a:pt x="1199" y="367"/>
                    <a:pt x="1245" y="382"/>
                  </a:cubicBezTo>
                  <a:cubicBezTo>
                    <a:pt x="1329" y="413"/>
                    <a:pt x="1420" y="359"/>
                    <a:pt x="1505" y="359"/>
                  </a:cubicBezTo>
                  <a:cubicBezTo>
                    <a:pt x="1520" y="359"/>
                    <a:pt x="1535" y="375"/>
                    <a:pt x="1551" y="375"/>
                  </a:cubicBezTo>
                  <a:cubicBezTo>
                    <a:pt x="1619" y="390"/>
                    <a:pt x="1695" y="382"/>
                    <a:pt x="1772" y="398"/>
                  </a:cubicBezTo>
                  <a:cubicBezTo>
                    <a:pt x="1879" y="421"/>
                    <a:pt x="1909" y="443"/>
                    <a:pt x="2016" y="482"/>
                  </a:cubicBezTo>
                  <a:lnTo>
                    <a:pt x="2016" y="482"/>
                  </a:lnTo>
                  <a:cubicBezTo>
                    <a:pt x="1993" y="497"/>
                    <a:pt x="1963" y="497"/>
                    <a:pt x="1909" y="482"/>
                  </a:cubicBezTo>
                  <a:cubicBezTo>
                    <a:pt x="1887" y="474"/>
                    <a:pt x="1818" y="497"/>
                    <a:pt x="1787" y="504"/>
                  </a:cubicBezTo>
                  <a:cubicBezTo>
                    <a:pt x="1757" y="512"/>
                    <a:pt x="1894" y="520"/>
                    <a:pt x="1917" y="520"/>
                  </a:cubicBezTo>
                  <a:cubicBezTo>
                    <a:pt x="2016" y="520"/>
                    <a:pt x="2093" y="520"/>
                    <a:pt x="1993" y="619"/>
                  </a:cubicBezTo>
                  <a:cubicBezTo>
                    <a:pt x="1978" y="634"/>
                    <a:pt x="1948" y="688"/>
                    <a:pt x="1963" y="711"/>
                  </a:cubicBezTo>
                  <a:cubicBezTo>
                    <a:pt x="1986" y="749"/>
                    <a:pt x="2032" y="695"/>
                    <a:pt x="2055" y="688"/>
                  </a:cubicBezTo>
                  <a:cubicBezTo>
                    <a:pt x="2139" y="657"/>
                    <a:pt x="2039" y="795"/>
                    <a:pt x="2001" y="818"/>
                  </a:cubicBezTo>
                  <a:cubicBezTo>
                    <a:pt x="1909" y="894"/>
                    <a:pt x="1772" y="1016"/>
                    <a:pt x="1665" y="894"/>
                  </a:cubicBezTo>
                  <a:cubicBezTo>
                    <a:pt x="1657" y="879"/>
                    <a:pt x="1596" y="932"/>
                    <a:pt x="1573" y="947"/>
                  </a:cubicBezTo>
                  <a:cubicBezTo>
                    <a:pt x="1535" y="970"/>
                    <a:pt x="1489" y="947"/>
                    <a:pt x="1451" y="978"/>
                  </a:cubicBezTo>
                  <a:cubicBezTo>
                    <a:pt x="1390" y="1047"/>
                    <a:pt x="1375" y="1016"/>
                    <a:pt x="1298" y="1047"/>
                  </a:cubicBezTo>
                  <a:cubicBezTo>
                    <a:pt x="1107" y="1115"/>
                    <a:pt x="1375" y="1123"/>
                    <a:pt x="1428" y="1108"/>
                  </a:cubicBezTo>
                  <a:cubicBezTo>
                    <a:pt x="1451" y="1100"/>
                    <a:pt x="1551" y="1016"/>
                    <a:pt x="1566" y="1062"/>
                  </a:cubicBezTo>
                  <a:cubicBezTo>
                    <a:pt x="1573" y="1123"/>
                    <a:pt x="1558" y="1215"/>
                    <a:pt x="1558" y="1276"/>
                  </a:cubicBezTo>
                  <a:cubicBezTo>
                    <a:pt x="1543" y="1352"/>
                    <a:pt x="1466" y="1490"/>
                    <a:pt x="1375" y="1559"/>
                  </a:cubicBezTo>
                  <a:lnTo>
                    <a:pt x="1375" y="1559"/>
                  </a:lnTo>
                  <a:cubicBezTo>
                    <a:pt x="1344" y="1536"/>
                    <a:pt x="1291" y="1467"/>
                    <a:pt x="1253" y="1452"/>
                  </a:cubicBezTo>
                  <a:cubicBezTo>
                    <a:pt x="1191" y="1429"/>
                    <a:pt x="1123" y="1390"/>
                    <a:pt x="1054" y="1413"/>
                  </a:cubicBezTo>
                  <a:cubicBezTo>
                    <a:pt x="1023" y="1421"/>
                    <a:pt x="1069" y="1551"/>
                    <a:pt x="1069" y="1582"/>
                  </a:cubicBezTo>
                  <a:lnTo>
                    <a:pt x="1069" y="1582"/>
                  </a:lnTo>
                  <a:cubicBezTo>
                    <a:pt x="1031" y="1589"/>
                    <a:pt x="993" y="1612"/>
                    <a:pt x="955" y="1627"/>
                  </a:cubicBezTo>
                  <a:lnTo>
                    <a:pt x="955" y="1627"/>
                  </a:lnTo>
                  <a:cubicBezTo>
                    <a:pt x="909" y="1589"/>
                    <a:pt x="848" y="1505"/>
                    <a:pt x="794" y="1482"/>
                  </a:cubicBezTo>
                  <a:cubicBezTo>
                    <a:pt x="771" y="1474"/>
                    <a:pt x="748" y="1497"/>
                    <a:pt x="718" y="1490"/>
                  </a:cubicBezTo>
                  <a:cubicBezTo>
                    <a:pt x="703" y="1490"/>
                    <a:pt x="695" y="1459"/>
                    <a:pt x="680" y="1459"/>
                  </a:cubicBezTo>
                  <a:cubicBezTo>
                    <a:pt x="634" y="1452"/>
                    <a:pt x="596" y="1459"/>
                    <a:pt x="550" y="1467"/>
                  </a:cubicBezTo>
                  <a:cubicBezTo>
                    <a:pt x="557" y="1467"/>
                    <a:pt x="557" y="1467"/>
                    <a:pt x="557" y="1467"/>
                  </a:cubicBezTo>
                  <a:cubicBezTo>
                    <a:pt x="534" y="1444"/>
                    <a:pt x="504" y="1421"/>
                    <a:pt x="481" y="1398"/>
                  </a:cubicBezTo>
                  <a:cubicBezTo>
                    <a:pt x="473" y="1383"/>
                    <a:pt x="489" y="1375"/>
                    <a:pt x="481" y="1360"/>
                  </a:cubicBezTo>
                  <a:cubicBezTo>
                    <a:pt x="473" y="1337"/>
                    <a:pt x="458" y="1307"/>
                    <a:pt x="435" y="1291"/>
                  </a:cubicBezTo>
                  <a:cubicBezTo>
                    <a:pt x="420" y="1284"/>
                    <a:pt x="405" y="1307"/>
                    <a:pt x="390" y="1307"/>
                  </a:cubicBezTo>
                  <a:cubicBezTo>
                    <a:pt x="367" y="1314"/>
                    <a:pt x="344" y="1299"/>
                    <a:pt x="321" y="1307"/>
                  </a:cubicBezTo>
                  <a:cubicBezTo>
                    <a:pt x="275" y="1314"/>
                    <a:pt x="237" y="1368"/>
                    <a:pt x="191" y="1360"/>
                  </a:cubicBezTo>
                  <a:cubicBezTo>
                    <a:pt x="153" y="1352"/>
                    <a:pt x="137" y="1291"/>
                    <a:pt x="107" y="1268"/>
                  </a:cubicBezTo>
                  <a:cubicBezTo>
                    <a:pt x="92" y="1261"/>
                    <a:pt x="61" y="1276"/>
                    <a:pt x="53" y="1261"/>
                  </a:cubicBezTo>
                  <a:cubicBezTo>
                    <a:pt x="38" y="1238"/>
                    <a:pt x="53" y="1207"/>
                    <a:pt x="53" y="1177"/>
                  </a:cubicBezTo>
                  <a:lnTo>
                    <a:pt x="53" y="1177"/>
                  </a:lnTo>
                  <a:cubicBezTo>
                    <a:pt x="38" y="1131"/>
                    <a:pt x="0" y="1085"/>
                    <a:pt x="7" y="1039"/>
                  </a:cubicBezTo>
                  <a:cubicBezTo>
                    <a:pt x="7" y="978"/>
                    <a:pt x="30" y="917"/>
                    <a:pt x="76" y="879"/>
                  </a:cubicBezTo>
                  <a:cubicBezTo>
                    <a:pt x="115" y="840"/>
                    <a:pt x="191" y="856"/>
                    <a:pt x="237" y="833"/>
                  </a:cubicBezTo>
                  <a:cubicBezTo>
                    <a:pt x="267" y="825"/>
                    <a:pt x="290" y="795"/>
                    <a:pt x="298" y="772"/>
                  </a:cubicBezTo>
                  <a:cubicBezTo>
                    <a:pt x="313" y="718"/>
                    <a:pt x="336" y="657"/>
                    <a:pt x="313" y="611"/>
                  </a:cubicBezTo>
                  <a:cubicBezTo>
                    <a:pt x="305" y="588"/>
                    <a:pt x="252" y="619"/>
                    <a:pt x="237" y="596"/>
                  </a:cubicBezTo>
                  <a:cubicBezTo>
                    <a:pt x="214" y="565"/>
                    <a:pt x="229" y="512"/>
                    <a:pt x="221" y="474"/>
                  </a:cubicBezTo>
                  <a:cubicBezTo>
                    <a:pt x="214" y="428"/>
                    <a:pt x="206" y="390"/>
                    <a:pt x="183" y="352"/>
                  </a:cubicBezTo>
                  <a:cubicBezTo>
                    <a:pt x="176" y="329"/>
                    <a:pt x="145" y="306"/>
                    <a:pt x="130" y="2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" name="Freeform 71"/>
            <p:cNvSpPr>
              <a:spLocks noChangeArrowheads="1"/>
            </p:cNvSpPr>
            <p:nvPr/>
          </p:nvSpPr>
          <p:spPr bwMode="auto">
            <a:xfrm>
              <a:off x="7451240" y="8369300"/>
              <a:ext cx="179376" cy="198438"/>
            </a:xfrm>
            <a:custGeom>
              <a:avLst/>
              <a:gdLst>
                <a:gd name="T0" fmla="*/ 23 w 498"/>
                <a:gd name="T1" fmla="*/ 253 h 551"/>
                <a:gd name="T2" fmla="*/ 23 w 498"/>
                <a:gd name="T3" fmla="*/ 253 h 551"/>
                <a:gd name="T4" fmla="*/ 23 w 498"/>
                <a:gd name="T5" fmla="*/ 184 h 551"/>
                <a:gd name="T6" fmla="*/ 214 w 498"/>
                <a:gd name="T7" fmla="*/ 107 h 551"/>
                <a:gd name="T8" fmla="*/ 245 w 498"/>
                <a:gd name="T9" fmla="*/ 54 h 551"/>
                <a:gd name="T10" fmla="*/ 398 w 498"/>
                <a:gd name="T11" fmla="*/ 0 h 551"/>
                <a:gd name="T12" fmla="*/ 398 w 498"/>
                <a:gd name="T13" fmla="*/ 0 h 551"/>
                <a:gd name="T14" fmla="*/ 443 w 498"/>
                <a:gd name="T15" fmla="*/ 100 h 551"/>
                <a:gd name="T16" fmla="*/ 436 w 498"/>
                <a:gd name="T17" fmla="*/ 161 h 551"/>
                <a:gd name="T18" fmla="*/ 497 w 498"/>
                <a:gd name="T19" fmla="*/ 222 h 551"/>
                <a:gd name="T20" fmla="*/ 420 w 498"/>
                <a:gd name="T21" fmla="*/ 314 h 551"/>
                <a:gd name="T22" fmla="*/ 398 w 498"/>
                <a:gd name="T23" fmla="*/ 390 h 551"/>
                <a:gd name="T24" fmla="*/ 390 w 498"/>
                <a:gd name="T25" fmla="*/ 550 h 551"/>
                <a:gd name="T26" fmla="*/ 390 w 498"/>
                <a:gd name="T27" fmla="*/ 550 h 551"/>
                <a:gd name="T28" fmla="*/ 298 w 498"/>
                <a:gd name="T29" fmla="*/ 497 h 551"/>
                <a:gd name="T30" fmla="*/ 222 w 498"/>
                <a:gd name="T31" fmla="*/ 535 h 551"/>
                <a:gd name="T32" fmla="*/ 100 w 498"/>
                <a:gd name="T33" fmla="*/ 436 h 551"/>
                <a:gd name="T34" fmla="*/ 62 w 498"/>
                <a:gd name="T35" fmla="*/ 344 h 551"/>
                <a:gd name="T36" fmla="*/ 23 w 498"/>
                <a:gd name="T37" fmla="*/ 25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551">
                  <a:moveTo>
                    <a:pt x="23" y="253"/>
                  </a:moveTo>
                  <a:lnTo>
                    <a:pt x="23" y="253"/>
                  </a:lnTo>
                  <a:cubicBezTo>
                    <a:pt x="23" y="230"/>
                    <a:pt x="0" y="191"/>
                    <a:pt x="23" y="184"/>
                  </a:cubicBezTo>
                  <a:cubicBezTo>
                    <a:pt x="77" y="138"/>
                    <a:pt x="153" y="130"/>
                    <a:pt x="214" y="107"/>
                  </a:cubicBezTo>
                  <a:cubicBezTo>
                    <a:pt x="214" y="107"/>
                    <a:pt x="245" y="61"/>
                    <a:pt x="245" y="54"/>
                  </a:cubicBezTo>
                  <a:cubicBezTo>
                    <a:pt x="252" y="54"/>
                    <a:pt x="398" y="0"/>
                    <a:pt x="398" y="0"/>
                  </a:cubicBezTo>
                  <a:lnTo>
                    <a:pt x="398" y="0"/>
                  </a:lnTo>
                  <a:cubicBezTo>
                    <a:pt x="413" y="31"/>
                    <a:pt x="428" y="61"/>
                    <a:pt x="443" y="100"/>
                  </a:cubicBezTo>
                  <a:cubicBezTo>
                    <a:pt x="443" y="123"/>
                    <a:pt x="428" y="145"/>
                    <a:pt x="436" y="161"/>
                  </a:cubicBezTo>
                  <a:cubicBezTo>
                    <a:pt x="451" y="191"/>
                    <a:pt x="497" y="191"/>
                    <a:pt x="497" y="222"/>
                  </a:cubicBezTo>
                  <a:cubicBezTo>
                    <a:pt x="497" y="260"/>
                    <a:pt x="443" y="283"/>
                    <a:pt x="420" y="314"/>
                  </a:cubicBezTo>
                  <a:cubicBezTo>
                    <a:pt x="413" y="336"/>
                    <a:pt x="398" y="367"/>
                    <a:pt x="398" y="390"/>
                  </a:cubicBezTo>
                  <a:cubicBezTo>
                    <a:pt x="390" y="443"/>
                    <a:pt x="390" y="497"/>
                    <a:pt x="390" y="550"/>
                  </a:cubicBezTo>
                  <a:lnTo>
                    <a:pt x="390" y="550"/>
                  </a:lnTo>
                  <a:cubicBezTo>
                    <a:pt x="359" y="535"/>
                    <a:pt x="329" y="505"/>
                    <a:pt x="298" y="497"/>
                  </a:cubicBezTo>
                  <a:cubicBezTo>
                    <a:pt x="268" y="497"/>
                    <a:pt x="245" y="543"/>
                    <a:pt x="222" y="535"/>
                  </a:cubicBezTo>
                  <a:cubicBezTo>
                    <a:pt x="168" y="520"/>
                    <a:pt x="130" y="474"/>
                    <a:pt x="100" y="436"/>
                  </a:cubicBezTo>
                  <a:cubicBezTo>
                    <a:pt x="77" y="413"/>
                    <a:pt x="69" y="375"/>
                    <a:pt x="62" y="344"/>
                  </a:cubicBezTo>
                  <a:cubicBezTo>
                    <a:pt x="46" y="314"/>
                    <a:pt x="39" y="283"/>
                    <a:pt x="23" y="2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" name="Freeform 72"/>
            <p:cNvSpPr>
              <a:spLocks noChangeArrowheads="1"/>
            </p:cNvSpPr>
            <p:nvPr/>
          </p:nvSpPr>
          <p:spPr bwMode="auto">
            <a:xfrm>
              <a:off x="7563945" y="8223251"/>
              <a:ext cx="322241" cy="498475"/>
            </a:xfrm>
            <a:custGeom>
              <a:avLst/>
              <a:gdLst>
                <a:gd name="T0" fmla="*/ 343 w 894"/>
                <a:gd name="T1" fmla="*/ 0 h 1383"/>
                <a:gd name="T2" fmla="*/ 343 w 894"/>
                <a:gd name="T3" fmla="*/ 0 h 1383"/>
                <a:gd name="T4" fmla="*/ 435 w 894"/>
                <a:gd name="T5" fmla="*/ 61 h 1383"/>
                <a:gd name="T6" fmla="*/ 488 w 894"/>
                <a:gd name="T7" fmla="*/ 68 h 1383"/>
                <a:gd name="T8" fmla="*/ 534 w 894"/>
                <a:gd name="T9" fmla="*/ 190 h 1383"/>
                <a:gd name="T10" fmla="*/ 626 w 894"/>
                <a:gd name="T11" fmla="*/ 168 h 1383"/>
                <a:gd name="T12" fmla="*/ 618 w 894"/>
                <a:gd name="T13" fmla="*/ 236 h 1383"/>
                <a:gd name="T14" fmla="*/ 672 w 894"/>
                <a:gd name="T15" fmla="*/ 267 h 1383"/>
                <a:gd name="T16" fmla="*/ 695 w 894"/>
                <a:gd name="T17" fmla="*/ 336 h 1383"/>
                <a:gd name="T18" fmla="*/ 748 w 894"/>
                <a:gd name="T19" fmla="*/ 374 h 1383"/>
                <a:gd name="T20" fmla="*/ 725 w 894"/>
                <a:gd name="T21" fmla="*/ 427 h 1383"/>
                <a:gd name="T22" fmla="*/ 855 w 894"/>
                <a:gd name="T23" fmla="*/ 427 h 1383"/>
                <a:gd name="T24" fmla="*/ 863 w 894"/>
                <a:gd name="T25" fmla="*/ 618 h 1383"/>
                <a:gd name="T26" fmla="*/ 863 w 894"/>
                <a:gd name="T27" fmla="*/ 618 h 1383"/>
                <a:gd name="T28" fmla="*/ 809 w 894"/>
                <a:gd name="T29" fmla="*/ 725 h 1383"/>
                <a:gd name="T30" fmla="*/ 794 w 894"/>
                <a:gd name="T31" fmla="*/ 832 h 1383"/>
                <a:gd name="T32" fmla="*/ 626 w 894"/>
                <a:gd name="T33" fmla="*/ 847 h 1383"/>
                <a:gd name="T34" fmla="*/ 557 w 894"/>
                <a:gd name="T35" fmla="*/ 947 h 1383"/>
                <a:gd name="T36" fmla="*/ 481 w 894"/>
                <a:gd name="T37" fmla="*/ 909 h 1383"/>
                <a:gd name="T38" fmla="*/ 481 w 894"/>
                <a:gd name="T39" fmla="*/ 1000 h 1383"/>
                <a:gd name="T40" fmla="*/ 527 w 894"/>
                <a:gd name="T41" fmla="*/ 1115 h 1383"/>
                <a:gd name="T42" fmla="*/ 527 w 894"/>
                <a:gd name="T43" fmla="*/ 1115 h 1383"/>
                <a:gd name="T44" fmla="*/ 465 w 894"/>
                <a:gd name="T45" fmla="*/ 1122 h 1383"/>
                <a:gd name="T46" fmla="*/ 442 w 894"/>
                <a:gd name="T47" fmla="*/ 1069 h 1383"/>
                <a:gd name="T48" fmla="*/ 381 w 894"/>
                <a:gd name="T49" fmla="*/ 1084 h 1383"/>
                <a:gd name="T50" fmla="*/ 389 w 894"/>
                <a:gd name="T51" fmla="*/ 1122 h 1383"/>
                <a:gd name="T52" fmla="*/ 359 w 894"/>
                <a:gd name="T53" fmla="*/ 1153 h 1383"/>
                <a:gd name="T54" fmla="*/ 465 w 894"/>
                <a:gd name="T55" fmla="*/ 1237 h 1383"/>
                <a:gd name="T56" fmla="*/ 580 w 894"/>
                <a:gd name="T57" fmla="*/ 1191 h 1383"/>
                <a:gd name="T58" fmla="*/ 580 w 894"/>
                <a:gd name="T59" fmla="*/ 1191 h 1383"/>
                <a:gd name="T60" fmla="*/ 595 w 894"/>
                <a:gd name="T61" fmla="*/ 1283 h 1383"/>
                <a:gd name="T62" fmla="*/ 588 w 894"/>
                <a:gd name="T63" fmla="*/ 1321 h 1383"/>
                <a:gd name="T64" fmla="*/ 504 w 894"/>
                <a:gd name="T65" fmla="*/ 1306 h 1383"/>
                <a:gd name="T66" fmla="*/ 397 w 894"/>
                <a:gd name="T67" fmla="*/ 1268 h 1383"/>
                <a:gd name="T68" fmla="*/ 374 w 894"/>
                <a:gd name="T69" fmla="*/ 1290 h 1383"/>
                <a:gd name="T70" fmla="*/ 351 w 894"/>
                <a:gd name="T71" fmla="*/ 1359 h 1383"/>
                <a:gd name="T72" fmla="*/ 313 w 894"/>
                <a:gd name="T73" fmla="*/ 1382 h 1383"/>
                <a:gd name="T74" fmla="*/ 267 w 894"/>
                <a:gd name="T75" fmla="*/ 1336 h 1383"/>
                <a:gd name="T76" fmla="*/ 267 w 894"/>
                <a:gd name="T77" fmla="*/ 1336 h 1383"/>
                <a:gd name="T78" fmla="*/ 213 w 894"/>
                <a:gd name="T79" fmla="*/ 1206 h 1383"/>
                <a:gd name="T80" fmla="*/ 84 w 894"/>
                <a:gd name="T81" fmla="*/ 1145 h 1383"/>
                <a:gd name="T82" fmla="*/ 7 w 894"/>
                <a:gd name="T83" fmla="*/ 1099 h 1383"/>
                <a:gd name="T84" fmla="*/ 61 w 894"/>
                <a:gd name="T85" fmla="*/ 985 h 1383"/>
                <a:gd name="T86" fmla="*/ 76 w 894"/>
                <a:gd name="T87" fmla="*/ 954 h 1383"/>
                <a:gd name="T88" fmla="*/ 76 w 894"/>
                <a:gd name="T89" fmla="*/ 954 h 1383"/>
                <a:gd name="T90" fmla="*/ 84 w 894"/>
                <a:gd name="T91" fmla="*/ 794 h 1383"/>
                <a:gd name="T92" fmla="*/ 106 w 894"/>
                <a:gd name="T93" fmla="*/ 718 h 1383"/>
                <a:gd name="T94" fmla="*/ 183 w 894"/>
                <a:gd name="T95" fmla="*/ 626 h 1383"/>
                <a:gd name="T96" fmla="*/ 122 w 894"/>
                <a:gd name="T97" fmla="*/ 565 h 1383"/>
                <a:gd name="T98" fmla="*/ 129 w 894"/>
                <a:gd name="T99" fmla="*/ 504 h 1383"/>
                <a:gd name="T100" fmla="*/ 84 w 894"/>
                <a:gd name="T101" fmla="*/ 404 h 1383"/>
                <a:gd name="T102" fmla="*/ 84 w 894"/>
                <a:gd name="T103" fmla="*/ 404 h 1383"/>
                <a:gd name="T104" fmla="*/ 38 w 894"/>
                <a:gd name="T105" fmla="*/ 305 h 1383"/>
                <a:gd name="T106" fmla="*/ 91 w 894"/>
                <a:gd name="T107" fmla="*/ 213 h 1383"/>
                <a:gd name="T108" fmla="*/ 76 w 894"/>
                <a:gd name="T109" fmla="*/ 129 h 1383"/>
                <a:gd name="T110" fmla="*/ 129 w 894"/>
                <a:gd name="T111" fmla="*/ 84 h 1383"/>
                <a:gd name="T112" fmla="*/ 236 w 894"/>
                <a:gd name="T113" fmla="*/ 137 h 1383"/>
                <a:gd name="T114" fmla="*/ 244 w 894"/>
                <a:gd name="T115" fmla="*/ 45 h 1383"/>
                <a:gd name="T116" fmla="*/ 343 w 894"/>
                <a:gd name="T117" fmla="*/ 0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94" h="1383">
                  <a:moveTo>
                    <a:pt x="343" y="0"/>
                  </a:moveTo>
                  <a:lnTo>
                    <a:pt x="343" y="0"/>
                  </a:lnTo>
                  <a:cubicBezTo>
                    <a:pt x="374" y="15"/>
                    <a:pt x="404" y="45"/>
                    <a:pt x="435" y="61"/>
                  </a:cubicBezTo>
                  <a:cubicBezTo>
                    <a:pt x="450" y="68"/>
                    <a:pt x="481" y="53"/>
                    <a:pt x="488" y="68"/>
                  </a:cubicBezTo>
                  <a:cubicBezTo>
                    <a:pt x="519" y="107"/>
                    <a:pt x="496" y="168"/>
                    <a:pt x="534" y="190"/>
                  </a:cubicBezTo>
                  <a:cubicBezTo>
                    <a:pt x="557" y="213"/>
                    <a:pt x="595" y="152"/>
                    <a:pt x="626" y="168"/>
                  </a:cubicBezTo>
                  <a:cubicBezTo>
                    <a:pt x="649" y="183"/>
                    <a:pt x="611" y="221"/>
                    <a:pt x="618" y="236"/>
                  </a:cubicBezTo>
                  <a:cubicBezTo>
                    <a:pt x="626" y="259"/>
                    <a:pt x="656" y="252"/>
                    <a:pt x="672" y="267"/>
                  </a:cubicBezTo>
                  <a:cubicBezTo>
                    <a:pt x="687" y="290"/>
                    <a:pt x="679" y="313"/>
                    <a:pt x="695" y="336"/>
                  </a:cubicBezTo>
                  <a:cubicBezTo>
                    <a:pt x="702" y="351"/>
                    <a:pt x="740" y="351"/>
                    <a:pt x="748" y="374"/>
                  </a:cubicBezTo>
                  <a:cubicBezTo>
                    <a:pt x="748" y="389"/>
                    <a:pt x="710" y="420"/>
                    <a:pt x="725" y="427"/>
                  </a:cubicBezTo>
                  <a:cubicBezTo>
                    <a:pt x="763" y="443"/>
                    <a:pt x="832" y="389"/>
                    <a:pt x="855" y="427"/>
                  </a:cubicBezTo>
                  <a:cubicBezTo>
                    <a:pt x="893" y="481"/>
                    <a:pt x="863" y="557"/>
                    <a:pt x="863" y="618"/>
                  </a:cubicBezTo>
                  <a:lnTo>
                    <a:pt x="863" y="618"/>
                  </a:lnTo>
                  <a:cubicBezTo>
                    <a:pt x="847" y="657"/>
                    <a:pt x="824" y="687"/>
                    <a:pt x="809" y="725"/>
                  </a:cubicBezTo>
                  <a:cubicBezTo>
                    <a:pt x="802" y="763"/>
                    <a:pt x="824" y="817"/>
                    <a:pt x="794" y="832"/>
                  </a:cubicBezTo>
                  <a:cubicBezTo>
                    <a:pt x="748" y="863"/>
                    <a:pt x="679" y="824"/>
                    <a:pt x="626" y="847"/>
                  </a:cubicBezTo>
                  <a:cubicBezTo>
                    <a:pt x="588" y="863"/>
                    <a:pt x="588" y="924"/>
                    <a:pt x="557" y="947"/>
                  </a:cubicBezTo>
                  <a:cubicBezTo>
                    <a:pt x="527" y="954"/>
                    <a:pt x="504" y="893"/>
                    <a:pt x="481" y="909"/>
                  </a:cubicBezTo>
                  <a:cubicBezTo>
                    <a:pt x="458" y="924"/>
                    <a:pt x="473" y="970"/>
                    <a:pt x="481" y="1000"/>
                  </a:cubicBezTo>
                  <a:cubicBezTo>
                    <a:pt x="488" y="1038"/>
                    <a:pt x="511" y="1076"/>
                    <a:pt x="527" y="1115"/>
                  </a:cubicBezTo>
                  <a:lnTo>
                    <a:pt x="527" y="1115"/>
                  </a:lnTo>
                  <a:cubicBezTo>
                    <a:pt x="504" y="1115"/>
                    <a:pt x="481" y="1130"/>
                    <a:pt x="465" y="1122"/>
                  </a:cubicBezTo>
                  <a:cubicBezTo>
                    <a:pt x="450" y="1107"/>
                    <a:pt x="458" y="1076"/>
                    <a:pt x="442" y="1069"/>
                  </a:cubicBezTo>
                  <a:cubicBezTo>
                    <a:pt x="427" y="1061"/>
                    <a:pt x="397" y="1076"/>
                    <a:pt x="381" y="1084"/>
                  </a:cubicBezTo>
                  <a:cubicBezTo>
                    <a:pt x="374" y="1092"/>
                    <a:pt x="389" y="1107"/>
                    <a:pt x="389" y="1122"/>
                  </a:cubicBezTo>
                  <a:cubicBezTo>
                    <a:pt x="381" y="1138"/>
                    <a:pt x="351" y="1138"/>
                    <a:pt x="359" y="1153"/>
                  </a:cubicBezTo>
                  <a:cubicBezTo>
                    <a:pt x="381" y="1191"/>
                    <a:pt x="420" y="1229"/>
                    <a:pt x="465" y="1237"/>
                  </a:cubicBezTo>
                  <a:cubicBezTo>
                    <a:pt x="511" y="1237"/>
                    <a:pt x="542" y="1206"/>
                    <a:pt x="580" y="1191"/>
                  </a:cubicBezTo>
                  <a:lnTo>
                    <a:pt x="580" y="1191"/>
                  </a:lnTo>
                  <a:cubicBezTo>
                    <a:pt x="588" y="1222"/>
                    <a:pt x="595" y="1252"/>
                    <a:pt x="595" y="1283"/>
                  </a:cubicBezTo>
                  <a:cubicBezTo>
                    <a:pt x="595" y="1298"/>
                    <a:pt x="603" y="1321"/>
                    <a:pt x="588" y="1321"/>
                  </a:cubicBezTo>
                  <a:cubicBezTo>
                    <a:pt x="565" y="1329"/>
                    <a:pt x="534" y="1313"/>
                    <a:pt x="504" y="1306"/>
                  </a:cubicBezTo>
                  <a:cubicBezTo>
                    <a:pt x="465" y="1290"/>
                    <a:pt x="435" y="1268"/>
                    <a:pt x="397" y="1268"/>
                  </a:cubicBezTo>
                  <a:cubicBezTo>
                    <a:pt x="389" y="1268"/>
                    <a:pt x="381" y="1283"/>
                    <a:pt x="374" y="1290"/>
                  </a:cubicBezTo>
                  <a:cubicBezTo>
                    <a:pt x="366" y="1313"/>
                    <a:pt x="366" y="1344"/>
                    <a:pt x="351" y="1359"/>
                  </a:cubicBezTo>
                  <a:cubicBezTo>
                    <a:pt x="343" y="1374"/>
                    <a:pt x="328" y="1382"/>
                    <a:pt x="313" y="1382"/>
                  </a:cubicBezTo>
                  <a:cubicBezTo>
                    <a:pt x="290" y="1374"/>
                    <a:pt x="282" y="1351"/>
                    <a:pt x="267" y="1336"/>
                  </a:cubicBezTo>
                  <a:lnTo>
                    <a:pt x="267" y="1336"/>
                  </a:lnTo>
                  <a:cubicBezTo>
                    <a:pt x="252" y="1290"/>
                    <a:pt x="244" y="1237"/>
                    <a:pt x="213" y="1206"/>
                  </a:cubicBezTo>
                  <a:cubicBezTo>
                    <a:pt x="175" y="1176"/>
                    <a:pt x="122" y="1168"/>
                    <a:pt x="84" y="1145"/>
                  </a:cubicBezTo>
                  <a:cubicBezTo>
                    <a:pt x="53" y="1130"/>
                    <a:pt x="7" y="1130"/>
                    <a:pt x="7" y="1099"/>
                  </a:cubicBezTo>
                  <a:cubicBezTo>
                    <a:pt x="0" y="1054"/>
                    <a:pt x="45" y="1023"/>
                    <a:pt x="61" y="985"/>
                  </a:cubicBezTo>
                  <a:cubicBezTo>
                    <a:pt x="68" y="977"/>
                    <a:pt x="68" y="962"/>
                    <a:pt x="76" y="954"/>
                  </a:cubicBezTo>
                  <a:lnTo>
                    <a:pt x="76" y="954"/>
                  </a:lnTo>
                  <a:cubicBezTo>
                    <a:pt x="76" y="901"/>
                    <a:pt x="76" y="847"/>
                    <a:pt x="84" y="794"/>
                  </a:cubicBezTo>
                  <a:cubicBezTo>
                    <a:pt x="84" y="771"/>
                    <a:pt x="99" y="740"/>
                    <a:pt x="106" y="718"/>
                  </a:cubicBezTo>
                  <a:cubicBezTo>
                    <a:pt x="129" y="687"/>
                    <a:pt x="183" y="664"/>
                    <a:pt x="183" y="626"/>
                  </a:cubicBezTo>
                  <a:cubicBezTo>
                    <a:pt x="183" y="595"/>
                    <a:pt x="137" y="595"/>
                    <a:pt x="122" y="565"/>
                  </a:cubicBezTo>
                  <a:cubicBezTo>
                    <a:pt x="114" y="549"/>
                    <a:pt x="129" y="527"/>
                    <a:pt x="129" y="504"/>
                  </a:cubicBezTo>
                  <a:cubicBezTo>
                    <a:pt x="114" y="465"/>
                    <a:pt x="99" y="435"/>
                    <a:pt x="84" y="404"/>
                  </a:cubicBezTo>
                  <a:lnTo>
                    <a:pt x="84" y="404"/>
                  </a:lnTo>
                  <a:cubicBezTo>
                    <a:pt x="68" y="374"/>
                    <a:pt x="38" y="343"/>
                    <a:pt x="38" y="305"/>
                  </a:cubicBezTo>
                  <a:cubicBezTo>
                    <a:pt x="38" y="274"/>
                    <a:pt x="84" y="252"/>
                    <a:pt x="91" y="213"/>
                  </a:cubicBezTo>
                  <a:cubicBezTo>
                    <a:pt x="99" y="190"/>
                    <a:pt x="84" y="160"/>
                    <a:pt x="76" y="129"/>
                  </a:cubicBezTo>
                  <a:cubicBezTo>
                    <a:pt x="76" y="129"/>
                    <a:pt x="122" y="84"/>
                    <a:pt x="129" y="84"/>
                  </a:cubicBezTo>
                  <a:cubicBezTo>
                    <a:pt x="137" y="84"/>
                    <a:pt x="236" y="137"/>
                    <a:pt x="236" y="137"/>
                  </a:cubicBezTo>
                  <a:cubicBezTo>
                    <a:pt x="236" y="107"/>
                    <a:pt x="229" y="68"/>
                    <a:pt x="244" y="45"/>
                  </a:cubicBezTo>
                  <a:cubicBezTo>
                    <a:pt x="267" y="15"/>
                    <a:pt x="305" y="15"/>
                    <a:pt x="34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" name="Freeform 73"/>
            <p:cNvSpPr>
              <a:spLocks noChangeArrowheads="1"/>
            </p:cNvSpPr>
            <p:nvPr/>
          </p:nvSpPr>
          <p:spPr bwMode="auto">
            <a:xfrm>
              <a:off x="7690937" y="8605838"/>
              <a:ext cx="82545" cy="63500"/>
            </a:xfrm>
            <a:custGeom>
              <a:avLst/>
              <a:gdLst>
                <a:gd name="T0" fmla="*/ 229 w 230"/>
                <a:gd name="T1" fmla="*/ 130 h 177"/>
                <a:gd name="T2" fmla="*/ 229 w 230"/>
                <a:gd name="T3" fmla="*/ 130 h 177"/>
                <a:gd name="T4" fmla="*/ 176 w 230"/>
                <a:gd name="T5" fmla="*/ 54 h 177"/>
                <a:gd name="T6" fmla="*/ 176 w 230"/>
                <a:gd name="T7" fmla="*/ 54 h 177"/>
                <a:gd name="T8" fmla="*/ 114 w 230"/>
                <a:gd name="T9" fmla="*/ 61 h 177"/>
                <a:gd name="T10" fmla="*/ 91 w 230"/>
                <a:gd name="T11" fmla="*/ 8 h 177"/>
                <a:gd name="T12" fmla="*/ 30 w 230"/>
                <a:gd name="T13" fmla="*/ 23 h 177"/>
                <a:gd name="T14" fmla="*/ 38 w 230"/>
                <a:gd name="T15" fmla="*/ 61 h 177"/>
                <a:gd name="T16" fmla="*/ 8 w 230"/>
                <a:gd name="T17" fmla="*/ 92 h 177"/>
                <a:gd name="T18" fmla="*/ 114 w 230"/>
                <a:gd name="T19" fmla="*/ 176 h 177"/>
                <a:gd name="T20" fmla="*/ 229 w 230"/>
                <a:gd name="T21" fmla="*/ 13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0" h="177">
                  <a:moveTo>
                    <a:pt x="229" y="130"/>
                  </a:moveTo>
                  <a:lnTo>
                    <a:pt x="229" y="130"/>
                  </a:lnTo>
                  <a:cubicBezTo>
                    <a:pt x="176" y="54"/>
                    <a:pt x="176" y="54"/>
                    <a:pt x="176" y="54"/>
                  </a:cubicBezTo>
                  <a:lnTo>
                    <a:pt x="176" y="54"/>
                  </a:lnTo>
                  <a:cubicBezTo>
                    <a:pt x="153" y="54"/>
                    <a:pt x="130" y="69"/>
                    <a:pt x="114" y="61"/>
                  </a:cubicBezTo>
                  <a:cubicBezTo>
                    <a:pt x="99" y="46"/>
                    <a:pt x="107" y="15"/>
                    <a:pt x="91" y="8"/>
                  </a:cubicBezTo>
                  <a:cubicBezTo>
                    <a:pt x="76" y="0"/>
                    <a:pt x="46" y="15"/>
                    <a:pt x="30" y="23"/>
                  </a:cubicBezTo>
                  <a:cubicBezTo>
                    <a:pt x="23" y="31"/>
                    <a:pt x="38" y="46"/>
                    <a:pt x="38" y="61"/>
                  </a:cubicBezTo>
                  <a:cubicBezTo>
                    <a:pt x="30" y="77"/>
                    <a:pt x="0" y="77"/>
                    <a:pt x="8" y="92"/>
                  </a:cubicBezTo>
                  <a:cubicBezTo>
                    <a:pt x="30" y="130"/>
                    <a:pt x="69" y="168"/>
                    <a:pt x="114" y="176"/>
                  </a:cubicBezTo>
                  <a:cubicBezTo>
                    <a:pt x="160" y="176"/>
                    <a:pt x="191" y="145"/>
                    <a:pt x="229" y="1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" name="Freeform 74"/>
            <p:cNvSpPr>
              <a:spLocks noChangeArrowheads="1"/>
            </p:cNvSpPr>
            <p:nvPr/>
          </p:nvSpPr>
          <p:spPr bwMode="auto">
            <a:xfrm>
              <a:off x="7549658" y="8440738"/>
              <a:ext cx="520666" cy="468312"/>
            </a:xfrm>
            <a:custGeom>
              <a:avLst/>
              <a:gdLst>
                <a:gd name="T0" fmla="*/ 619 w 1445"/>
                <a:gd name="T1" fmla="*/ 588 h 1299"/>
                <a:gd name="T2" fmla="*/ 619 w 1445"/>
                <a:gd name="T3" fmla="*/ 588 h 1299"/>
                <a:gd name="T4" fmla="*/ 566 w 1445"/>
                <a:gd name="T5" fmla="*/ 512 h 1299"/>
                <a:gd name="T6" fmla="*/ 566 w 1445"/>
                <a:gd name="T7" fmla="*/ 512 h 1299"/>
                <a:gd name="T8" fmla="*/ 520 w 1445"/>
                <a:gd name="T9" fmla="*/ 397 h 1299"/>
                <a:gd name="T10" fmla="*/ 520 w 1445"/>
                <a:gd name="T11" fmla="*/ 306 h 1299"/>
                <a:gd name="T12" fmla="*/ 596 w 1445"/>
                <a:gd name="T13" fmla="*/ 344 h 1299"/>
                <a:gd name="T14" fmla="*/ 665 w 1445"/>
                <a:gd name="T15" fmla="*/ 244 h 1299"/>
                <a:gd name="T16" fmla="*/ 833 w 1445"/>
                <a:gd name="T17" fmla="*/ 229 h 1299"/>
                <a:gd name="T18" fmla="*/ 848 w 1445"/>
                <a:gd name="T19" fmla="*/ 122 h 1299"/>
                <a:gd name="T20" fmla="*/ 902 w 1445"/>
                <a:gd name="T21" fmla="*/ 15 h 1299"/>
                <a:gd name="T22" fmla="*/ 902 w 1445"/>
                <a:gd name="T23" fmla="*/ 15 h 1299"/>
                <a:gd name="T24" fmla="*/ 955 w 1445"/>
                <a:gd name="T25" fmla="*/ 115 h 1299"/>
                <a:gd name="T26" fmla="*/ 1054 w 1445"/>
                <a:gd name="T27" fmla="*/ 15 h 1299"/>
                <a:gd name="T28" fmla="*/ 1169 w 1445"/>
                <a:gd name="T29" fmla="*/ 38 h 1299"/>
                <a:gd name="T30" fmla="*/ 1146 w 1445"/>
                <a:gd name="T31" fmla="*/ 137 h 1299"/>
                <a:gd name="T32" fmla="*/ 1238 w 1445"/>
                <a:gd name="T33" fmla="*/ 198 h 1299"/>
                <a:gd name="T34" fmla="*/ 1238 w 1445"/>
                <a:gd name="T35" fmla="*/ 198 h 1299"/>
                <a:gd name="T36" fmla="*/ 1291 w 1445"/>
                <a:gd name="T37" fmla="*/ 260 h 1299"/>
                <a:gd name="T38" fmla="*/ 1329 w 1445"/>
                <a:gd name="T39" fmla="*/ 382 h 1299"/>
                <a:gd name="T40" fmla="*/ 1345 w 1445"/>
                <a:gd name="T41" fmla="*/ 504 h 1299"/>
                <a:gd name="T42" fmla="*/ 1421 w 1445"/>
                <a:gd name="T43" fmla="*/ 519 h 1299"/>
                <a:gd name="T44" fmla="*/ 1406 w 1445"/>
                <a:gd name="T45" fmla="*/ 680 h 1299"/>
                <a:gd name="T46" fmla="*/ 1345 w 1445"/>
                <a:gd name="T47" fmla="*/ 741 h 1299"/>
                <a:gd name="T48" fmla="*/ 1184 w 1445"/>
                <a:gd name="T49" fmla="*/ 787 h 1299"/>
                <a:gd name="T50" fmla="*/ 1115 w 1445"/>
                <a:gd name="T51" fmla="*/ 947 h 1299"/>
                <a:gd name="T52" fmla="*/ 1161 w 1445"/>
                <a:gd name="T53" fmla="*/ 1085 h 1299"/>
                <a:gd name="T54" fmla="*/ 1161 w 1445"/>
                <a:gd name="T55" fmla="*/ 1085 h 1299"/>
                <a:gd name="T56" fmla="*/ 1093 w 1445"/>
                <a:gd name="T57" fmla="*/ 1062 h 1299"/>
                <a:gd name="T58" fmla="*/ 932 w 1445"/>
                <a:gd name="T59" fmla="*/ 1069 h 1299"/>
                <a:gd name="T60" fmla="*/ 902 w 1445"/>
                <a:gd name="T61" fmla="*/ 1115 h 1299"/>
                <a:gd name="T62" fmla="*/ 795 w 1445"/>
                <a:gd name="T63" fmla="*/ 1184 h 1299"/>
                <a:gd name="T64" fmla="*/ 695 w 1445"/>
                <a:gd name="T65" fmla="*/ 1192 h 1299"/>
                <a:gd name="T66" fmla="*/ 581 w 1445"/>
                <a:gd name="T67" fmla="*/ 1245 h 1299"/>
                <a:gd name="T68" fmla="*/ 474 w 1445"/>
                <a:gd name="T69" fmla="*/ 1253 h 1299"/>
                <a:gd name="T70" fmla="*/ 436 w 1445"/>
                <a:gd name="T71" fmla="*/ 1215 h 1299"/>
                <a:gd name="T72" fmla="*/ 405 w 1445"/>
                <a:gd name="T73" fmla="*/ 1283 h 1299"/>
                <a:gd name="T74" fmla="*/ 405 w 1445"/>
                <a:gd name="T75" fmla="*/ 1283 h 1299"/>
                <a:gd name="T76" fmla="*/ 359 w 1445"/>
                <a:gd name="T77" fmla="*/ 1283 h 1299"/>
                <a:gd name="T78" fmla="*/ 329 w 1445"/>
                <a:gd name="T79" fmla="*/ 1146 h 1299"/>
                <a:gd name="T80" fmla="*/ 382 w 1445"/>
                <a:gd name="T81" fmla="*/ 1100 h 1299"/>
                <a:gd name="T82" fmla="*/ 314 w 1445"/>
                <a:gd name="T83" fmla="*/ 1069 h 1299"/>
                <a:gd name="T84" fmla="*/ 291 w 1445"/>
                <a:gd name="T85" fmla="*/ 955 h 1299"/>
                <a:gd name="T86" fmla="*/ 123 w 1445"/>
                <a:gd name="T87" fmla="*/ 886 h 1299"/>
                <a:gd name="T88" fmla="*/ 100 w 1445"/>
                <a:gd name="T89" fmla="*/ 787 h 1299"/>
                <a:gd name="T90" fmla="*/ 31 w 1445"/>
                <a:gd name="T91" fmla="*/ 726 h 1299"/>
                <a:gd name="T92" fmla="*/ 8 w 1445"/>
                <a:gd name="T93" fmla="*/ 680 h 1299"/>
                <a:gd name="T94" fmla="*/ 77 w 1445"/>
                <a:gd name="T95" fmla="*/ 649 h 1299"/>
                <a:gd name="T96" fmla="*/ 130 w 1445"/>
                <a:gd name="T97" fmla="*/ 741 h 1299"/>
                <a:gd name="T98" fmla="*/ 237 w 1445"/>
                <a:gd name="T99" fmla="*/ 771 h 1299"/>
                <a:gd name="T100" fmla="*/ 306 w 1445"/>
                <a:gd name="T101" fmla="*/ 733 h 1299"/>
                <a:gd name="T102" fmla="*/ 306 w 1445"/>
                <a:gd name="T103" fmla="*/ 733 h 1299"/>
                <a:gd name="T104" fmla="*/ 352 w 1445"/>
                <a:gd name="T105" fmla="*/ 779 h 1299"/>
                <a:gd name="T106" fmla="*/ 390 w 1445"/>
                <a:gd name="T107" fmla="*/ 756 h 1299"/>
                <a:gd name="T108" fmla="*/ 413 w 1445"/>
                <a:gd name="T109" fmla="*/ 687 h 1299"/>
                <a:gd name="T110" fmla="*/ 436 w 1445"/>
                <a:gd name="T111" fmla="*/ 665 h 1299"/>
                <a:gd name="T112" fmla="*/ 543 w 1445"/>
                <a:gd name="T113" fmla="*/ 703 h 1299"/>
                <a:gd name="T114" fmla="*/ 627 w 1445"/>
                <a:gd name="T115" fmla="*/ 718 h 1299"/>
                <a:gd name="T116" fmla="*/ 634 w 1445"/>
                <a:gd name="T117" fmla="*/ 680 h 1299"/>
                <a:gd name="T118" fmla="*/ 619 w 1445"/>
                <a:gd name="T119" fmla="*/ 58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45" h="1299">
                  <a:moveTo>
                    <a:pt x="619" y="588"/>
                  </a:moveTo>
                  <a:lnTo>
                    <a:pt x="619" y="588"/>
                  </a:lnTo>
                  <a:cubicBezTo>
                    <a:pt x="566" y="512"/>
                    <a:pt x="566" y="512"/>
                    <a:pt x="566" y="512"/>
                  </a:cubicBezTo>
                  <a:lnTo>
                    <a:pt x="566" y="512"/>
                  </a:lnTo>
                  <a:cubicBezTo>
                    <a:pt x="550" y="473"/>
                    <a:pt x="527" y="435"/>
                    <a:pt x="520" y="397"/>
                  </a:cubicBezTo>
                  <a:cubicBezTo>
                    <a:pt x="512" y="367"/>
                    <a:pt x="497" y="321"/>
                    <a:pt x="520" y="306"/>
                  </a:cubicBezTo>
                  <a:cubicBezTo>
                    <a:pt x="543" y="290"/>
                    <a:pt x="566" y="351"/>
                    <a:pt x="596" y="344"/>
                  </a:cubicBezTo>
                  <a:cubicBezTo>
                    <a:pt x="627" y="321"/>
                    <a:pt x="627" y="260"/>
                    <a:pt x="665" y="244"/>
                  </a:cubicBezTo>
                  <a:cubicBezTo>
                    <a:pt x="718" y="221"/>
                    <a:pt x="787" y="260"/>
                    <a:pt x="833" y="229"/>
                  </a:cubicBezTo>
                  <a:cubicBezTo>
                    <a:pt x="863" y="214"/>
                    <a:pt x="841" y="160"/>
                    <a:pt x="848" y="122"/>
                  </a:cubicBezTo>
                  <a:cubicBezTo>
                    <a:pt x="863" y="84"/>
                    <a:pt x="886" y="54"/>
                    <a:pt x="902" y="15"/>
                  </a:cubicBezTo>
                  <a:lnTo>
                    <a:pt x="902" y="15"/>
                  </a:lnTo>
                  <a:cubicBezTo>
                    <a:pt x="925" y="46"/>
                    <a:pt x="925" y="115"/>
                    <a:pt x="955" y="115"/>
                  </a:cubicBezTo>
                  <a:cubicBezTo>
                    <a:pt x="1009" y="115"/>
                    <a:pt x="1016" y="31"/>
                    <a:pt x="1054" y="15"/>
                  </a:cubicBezTo>
                  <a:cubicBezTo>
                    <a:pt x="1093" y="0"/>
                    <a:pt x="1146" y="8"/>
                    <a:pt x="1169" y="38"/>
                  </a:cubicBezTo>
                  <a:cubicBezTo>
                    <a:pt x="1192" y="61"/>
                    <a:pt x="1138" y="107"/>
                    <a:pt x="1146" y="137"/>
                  </a:cubicBezTo>
                  <a:cubicBezTo>
                    <a:pt x="1161" y="168"/>
                    <a:pt x="1207" y="176"/>
                    <a:pt x="1238" y="198"/>
                  </a:cubicBezTo>
                  <a:lnTo>
                    <a:pt x="1238" y="198"/>
                  </a:lnTo>
                  <a:cubicBezTo>
                    <a:pt x="1253" y="214"/>
                    <a:pt x="1284" y="237"/>
                    <a:pt x="1291" y="260"/>
                  </a:cubicBezTo>
                  <a:cubicBezTo>
                    <a:pt x="1314" y="298"/>
                    <a:pt x="1322" y="336"/>
                    <a:pt x="1329" y="382"/>
                  </a:cubicBezTo>
                  <a:cubicBezTo>
                    <a:pt x="1337" y="420"/>
                    <a:pt x="1322" y="473"/>
                    <a:pt x="1345" y="504"/>
                  </a:cubicBezTo>
                  <a:cubicBezTo>
                    <a:pt x="1360" y="527"/>
                    <a:pt x="1413" y="496"/>
                    <a:pt x="1421" y="519"/>
                  </a:cubicBezTo>
                  <a:cubicBezTo>
                    <a:pt x="1444" y="565"/>
                    <a:pt x="1421" y="626"/>
                    <a:pt x="1406" y="680"/>
                  </a:cubicBezTo>
                  <a:cubicBezTo>
                    <a:pt x="1398" y="703"/>
                    <a:pt x="1375" y="733"/>
                    <a:pt x="1345" y="741"/>
                  </a:cubicBezTo>
                  <a:cubicBezTo>
                    <a:pt x="1299" y="764"/>
                    <a:pt x="1223" y="748"/>
                    <a:pt x="1184" y="787"/>
                  </a:cubicBezTo>
                  <a:cubicBezTo>
                    <a:pt x="1138" y="825"/>
                    <a:pt x="1115" y="886"/>
                    <a:pt x="1115" y="947"/>
                  </a:cubicBezTo>
                  <a:cubicBezTo>
                    <a:pt x="1108" y="993"/>
                    <a:pt x="1146" y="1039"/>
                    <a:pt x="1161" y="1085"/>
                  </a:cubicBezTo>
                  <a:lnTo>
                    <a:pt x="1161" y="1085"/>
                  </a:lnTo>
                  <a:cubicBezTo>
                    <a:pt x="1138" y="1077"/>
                    <a:pt x="1115" y="1069"/>
                    <a:pt x="1093" y="1062"/>
                  </a:cubicBezTo>
                  <a:cubicBezTo>
                    <a:pt x="1093" y="1062"/>
                    <a:pt x="948" y="1069"/>
                    <a:pt x="932" y="1069"/>
                  </a:cubicBezTo>
                  <a:cubicBezTo>
                    <a:pt x="925" y="1069"/>
                    <a:pt x="902" y="1115"/>
                    <a:pt x="902" y="1115"/>
                  </a:cubicBezTo>
                  <a:cubicBezTo>
                    <a:pt x="863" y="1138"/>
                    <a:pt x="833" y="1169"/>
                    <a:pt x="795" y="1184"/>
                  </a:cubicBezTo>
                  <a:cubicBezTo>
                    <a:pt x="764" y="1192"/>
                    <a:pt x="734" y="1184"/>
                    <a:pt x="695" y="1192"/>
                  </a:cubicBezTo>
                  <a:cubicBezTo>
                    <a:pt x="657" y="1207"/>
                    <a:pt x="619" y="1237"/>
                    <a:pt x="581" y="1245"/>
                  </a:cubicBezTo>
                  <a:cubicBezTo>
                    <a:pt x="550" y="1253"/>
                    <a:pt x="512" y="1260"/>
                    <a:pt x="474" y="1253"/>
                  </a:cubicBezTo>
                  <a:cubicBezTo>
                    <a:pt x="459" y="1245"/>
                    <a:pt x="451" y="1207"/>
                    <a:pt x="436" y="1215"/>
                  </a:cubicBezTo>
                  <a:cubicBezTo>
                    <a:pt x="405" y="1222"/>
                    <a:pt x="413" y="1260"/>
                    <a:pt x="405" y="1283"/>
                  </a:cubicBezTo>
                  <a:lnTo>
                    <a:pt x="405" y="1283"/>
                  </a:lnTo>
                  <a:cubicBezTo>
                    <a:pt x="390" y="1283"/>
                    <a:pt x="367" y="1298"/>
                    <a:pt x="359" y="1283"/>
                  </a:cubicBezTo>
                  <a:cubicBezTo>
                    <a:pt x="329" y="1245"/>
                    <a:pt x="321" y="1192"/>
                    <a:pt x="329" y="1146"/>
                  </a:cubicBezTo>
                  <a:cubicBezTo>
                    <a:pt x="329" y="1123"/>
                    <a:pt x="390" y="1130"/>
                    <a:pt x="382" y="1100"/>
                  </a:cubicBezTo>
                  <a:cubicBezTo>
                    <a:pt x="382" y="1077"/>
                    <a:pt x="329" y="1092"/>
                    <a:pt x="314" y="1069"/>
                  </a:cubicBezTo>
                  <a:cubicBezTo>
                    <a:pt x="291" y="1039"/>
                    <a:pt x="321" y="985"/>
                    <a:pt x="291" y="955"/>
                  </a:cubicBezTo>
                  <a:cubicBezTo>
                    <a:pt x="252" y="917"/>
                    <a:pt x="168" y="924"/>
                    <a:pt x="123" y="886"/>
                  </a:cubicBezTo>
                  <a:cubicBezTo>
                    <a:pt x="100" y="863"/>
                    <a:pt x="115" y="817"/>
                    <a:pt x="100" y="787"/>
                  </a:cubicBezTo>
                  <a:cubicBezTo>
                    <a:pt x="84" y="764"/>
                    <a:pt x="54" y="748"/>
                    <a:pt x="31" y="726"/>
                  </a:cubicBezTo>
                  <a:cubicBezTo>
                    <a:pt x="23" y="710"/>
                    <a:pt x="0" y="695"/>
                    <a:pt x="8" y="680"/>
                  </a:cubicBezTo>
                  <a:cubicBezTo>
                    <a:pt x="16" y="657"/>
                    <a:pt x="54" y="634"/>
                    <a:pt x="77" y="649"/>
                  </a:cubicBezTo>
                  <a:cubicBezTo>
                    <a:pt x="107" y="665"/>
                    <a:pt x="100" y="718"/>
                    <a:pt x="130" y="741"/>
                  </a:cubicBezTo>
                  <a:cubicBezTo>
                    <a:pt x="161" y="764"/>
                    <a:pt x="199" y="779"/>
                    <a:pt x="237" y="771"/>
                  </a:cubicBezTo>
                  <a:cubicBezTo>
                    <a:pt x="268" y="771"/>
                    <a:pt x="283" y="748"/>
                    <a:pt x="306" y="733"/>
                  </a:cubicBezTo>
                  <a:lnTo>
                    <a:pt x="306" y="733"/>
                  </a:lnTo>
                  <a:cubicBezTo>
                    <a:pt x="321" y="748"/>
                    <a:pt x="329" y="771"/>
                    <a:pt x="352" y="779"/>
                  </a:cubicBezTo>
                  <a:cubicBezTo>
                    <a:pt x="367" y="779"/>
                    <a:pt x="382" y="771"/>
                    <a:pt x="390" y="756"/>
                  </a:cubicBezTo>
                  <a:cubicBezTo>
                    <a:pt x="405" y="741"/>
                    <a:pt x="405" y="710"/>
                    <a:pt x="413" y="687"/>
                  </a:cubicBezTo>
                  <a:cubicBezTo>
                    <a:pt x="420" y="680"/>
                    <a:pt x="428" y="665"/>
                    <a:pt x="436" y="665"/>
                  </a:cubicBezTo>
                  <a:cubicBezTo>
                    <a:pt x="474" y="665"/>
                    <a:pt x="504" y="687"/>
                    <a:pt x="543" y="703"/>
                  </a:cubicBezTo>
                  <a:cubicBezTo>
                    <a:pt x="573" y="710"/>
                    <a:pt x="604" y="726"/>
                    <a:pt x="627" y="718"/>
                  </a:cubicBezTo>
                  <a:cubicBezTo>
                    <a:pt x="642" y="718"/>
                    <a:pt x="634" y="695"/>
                    <a:pt x="634" y="680"/>
                  </a:cubicBezTo>
                  <a:cubicBezTo>
                    <a:pt x="634" y="649"/>
                    <a:pt x="627" y="619"/>
                    <a:pt x="619" y="58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" name="Freeform 75"/>
            <p:cNvSpPr>
              <a:spLocks noChangeArrowheads="1"/>
            </p:cNvSpPr>
            <p:nvPr/>
          </p:nvSpPr>
          <p:spPr bwMode="auto">
            <a:xfrm>
              <a:off x="7313137" y="8415339"/>
              <a:ext cx="393674" cy="585787"/>
            </a:xfrm>
            <a:custGeom>
              <a:avLst/>
              <a:gdLst>
                <a:gd name="T0" fmla="*/ 23 w 1094"/>
                <a:gd name="T1" fmla="*/ 199 h 1628"/>
                <a:gd name="T2" fmla="*/ 161 w 1094"/>
                <a:gd name="T3" fmla="*/ 77 h 1628"/>
                <a:gd name="T4" fmla="*/ 283 w 1094"/>
                <a:gd name="T5" fmla="*/ 23 h 1628"/>
                <a:gd name="T6" fmla="*/ 405 w 1094"/>
                <a:gd name="T7" fmla="*/ 123 h 1628"/>
                <a:gd name="T8" fmla="*/ 444 w 1094"/>
                <a:gd name="T9" fmla="*/ 214 h 1628"/>
                <a:gd name="T10" fmla="*/ 604 w 1094"/>
                <a:gd name="T11" fmla="*/ 405 h 1628"/>
                <a:gd name="T12" fmla="*/ 772 w 1094"/>
                <a:gd name="T13" fmla="*/ 420 h 1628"/>
                <a:gd name="T14" fmla="*/ 757 w 1094"/>
                <a:gd name="T15" fmla="*/ 451 h 1628"/>
                <a:gd name="T16" fmla="*/ 780 w 1094"/>
                <a:gd name="T17" fmla="*/ 611 h 1628"/>
                <a:gd name="T18" fmla="*/ 963 w 1094"/>
                <a:gd name="T19" fmla="*/ 802 h 1628"/>
                <a:gd name="T20" fmla="*/ 894 w 1094"/>
                <a:gd name="T21" fmla="*/ 840 h 1628"/>
                <a:gd name="T22" fmla="*/ 734 w 1094"/>
                <a:gd name="T23" fmla="*/ 718 h 1628"/>
                <a:gd name="T24" fmla="*/ 688 w 1094"/>
                <a:gd name="T25" fmla="*/ 795 h 1628"/>
                <a:gd name="T26" fmla="*/ 780 w 1094"/>
                <a:gd name="T27" fmla="*/ 955 h 1628"/>
                <a:gd name="T28" fmla="*/ 971 w 1094"/>
                <a:gd name="T29" fmla="*/ 1138 h 1628"/>
                <a:gd name="T30" fmla="*/ 986 w 1094"/>
                <a:gd name="T31" fmla="*/ 1215 h 1628"/>
                <a:gd name="T32" fmla="*/ 1062 w 1094"/>
                <a:gd name="T33" fmla="*/ 1352 h 1628"/>
                <a:gd name="T34" fmla="*/ 1093 w 1094"/>
                <a:gd name="T35" fmla="*/ 1444 h 1628"/>
                <a:gd name="T36" fmla="*/ 1085 w 1094"/>
                <a:gd name="T37" fmla="*/ 1559 h 1628"/>
                <a:gd name="T38" fmla="*/ 1070 w 1094"/>
                <a:gd name="T39" fmla="*/ 1612 h 1628"/>
                <a:gd name="T40" fmla="*/ 1009 w 1094"/>
                <a:gd name="T41" fmla="*/ 1566 h 1628"/>
                <a:gd name="T42" fmla="*/ 917 w 1094"/>
                <a:gd name="T43" fmla="*/ 1528 h 1628"/>
                <a:gd name="T44" fmla="*/ 818 w 1094"/>
                <a:gd name="T45" fmla="*/ 1536 h 1628"/>
                <a:gd name="T46" fmla="*/ 841 w 1094"/>
                <a:gd name="T47" fmla="*/ 1597 h 1628"/>
                <a:gd name="T48" fmla="*/ 741 w 1094"/>
                <a:gd name="T49" fmla="*/ 1566 h 1628"/>
                <a:gd name="T50" fmla="*/ 719 w 1094"/>
                <a:gd name="T51" fmla="*/ 1406 h 1628"/>
                <a:gd name="T52" fmla="*/ 596 w 1094"/>
                <a:gd name="T53" fmla="*/ 1459 h 1628"/>
                <a:gd name="T54" fmla="*/ 527 w 1094"/>
                <a:gd name="T55" fmla="*/ 1490 h 1628"/>
                <a:gd name="T56" fmla="*/ 436 w 1094"/>
                <a:gd name="T57" fmla="*/ 1482 h 1628"/>
                <a:gd name="T58" fmla="*/ 352 w 1094"/>
                <a:gd name="T59" fmla="*/ 1314 h 1628"/>
                <a:gd name="T60" fmla="*/ 337 w 1094"/>
                <a:gd name="T61" fmla="*/ 1245 h 1628"/>
                <a:gd name="T62" fmla="*/ 413 w 1094"/>
                <a:gd name="T63" fmla="*/ 1062 h 1628"/>
                <a:gd name="T64" fmla="*/ 298 w 1094"/>
                <a:gd name="T65" fmla="*/ 863 h 1628"/>
                <a:gd name="T66" fmla="*/ 46 w 1094"/>
                <a:gd name="T67" fmla="*/ 795 h 1628"/>
                <a:gd name="T68" fmla="*/ 146 w 1094"/>
                <a:gd name="T69" fmla="*/ 657 h 1628"/>
                <a:gd name="T70" fmla="*/ 123 w 1094"/>
                <a:gd name="T71" fmla="*/ 375 h 1628"/>
                <a:gd name="T72" fmla="*/ 123 w 1094"/>
                <a:gd name="T73" fmla="*/ 229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4" h="1628">
                  <a:moveTo>
                    <a:pt x="23" y="199"/>
                  </a:moveTo>
                  <a:lnTo>
                    <a:pt x="23" y="199"/>
                  </a:lnTo>
                  <a:cubicBezTo>
                    <a:pt x="23" y="176"/>
                    <a:pt x="0" y="138"/>
                    <a:pt x="23" y="115"/>
                  </a:cubicBezTo>
                  <a:cubicBezTo>
                    <a:pt x="62" y="84"/>
                    <a:pt x="115" y="100"/>
                    <a:pt x="161" y="77"/>
                  </a:cubicBezTo>
                  <a:cubicBezTo>
                    <a:pt x="169" y="77"/>
                    <a:pt x="161" y="54"/>
                    <a:pt x="169" y="54"/>
                  </a:cubicBezTo>
                  <a:cubicBezTo>
                    <a:pt x="199" y="31"/>
                    <a:pt x="245" y="0"/>
                    <a:pt x="283" y="23"/>
                  </a:cubicBezTo>
                  <a:cubicBezTo>
                    <a:pt x="329" y="46"/>
                    <a:pt x="306" y="130"/>
                    <a:pt x="352" y="168"/>
                  </a:cubicBezTo>
                  <a:cubicBezTo>
                    <a:pt x="367" y="184"/>
                    <a:pt x="390" y="138"/>
                    <a:pt x="405" y="123"/>
                  </a:cubicBezTo>
                  <a:lnTo>
                    <a:pt x="405" y="123"/>
                  </a:lnTo>
                  <a:cubicBezTo>
                    <a:pt x="421" y="153"/>
                    <a:pt x="428" y="184"/>
                    <a:pt x="444" y="214"/>
                  </a:cubicBezTo>
                  <a:cubicBezTo>
                    <a:pt x="451" y="245"/>
                    <a:pt x="459" y="283"/>
                    <a:pt x="482" y="306"/>
                  </a:cubicBezTo>
                  <a:cubicBezTo>
                    <a:pt x="512" y="344"/>
                    <a:pt x="550" y="390"/>
                    <a:pt x="604" y="405"/>
                  </a:cubicBezTo>
                  <a:cubicBezTo>
                    <a:pt x="627" y="413"/>
                    <a:pt x="650" y="367"/>
                    <a:pt x="680" y="367"/>
                  </a:cubicBezTo>
                  <a:cubicBezTo>
                    <a:pt x="711" y="375"/>
                    <a:pt x="741" y="405"/>
                    <a:pt x="772" y="420"/>
                  </a:cubicBezTo>
                  <a:lnTo>
                    <a:pt x="772" y="420"/>
                  </a:lnTo>
                  <a:cubicBezTo>
                    <a:pt x="764" y="428"/>
                    <a:pt x="764" y="443"/>
                    <a:pt x="757" y="451"/>
                  </a:cubicBezTo>
                  <a:cubicBezTo>
                    <a:pt x="741" y="489"/>
                    <a:pt x="696" y="520"/>
                    <a:pt x="703" y="565"/>
                  </a:cubicBezTo>
                  <a:cubicBezTo>
                    <a:pt x="703" y="596"/>
                    <a:pt x="749" y="596"/>
                    <a:pt x="780" y="611"/>
                  </a:cubicBezTo>
                  <a:cubicBezTo>
                    <a:pt x="818" y="634"/>
                    <a:pt x="871" y="642"/>
                    <a:pt x="909" y="672"/>
                  </a:cubicBezTo>
                  <a:cubicBezTo>
                    <a:pt x="940" y="703"/>
                    <a:pt x="948" y="756"/>
                    <a:pt x="963" y="802"/>
                  </a:cubicBezTo>
                  <a:lnTo>
                    <a:pt x="963" y="802"/>
                  </a:lnTo>
                  <a:cubicBezTo>
                    <a:pt x="940" y="817"/>
                    <a:pt x="925" y="840"/>
                    <a:pt x="894" y="840"/>
                  </a:cubicBezTo>
                  <a:cubicBezTo>
                    <a:pt x="856" y="848"/>
                    <a:pt x="818" y="833"/>
                    <a:pt x="787" y="810"/>
                  </a:cubicBezTo>
                  <a:cubicBezTo>
                    <a:pt x="757" y="787"/>
                    <a:pt x="764" y="734"/>
                    <a:pt x="734" y="718"/>
                  </a:cubicBezTo>
                  <a:cubicBezTo>
                    <a:pt x="711" y="703"/>
                    <a:pt x="673" y="726"/>
                    <a:pt x="665" y="749"/>
                  </a:cubicBezTo>
                  <a:cubicBezTo>
                    <a:pt x="657" y="764"/>
                    <a:pt x="680" y="779"/>
                    <a:pt x="688" y="795"/>
                  </a:cubicBezTo>
                  <a:cubicBezTo>
                    <a:pt x="711" y="817"/>
                    <a:pt x="741" y="833"/>
                    <a:pt x="757" y="856"/>
                  </a:cubicBezTo>
                  <a:cubicBezTo>
                    <a:pt x="772" y="886"/>
                    <a:pt x="757" y="932"/>
                    <a:pt x="780" y="955"/>
                  </a:cubicBezTo>
                  <a:cubicBezTo>
                    <a:pt x="825" y="993"/>
                    <a:pt x="909" y="986"/>
                    <a:pt x="948" y="1024"/>
                  </a:cubicBezTo>
                  <a:cubicBezTo>
                    <a:pt x="978" y="1054"/>
                    <a:pt x="948" y="1108"/>
                    <a:pt x="971" y="1138"/>
                  </a:cubicBezTo>
                  <a:cubicBezTo>
                    <a:pt x="986" y="1161"/>
                    <a:pt x="1039" y="1146"/>
                    <a:pt x="1039" y="1169"/>
                  </a:cubicBezTo>
                  <a:cubicBezTo>
                    <a:pt x="1047" y="1199"/>
                    <a:pt x="986" y="1192"/>
                    <a:pt x="986" y="1215"/>
                  </a:cubicBezTo>
                  <a:cubicBezTo>
                    <a:pt x="978" y="1261"/>
                    <a:pt x="986" y="1314"/>
                    <a:pt x="1016" y="1352"/>
                  </a:cubicBezTo>
                  <a:cubicBezTo>
                    <a:pt x="1024" y="1367"/>
                    <a:pt x="1047" y="1352"/>
                    <a:pt x="1062" y="1352"/>
                  </a:cubicBezTo>
                  <a:lnTo>
                    <a:pt x="1062" y="1352"/>
                  </a:lnTo>
                  <a:cubicBezTo>
                    <a:pt x="1070" y="1383"/>
                    <a:pt x="1093" y="1413"/>
                    <a:pt x="1093" y="1444"/>
                  </a:cubicBezTo>
                  <a:cubicBezTo>
                    <a:pt x="1093" y="1459"/>
                    <a:pt x="1070" y="1474"/>
                    <a:pt x="1070" y="1490"/>
                  </a:cubicBezTo>
                  <a:cubicBezTo>
                    <a:pt x="1070" y="1513"/>
                    <a:pt x="1085" y="1536"/>
                    <a:pt x="1085" y="1559"/>
                  </a:cubicBezTo>
                  <a:cubicBezTo>
                    <a:pt x="1085" y="1574"/>
                    <a:pt x="1077" y="1597"/>
                    <a:pt x="1070" y="1612"/>
                  </a:cubicBezTo>
                  <a:lnTo>
                    <a:pt x="1070" y="1612"/>
                  </a:lnTo>
                  <a:cubicBezTo>
                    <a:pt x="1047" y="1612"/>
                    <a:pt x="1032" y="1620"/>
                    <a:pt x="1016" y="1604"/>
                  </a:cubicBezTo>
                  <a:cubicBezTo>
                    <a:pt x="1001" y="1597"/>
                    <a:pt x="1016" y="1574"/>
                    <a:pt x="1009" y="1566"/>
                  </a:cubicBezTo>
                  <a:cubicBezTo>
                    <a:pt x="994" y="1543"/>
                    <a:pt x="971" y="1528"/>
                    <a:pt x="948" y="1520"/>
                  </a:cubicBezTo>
                  <a:cubicBezTo>
                    <a:pt x="940" y="1520"/>
                    <a:pt x="925" y="1528"/>
                    <a:pt x="917" y="1528"/>
                  </a:cubicBezTo>
                  <a:cubicBezTo>
                    <a:pt x="894" y="1528"/>
                    <a:pt x="871" y="1505"/>
                    <a:pt x="848" y="1505"/>
                  </a:cubicBezTo>
                  <a:cubicBezTo>
                    <a:pt x="833" y="1505"/>
                    <a:pt x="818" y="1520"/>
                    <a:pt x="818" y="1536"/>
                  </a:cubicBezTo>
                  <a:cubicBezTo>
                    <a:pt x="810" y="1559"/>
                    <a:pt x="833" y="1581"/>
                    <a:pt x="841" y="1597"/>
                  </a:cubicBezTo>
                  <a:lnTo>
                    <a:pt x="841" y="1597"/>
                  </a:lnTo>
                  <a:cubicBezTo>
                    <a:pt x="833" y="1604"/>
                    <a:pt x="833" y="1627"/>
                    <a:pt x="825" y="1627"/>
                  </a:cubicBezTo>
                  <a:cubicBezTo>
                    <a:pt x="795" y="1612"/>
                    <a:pt x="757" y="1597"/>
                    <a:pt x="741" y="1566"/>
                  </a:cubicBezTo>
                  <a:cubicBezTo>
                    <a:pt x="726" y="1528"/>
                    <a:pt x="764" y="1482"/>
                    <a:pt x="764" y="1436"/>
                  </a:cubicBezTo>
                  <a:cubicBezTo>
                    <a:pt x="757" y="1421"/>
                    <a:pt x="741" y="1406"/>
                    <a:pt x="719" y="1406"/>
                  </a:cubicBezTo>
                  <a:cubicBezTo>
                    <a:pt x="696" y="1406"/>
                    <a:pt x="673" y="1421"/>
                    <a:pt x="642" y="1436"/>
                  </a:cubicBezTo>
                  <a:cubicBezTo>
                    <a:pt x="627" y="1436"/>
                    <a:pt x="612" y="1451"/>
                    <a:pt x="596" y="1459"/>
                  </a:cubicBezTo>
                  <a:cubicBezTo>
                    <a:pt x="573" y="1467"/>
                    <a:pt x="550" y="1482"/>
                    <a:pt x="527" y="1490"/>
                  </a:cubicBezTo>
                  <a:lnTo>
                    <a:pt x="527" y="1490"/>
                  </a:lnTo>
                  <a:cubicBezTo>
                    <a:pt x="512" y="1474"/>
                    <a:pt x="505" y="1436"/>
                    <a:pt x="482" y="1436"/>
                  </a:cubicBezTo>
                  <a:cubicBezTo>
                    <a:pt x="459" y="1436"/>
                    <a:pt x="451" y="1467"/>
                    <a:pt x="436" y="1482"/>
                  </a:cubicBezTo>
                  <a:lnTo>
                    <a:pt x="436" y="1482"/>
                  </a:lnTo>
                  <a:cubicBezTo>
                    <a:pt x="405" y="1429"/>
                    <a:pt x="367" y="1375"/>
                    <a:pt x="352" y="1314"/>
                  </a:cubicBezTo>
                  <a:cubicBezTo>
                    <a:pt x="344" y="1291"/>
                    <a:pt x="390" y="1276"/>
                    <a:pt x="382" y="1253"/>
                  </a:cubicBezTo>
                  <a:cubicBezTo>
                    <a:pt x="375" y="1238"/>
                    <a:pt x="337" y="1261"/>
                    <a:pt x="337" y="1245"/>
                  </a:cubicBezTo>
                  <a:cubicBezTo>
                    <a:pt x="321" y="1215"/>
                    <a:pt x="321" y="1169"/>
                    <a:pt x="337" y="1138"/>
                  </a:cubicBezTo>
                  <a:cubicBezTo>
                    <a:pt x="352" y="1108"/>
                    <a:pt x="398" y="1100"/>
                    <a:pt x="413" y="1062"/>
                  </a:cubicBezTo>
                  <a:cubicBezTo>
                    <a:pt x="428" y="1024"/>
                    <a:pt x="436" y="978"/>
                    <a:pt x="413" y="940"/>
                  </a:cubicBezTo>
                  <a:cubicBezTo>
                    <a:pt x="390" y="902"/>
                    <a:pt x="344" y="879"/>
                    <a:pt x="298" y="863"/>
                  </a:cubicBezTo>
                  <a:cubicBezTo>
                    <a:pt x="260" y="856"/>
                    <a:pt x="214" y="894"/>
                    <a:pt x="176" y="879"/>
                  </a:cubicBezTo>
                  <a:cubicBezTo>
                    <a:pt x="130" y="863"/>
                    <a:pt x="77" y="840"/>
                    <a:pt x="46" y="795"/>
                  </a:cubicBezTo>
                  <a:cubicBezTo>
                    <a:pt x="23" y="756"/>
                    <a:pt x="8" y="688"/>
                    <a:pt x="31" y="650"/>
                  </a:cubicBezTo>
                  <a:cubicBezTo>
                    <a:pt x="54" y="619"/>
                    <a:pt x="130" y="688"/>
                    <a:pt x="146" y="657"/>
                  </a:cubicBezTo>
                  <a:cubicBezTo>
                    <a:pt x="161" y="611"/>
                    <a:pt x="92" y="565"/>
                    <a:pt x="92" y="520"/>
                  </a:cubicBezTo>
                  <a:cubicBezTo>
                    <a:pt x="85" y="466"/>
                    <a:pt x="123" y="428"/>
                    <a:pt x="123" y="375"/>
                  </a:cubicBezTo>
                  <a:cubicBezTo>
                    <a:pt x="123" y="359"/>
                    <a:pt x="85" y="382"/>
                    <a:pt x="85" y="367"/>
                  </a:cubicBezTo>
                  <a:cubicBezTo>
                    <a:pt x="85" y="321"/>
                    <a:pt x="138" y="275"/>
                    <a:pt x="123" y="229"/>
                  </a:cubicBezTo>
                  <a:cubicBezTo>
                    <a:pt x="108" y="199"/>
                    <a:pt x="54" y="206"/>
                    <a:pt x="23" y="19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" name="Freeform 76"/>
            <p:cNvSpPr>
              <a:spLocks noChangeArrowheads="1"/>
            </p:cNvSpPr>
            <p:nvPr/>
          </p:nvSpPr>
          <p:spPr bwMode="auto">
            <a:xfrm>
              <a:off x="7011532" y="8351839"/>
              <a:ext cx="473044" cy="674687"/>
            </a:xfrm>
            <a:custGeom>
              <a:avLst/>
              <a:gdLst>
                <a:gd name="T0" fmla="*/ 527 w 1315"/>
                <a:gd name="T1" fmla="*/ 0 h 1872"/>
                <a:gd name="T2" fmla="*/ 558 w 1315"/>
                <a:gd name="T3" fmla="*/ 198 h 1872"/>
                <a:gd name="T4" fmla="*/ 619 w 1315"/>
                <a:gd name="T5" fmla="*/ 420 h 1872"/>
                <a:gd name="T6" fmla="*/ 688 w 1315"/>
                <a:gd name="T7" fmla="*/ 465 h 1872"/>
                <a:gd name="T8" fmla="*/ 840 w 1315"/>
                <a:gd name="T9" fmla="*/ 412 h 1872"/>
                <a:gd name="T10" fmla="*/ 863 w 1315"/>
                <a:gd name="T11" fmla="*/ 374 h 1872"/>
                <a:gd name="T12" fmla="*/ 925 w 1315"/>
                <a:gd name="T13" fmla="*/ 542 h 1872"/>
                <a:gd name="T14" fmla="*/ 932 w 1315"/>
                <a:gd name="T15" fmla="*/ 695 h 1872"/>
                <a:gd name="T16" fmla="*/ 871 w 1315"/>
                <a:gd name="T17" fmla="*/ 825 h 1872"/>
                <a:gd name="T18" fmla="*/ 1016 w 1315"/>
                <a:gd name="T19" fmla="*/ 1054 h 1872"/>
                <a:gd name="T20" fmla="*/ 1253 w 1315"/>
                <a:gd name="T21" fmla="*/ 1115 h 1872"/>
                <a:gd name="T22" fmla="*/ 1177 w 1315"/>
                <a:gd name="T23" fmla="*/ 1313 h 1872"/>
                <a:gd name="T24" fmla="*/ 1222 w 1315"/>
                <a:gd name="T25" fmla="*/ 1428 h 1872"/>
                <a:gd name="T26" fmla="*/ 1276 w 1315"/>
                <a:gd name="T27" fmla="*/ 1657 h 1872"/>
                <a:gd name="T28" fmla="*/ 1314 w 1315"/>
                <a:gd name="T29" fmla="*/ 1764 h 1872"/>
                <a:gd name="T30" fmla="*/ 1230 w 1315"/>
                <a:gd name="T31" fmla="*/ 1871 h 1872"/>
                <a:gd name="T32" fmla="*/ 1200 w 1315"/>
                <a:gd name="T33" fmla="*/ 1825 h 1872"/>
                <a:gd name="T34" fmla="*/ 1131 w 1315"/>
                <a:gd name="T35" fmla="*/ 1810 h 1872"/>
                <a:gd name="T36" fmla="*/ 1070 w 1315"/>
                <a:gd name="T37" fmla="*/ 1833 h 1872"/>
                <a:gd name="T38" fmla="*/ 1047 w 1315"/>
                <a:gd name="T39" fmla="*/ 1787 h 1872"/>
                <a:gd name="T40" fmla="*/ 909 w 1315"/>
                <a:gd name="T41" fmla="*/ 1718 h 1872"/>
                <a:gd name="T42" fmla="*/ 817 w 1315"/>
                <a:gd name="T43" fmla="*/ 1695 h 1872"/>
                <a:gd name="T44" fmla="*/ 619 w 1315"/>
                <a:gd name="T45" fmla="*/ 1611 h 1872"/>
                <a:gd name="T46" fmla="*/ 581 w 1315"/>
                <a:gd name="T47" fmla="*/ 1634 h 1872"/>
                <a:gd name="T48" fmla="*/ 413 w 1315"/>
                <a:gd name="T49" fmla="*/ 1680 h 1872"/>
                <a:gd name="T50" fmla="*/ 260 w 1315"/>
                <a:gd name="T51" fmla="*/ 1626 h 1872"/>
                <a:gd name="T52" fmla="*/ 222 w 1315"/>
                <a:gd name="T53" fmla="*/ 1695 h 1872"/>
                <a:gd name="T54" fmla="*/ 184 w 1315"/>
                <a:gd name="T55" fmla="*/ 1711 h 1872"/>
                <a:gd name="T56" fmla="*/ 69 w 1315"/>
                <a:gd name="T57" fmla="*/ 1573 h 1872"/>
                <a:gd name="T58" fmla="*/ 107 w 1315"/>
                <a:gd name="T59" fmla="*/ 1428 h 1872"/>
                <a:gd name="T60" fmla="*/ 69 w 1315"/>
                <a:gd name="T61" fmla="*/ 1306 h 1872"/>
                <a:gd name="T62" fmla="*/ 84 w 1315"/>
                <a:gd name="T63" fmla="*/ 1275 h 1872"/>
                <a:gd name="T64" fmla="*/ 46 w 1315"/>
                <a:gd name="T65" fmla="*/ 1145 h 1872"/>
                <a:gd name="T66" fmla="*/ 31 w 1315"/>
                <a:gd name="T67" fmla="*/ 924 h 1872"/>
                <a:gd name="T68" fmla="*/ 31 w 1315"/>
                <a:gd name="T69" fmla="*/ 702 h 1872"/>
                <a:gd name="T70" fmla="*/ 77 w 1315"/>
                <a:gd name="T71" fmla="*/ 649 h 1872"/>
                <a:gd name="T72" fmla="*/ 46 w 1315"/>
                <a:gd name="T73" fmla="*/ 550 h 1872"/>
                <a:gd name="T74" fmla="*/ 23 w 1315"/>
                <a:gd name="T75" fmla="*/ 488 h 1872"/>
                <a:gd name="T76" fmla="*/ 222 w 1315"/>
                <a:gd name="T77" fmla="*/ 465 h 1872"/>
                <a:gd name="T78" fmla="*/ 436 w 1315"/>
                <a:gd name="T79" fmla="*/ 183 h 1872"/>
                <a:gd name="T80" fmla="*/ 489 w 1315"/>
                <a:gd name="T81" fmla="*/ 76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15" h="1872">
                  <a:moveTo>
                    <a:pt x="527" y="0"/>
                  </a:moveTo>
                  <a:lnTo>
                    <a:pt x="527" y="0"/>
                  </a:lnTo>
                  <a:cubicBezTo>
                    <a:pt x="573" y="53"/>
                    <a:pt x="650" y="99"/>
                    <a:pt x="657" y="168"/>
                  </a:cubicBezTo>
                  <a:cubicBezTo>
                    <a:pt x="665" y="206"/>
                    <a:pt x="565" y="168"/>
                    <a:pt x="558" y="198"/>
                  </a:cubicBezTo>
                  <a:cubicBezTo>
                    <a:pt x="543" y="244"/>
                    <a:pt x="588" y="282"/>
                    <a:pt x="604" y="328"/>
                  </a:cubicBezTo>
                  <a:cubicBezTo>
                    <a:pt x="611" y="359"/>
                    <a:pt x="619" y="389"/>
                    <a:pt x="619" y="420"/>
                  </a:cubicBezTo>
                  <a:cubicBezTo>
                    <a:pt x="619" y="435"/>
                    <a:pt x="596" y="458"/>
                    <a:pt x="611" y="465"/>
                  </a:cubicBezTo>
                  <a:cubicBezTo>
                    <a:pt x="634" y="481"/>
                    <a:pt x="665" y="465"/>
                    <a:pt x="688" y="465"/>
                  </a:cubicBezTo>
                  <a:cubicBezTo>
                    <a:pt x="718" y="465"/>
                    <a:pt x="756" y="465"/>
                    <a:pt x="779" y="458"/>
                  </a:cubicBezTo>
                  <a:cubicBezTo>
                    <a:pt x="802" y="450"/>
                    <a:pt x="817" y="435"/>
                    <a:pt x="840" y="412"/>
                  </a:cubicBezTo>
                  <a:cubicBezTo>
                    <a:pt x="848" y="404"/>
                    <a:pt x="856" y="389"/>
                    <a:pt x="863" y="374"/>
                  </a:cubicBezTo>
                  <a:lnTo>
                    <a:pt x="863" y="374"/>
                  </a:lnTo>
                  <a:cubicBezTo>
                    <a:pt x="894" y="381"/>
                    <a:pt x="948" y="374"/>
                    <a:pt x="963" y="404"/>
                  </a:cubicBezTo>
                  <a:cubicBezTo>
                    <a:pt x="978" y="450"/>
                    <a:pt x="925" y="496"/>
                    <a:pt x="925" y="542"/>
                  </a:cubicBezTo>
                  <a:cubicBezTo>
                    <a:pt x="925" y="557"/>
                    <a:pt x="963" y="534"/>
                    <a:pt x="963" y="550"/>
                  </a:cubicBezTo>
                  <a:cubicBezTo>
                    <a:pt x="963" y="603"/>
                    <a:pt x="925" y="641"/>
                    <a:pt x="932" y="695"/>
                  </a:cubicBezTo>
                  <a:cubicBezTo>
                    <a:pt x="932" y="740"/>
                    <a:pt x="1001" y="786"/>
                    <a:pt x="986" y="832"/>
                  </a:cubicBezTo>
                  <a:cubicBezTo>
                    <a:pt x="970" y="863"/>
                    <a:pt x="894" y="794"/>
                    <a:pt x="871" y="825"/>
                  </a:cubicBezTo>
                  <a:cubicBezTo>
                    <a:pt x="848" y="863"/>
                    <a:pt x="863" y="931"/>
                    <a:pt x="886" y="970"/>
                  </a:cubicBezTo>
                  <a:cubicBezTo>
                    <a:pt x="917" y="1015"/>
                    <a:pt x="970" y="1038"/>
                    <a:pt x="1016" y="1054"/>
                  </a:cubicBezTo>
                  <a:cubicBezTo>
                    <a:pt x="1054" y="1069"/>
                    <a:pt x="1100" y="1031"/>
                    <a:pt x="1138" y="1038"/>
                  </a:cubicBezTo>
                  <a:cubicBezTo>
                    <a:pt x="1184" y="1054"/>
                    <a:pt x="1230" y="1077"/>
                    <a:pt x="1253" y="1115"/>
                  </a:cubicBezTo>
                  <a:cubicBezTo>
                    <a:pt x="1276" y="1153"/>
                    <a:pt x="1268" y="1199"/>
                    <a:pt x="1253" y="1237"/>
                  </a:cubicBezTo>
                  <a:cubicBezTo>
                    <a:pt x="1238" y="1275"/>
                    <a:pt x="1192" y="1283"/>
                    <a:pt x="1177" y="1313"/>
                  </a:cubicBezTo>
                  <a:cubicBezTo>
                    <a:pt x="1161" y="1344"/>
                    <a:pt x="1161" y="1390"/>
                    <a:pt x="1177" y="1420"/>
                  </a:cubicBezTo>
                  <a:cubicBezTo>
                    <a:pt x="1177" y="1436"/>
                    <a:pt x="1215" y="1413"/>
                    <a:pt x="1222" y="1428"/>
                  </a:cubicBezTo>
                  <a:cubicBezTo>
                    <a:pt x="1230" y="1451"/>
                    <a:pt x="1184" y="1466"/>
                    <a:pt x="1192" y="1489"/>
                  </a:cubicBezTo>
                  <a:cubicBezTo>
                    <a:pt x="1207" y="1550"/>
                    <a:pt x="1245" y="1604"/>
                    <a:pt x="1276" y="1657"/>
                  </a:cubicBezTo>
                  <a:lnTo>
                    <a:pt x="1276" y="1657"/>
                  </a:lnTo>
                  <a:cubicBezTo>
                    <a:pt x="1291" y="1695"/>
                    <a:pt x="1314" y="1726"/>
                    <a:pt x="1314" y="1764"/>
                  </a:cubicBezTo>
                  <a:cubicBezTo>
                    <a:pt x="1314" y="1779"/>
                    <a:pt x="1284" y="1795"/>
                    <a:pt x="1268" y="1810"/>
                  </a:cubicBezTo>
                  <a:cubicBezTo>
                    <a:pt x="1253" y="1833"/>
                    <a:pt x="1245" y="1848"/>
                    <a:pt x="1230" y="1871"/>
                  </a:cubicBezTo>
                  <a:lnTo>
                    <a:pt x="1230" y="1871"/>
                  </a:lnTo>
                  <a:cubicBezTo>
                    <a:pt x="1215" y="1856"/>
                    <a:pt x="1207" y="1848"/>
                    <a:pt x="1200" y="1825"/>
                  </a:cubicBezTo>
                  <a:cubicBezTo>
                    <a:pt x="1192" y="1817"/>
                    <a:pt x="1207" y="1787"/>
                    <a:pt x="1192" y="1787"/>
                  </a:cubicBezTo>
                  <a:cubicBezTo>
                    <a:pt x="1169" y="1779"/>
                    <a:pt x="1146" y="1795"/>
                    <a:pt x="1131" y="1810"/>
                  </a:cubicBezTo>
                  <a:cubicBezTo>
                    <a:pt x="1115" y="1817"/>
                    <a:pt x="1131" y="1840"/>
                    <a:pt x="1115" y="1848"/>
                  </a:cubicBezTo>
                  <a:cubicBezTo>
                    <a:pt x="1100" y="1856"/>
                    <a:pt x="1085" y="1840"/>
                    <a:pt x="1070" y="1833"/>
                  </a:cubicBezTo>
                  <a:lnTo>
                    <a:pt x="1070" y="1833"/>
                  </a:lnTo>
                  <a:cubicBezTo>
                    <a:pt x="1062" y="1817"/>
                    <a:pt x="1062" y="1795"/>
                    <a:pt x="1047" y="1787"/>
                  </a:cubicBezTo>
                  <a:cubicBezTo>
                    <a:pt x="1024" y="1779"/>
                    <a:pt x="993" y="1810"/>
                    <a:pt x="970" y="1802"/>
                  </a:cubicBezTo>
                  <a:cubicBezTo>
                    <a:pt x="940" y="1787"/>
                    <a:pt x="917" y="1749"/>
                    <a:pt x="909" y="1718"/>
                  </a:cubicBezTo>
                  <a:cubicBezTo>
                    <a:pt x="902" y="1703"/>
                    <a:pt x="932" y="1665"/>
                    <a:pt x="909" y="1657"/>
                  </a:cubicBezTo>
                  <a:cubicBezTo>
                    <a:pt x="879" y="1649"/>
                    <a:pt x="848" y="1688"/>
                    <a:pt x="817" y="1695"/>
                  </a:cubicBezTo>
                  <a:cubicBezTo>
                    <a:pt x="795" y="1695"/>
                    <a:pt x="772" y="1680"/>
                    <a:pt x="756" y="1672"/>
                  </a:cubicBezTo>
                  <a:cubicBezTo>
                    <a:pt x="711" y="1649"/>
                    <a:pt x="665" y="1619"/>
                    <a:pt x="619" y="1611"/>
                  </a:cubicBezTo>
                  <a:cubicBezTo>
                    <a:pt x="604" y="1611"/>
                    <a:pt x="604" y="1634"/>
                    <a:pt x="596" y="1642"/>
                  </a:cubicBezTo>
                  <a:cubicBezTo>
                    <a:pt x="588" y="1642"/>
                    <a:pt x="581" y="1634"/>
                    <a:pt x="581" y="1634"/>
                  </a:cubicBezTo>
                  <a:cubicBezTo>
                    <a:pt x="558" y="1634"/>
                    <a:pt x="535" y="1649"/>
                    <a:pt x="512" y="1649"/>
                  </a:cubicBezTo>
                  <a:cubicBezTo>
                    <a:pt x="481" y="1665"/>
                    <a:pt x="443" y="1680"/>
                    <a:pt x="413" y="1680"/>
                  </a:cubicBezTo>
                  <a:cubicBezTo>
                    <a:pt x="382" y="1680"/>
                    <a:pt x="367" y="1649"/>
                    <a:pt x="336" y="1642"/>
                  </a:cubicBezTo>
                  <a:cubicBezTo>
                    <a:pt x="313" y="1634"/>
                    <a:pt x="291" y="1619"/>
                    <a:pt x="260" y="1626"/>
                  </a:cubicBezTo>
                  <a:cubicBezTo>
                    <a:pt x="237" y="1634"/>
                    <a:pt x="237" y="1672"/>
                    <a:pt x="222" y="1695"/>
                  </a:cubicBezTo>
                  <a:lnTo>
                    <a:pt x="222" y="1695"/>
                  </a:lnTo>
                  <a:cubicBezTo>
                    <a:pt x="184" y="1711"/>
                    <a:pt x="184" y="1711"/>
                    <a:pt x="184" y="1711"/>
                  </a:cubicBezTo>
                  <a:lnTo>
                    <a:pt x="184" y="1711"/>
                  </a:lnTo>
                  <a:cubicBezTo>
                    <a:pt x="168" y="1680"/>
                    <a:pt x="161" y="1634"/>
                    <a:pt x="138" y="1611"/>
                  </a:cubicBezTo>
                  <a:cubicBezTo>
                    <a:pt x="115" y="1588"/>
                    <a:pt x="84" y="1596"/>
                    <a:pt x="69" y="1573"/>
                  </a:cubicBezTo>
                  <a:cubicBezTo>
                    <a:pt x="46" y="1550"/>
                    <a:pt x="46" y="1520"/>
                    <a:pt x="46" y="1489"/>
                  </a:cubicBezTo>
                  <a:cubicBezTo>
                    <a:pt x="54" y="1466"/>
                    <a:pt x="100" y="1459"/>
                    <a:pt x="107" y="1428"/>
                  </a:cubicBezTo>
                  <a:cubicBezTo>
                    <a:pt x="107" y="1405"/>
                    <a:pt x="69" y="1390"/>
                    <a:pt x="61" y="1367"/>
                  </a:cubicBezTo>
                  <a:cubicBezTo>
                    <a:pt x="61" y="1352"/>
                    <a:pt x="61" y="1329"/>
                    <a:pt x="69" y="1306"/>
                  </a:cubicBezTo>
                  <a:cubicBezTo>
                    <a:pt x="69" y="1298"/>
                    <a:pt x="77" y="1283"/>
                    <a:pt x="84" y="1275"/>
                  </a:cubicBezTo>
                  <a:lnTo>
                    <a:pt x="84" y="1275"/>
                  </a:lnTo>
                  <a:cubicBezTo>
                    <a:pt x="92" y="1260"/>
                    <a:pt x="123" y="1252"/>
                    <a:pt x="115" y="1237"/>
                  </a:cubicBezTo>
                  <a:cubicBezTo>
                    <a:pt x="107" y="1199"/>
                    <a:pt x="61" y="1176"/>
                    <a:pt x="46" y="1145"/>
                  </a:cubicBezTo>
                  <a:cubicBezTo>
                    <a:pt x="23" y="1107"/>
                    <a:pt x="8" y="1069"/>
                    <a:pt x="8" y="1023"/>
                  </a:cubicBezTo>
                  <a:cubicBezTo>
                    <a:pt x="8" y="992"/>
                    <a:pt x="31" y="954"/>
                    <a:pt x="31" y="924"/>
                  </a:cubicBezTo>
                  <a:cubicBezTo>
                    <a:pt x="31" y="886"/>
                    <a:pt x="0" y="847"/>
                    <a:pt x="8" y="817"/>
                  </a:cubicBezTo>
                  <a:cubicBezTo>
                    <a:pt x="8" y="771"/>
                    <a:pt x="8" y="733"/>
                    <a:pt x="31" y="702"/>
                  </a:cubicBezTo>
                  <a:cubicBezTo>
                    <a:pt x="46" y="687"/>
                    <a:pt x="77" y="717"/>
                    <a:pt x="92" y="702"/>
                  </a:cubicBezTo>
                  <a:cubicBezTo>
                    <a:pt x="107" y="687"/>
                    <a:pt x="77" y="664"/>
                    <a:pt x="77" y="649"/>
                  </a:cubicBezTo>
                  <a:cubicBezTo>
                    <a:pt x="77" y="626"/>
                    <a:pt x="100" y="611"/>
                    <a:pt x="92" y="595"/>
                  </a:cubicBezTo>
                  <a:cubicBezTo>
                    <a:pt x="92" y="573"/>
                    <a:pt x="61" y="565"/>
                    <a:pt x="46" y="550"/>
                  </a:cubicBezTo>
                  <a:cubicBezTo>
                    <a:pt x="31" y="527"/>
                    <a:pt x="31" y="504"/>
                    <a:pt x="23" y="481"/>
                  </a:cubicBezTo>
                  <a:cubicBezTo>
                    <a:pt x="23" y="488"/>
                    <a:pt x="23" y="488"/>
                    <a:pt x="23" y="488"/>
                  </a:cubicBezTo>
                  <a:cubicBezTo>
                    <a:pt x="54" y="504"/>
                    <a:pt x="84" y="542"/>
                    <a:pt x="123" y="534"/>
                  </a:cubicBezTo>
                  <a:cubicBezTo>
                    <a:pt x="161" y="534"/>
                    <a:pt x="206" y="504"/>
                    <a:pt x="222" y="465"/>
                  </a:cubicBezTo>
                  <a:cubicBezTo>
                    <a:pt x="268" y="374"/>
                    <a:pt x="237" y="252"/>
                    <a:pt x="298" y="168"/>
                  </a:cubicBezTo>
                  <a:cubicBezTo>
                    <a:pt x="329" y="129"/>
                    <a:pt x="390" y="198"/>
                    <a:pt x="436" y="183"/>
                  </a:cubicBezTo>
                  <a:cubicBezTo>
                    <a:pt x="451" y="175"/>
                    <a:pt x="443" y="145"/>
                    <a:pt x="451" y="122"/>
                  </a:cubicBezTo>
                  <a:cubicBezTo>
                    <a:pt x="451" y="122"/>
                    <a:pt x="489" y="84"/>
                    <a:pt x="489" y="76"/>
                  </a:cubicBezTo>
                  <a:cubicBezTo>
                    <a:pt x="489" y="68"/>
                    <a:pt x="527" y="0"/>
                    <a:pt x="527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" name="Freeform 77"/>
            <p:cNvSpPr>
              <a:spLocks noChangeArrowheads="1"/>
            </p:cNvSpPr>
            <p:nvPr/>
          </p:nvSpPr>
          <p:spPr bwMode="auto">
            <a:xfrm>
              <a:off x="6446418" y="8410576"/>
              <a:ext cx="607972" cy="511175"/>
            </a:xfrm>
            <a:custGeom>
              <a:avLst/>
              <a:gdLst>
                <a:gd name="T0" fmla="*/ 39 w 1690"/>
                <a:gd name="T1" fmla="*/ 1344 h 1422"/>
                <a:gd name="T2" fmla="*/ 31 w 1690"/>
                <a:gd name="T3" fmla="*/ 1283 h 1422"/>
                <a:gd name="T4" fmla="*/ 31 w 1690"/>
                <a:gd name="T5" fmla="*/ 1253 h 1422"/>
                <a:gd name="T6" fmla="*/ 23 w 1690"/>
                <a:gd name="T7" fmla="*/ 1192 h 1422"/>
                <a:gd name="T8" fmla="*/ 31 w 1690"/>
                <a:gd name="T9" fmla="*/ 1169 h 1422"/>
                <a:gd name="T10" fmla="*/ 31 w 1690"/>
                <a:gd name="T11" fmla="*/ 1161 h 1422"/>
                <a:gd name="T12" fmla="*/ 8 w 1690"/>
                <a:gd name="T13" fmla="*/ 1062 h 1422"/>
                <a:gd name="T14" fmla="*/ 16 w 1690"/>
                <a:gd name="T15" fmla="*/ 924 h 1422"/>
                <a:gd name="T16" fmla="*/ 8 w 1690"/>
                <a:gd name="T17" fmla="*/ 840 h 1422"/>
                <a:gd name="T18" fmla="*/ 54 w 1690"/>
                <a:gd name="T19" fmla="*/ 764 h 1422"/>
                <a:gd name="T20" fmla="*/ 367 w 1690"/>
                <a:gd name="T21" fmla="*/ 573 h 1422"/>
                <a:gd name="T22" fmla="*/ 306 w 1690"/>
                <a:gd name="T23" fmla="*/ 260 h 1422"/>
                <a:gd name="T24" fmla="*/ 528 w 1690"/>
                <a:gd name="T25" fmla="*/ 260 h 1422"/>
                <a:gd name="T26" fmla="*/ 566 w 1690"/>
                <a:gd name="T27" fmla="*/ 382 h 1422"/>
                <a:gd name="T28" fmla="*/ 711 w 1690"/>
                <a:gd name="T29" fmla="*/ 321 h 1422"/>
                <a:gd name="T30" fmla="*/ 749 w 1690"/>
                <a:gd name="T31" fmla="*/ 244 h 1422"/>
                <a:gd name="T32" fmla="*/ 864 w 1690"/>
                <a:gd name="T33" fmla="*/ 191 h 1422"/>
                <a:gd name="T34" fmla="*/ 978 w 1690"/>
                <a:gd name="T35" fmla="*/ 275 h 1422"/>
                <a:gd name="T36" fmla="*/ 1184 w 1690"/>
                <a:gd name="T37" fmla="*/ 191 h 1422"/>
                <a:gd name="T38" fmla="*/ 1337 w 1690"/>
                <a:gd name="T39" fmla="*/ 206 h 1422"/>
                <a:gd name="T40" fmla="*/ 1421 w 1690"/>
                <a:gd name="T41" fmla="*/ 0 h 1422"/>
                <a:gd name="T42" fmla="*/ 1490 w 1690"/>
                <a:gd name="T43" fmla="*/ 69 h 1422"/>
                <a:gd name="T44" fmla="*/ 1658 w 1690"/>
                <a:gd name="T45" fmla="*/ 191 h 1422"/>
                <a:gd name="T46" fmla="*/ 1589 w 1690"/>
                <a:gd name="T47" fmla="*/ 321 h 1422"/>
                <a:gd name="T48" fmla="*/ 1658 w 1690"/>
                <a:gd name="T49" fmla="*/ 435 h 1422"/>
                <a:gd name="T50" fmla="*/ 1658 w 1690"/>
                <a:gd name="T51" fmla="*/ 542 h 1422"/>
                <a:gd name="T52" fmla="*/ 1574 w 1690"/>
                <a:gd name="T53" fmla="*/ 657 h 1422"/>
                <a:gd name="T54" fmla="*/ 1574 w 1690"/>
                <a:gd name="T55" fmla="*/ 863 h 1422"/>
                <a:gd name="T56" fmla="*/ 1681 w 1690"/>
                <a:gd name="T57" fmla="*/ 1077 h 1422"/>
                <a:gd name="T58" fmla="*/ 1650 w 1690"/>
                <a:gd name="T59" fmla="*/ 1115 h 1422"/>
                <a:gd name="T60" fmla="*/ 1589 w 1690"/>
                <a:gd name="T61" fmla="*/ 1169 h 1422"/>
                <a:gd name="T62" fmla="*/ 1482 w 1690"/>
                <a:gd name="T63" fmla="*/ 1169 h 1422"/>
                <a:gd name="T64" fmla="*/ 1429 w 1690"/>
                <a:gd name="T65" fmla="*/ 1100 h 1422"/>
                <a:gd name="T66" fmla="*/ 1253 w 1690"/>
                <a:gd name="T67" fmla="*/ 1138 h 1422"/>
                <a:gd name="T68" fmla="*/ 1154 w 1690"/>
                <a:gd name="T69" fmla="*/ 1161 h 1422"/>
                <a:gd name="T70" fmla="*/ 978 w 1690"/>
                <a:gd name="T71" fmla="*/ 1146 h 1422"/>
                <a:gd name="T72" fmla="*/ 757 w 1690"/>
                <a:gd name="T73" fmla="*/ 1337 h 1422"/>
                <a:gd name="T74" fmla="*/ 634 w 1690"/>
                <a:gd name="T75" fmla="*/ 1421 h 1422"/>
                <a:gd name="T76" fmla="*/ 428 w 1690"/>
                <a:gd name="T77" fmla="*/ 1260 h 1422"/>
                <a:gd name="T78" fmla="*/ 306 w 1690"/>
                <a:gd name="T79" fmla="*/ 1222 h 1422"/>
                <a:gd name="T80" fmla="*/ 245 w 1690"/>
                <a:gd name="T81" fmla="*/ 1199 h 1422"/>
                <a:gd name="T82" fmla="*/ 459 w 1690"/>
                <a:gd name="T83" fmla="*/ 947 h 1422"/>
                <a:gd name="T84" fmla="*/ 39 w 1690"/>
                <a:gd name="T85" fmla="*/ 1344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0" h="1422">
                  <a:moveTo>
                    <a:pt x="39" y="1344"/>
                  </a:moveTo>
                  <a:lnTo>
                    <a:pt x="39" y="1344"/>
                  </a:lnTo>
                  <a:cubicBezTo>
                    <a:pt x="31" y="1306"/>
                    <a:pt x="31" y="1306"/>
                    <a:pt x="31" y="1306"/>
                  </a:cubicBezTo>
                  <a:cubicBezTo>
                    <a:pt x="31" y="1299"/>
                    <a:pt x="31" y="1283"/>
                    <a:pt x="31" y="1283"/>
                  </a:cubicBezTo>
                  <a:cubicBezTo>
                    <a:pt x="31" y="1276"/>
                    <a:pt x="31" y="1276"/>
                    <a:pt x="31" y="1276"/>
                  </a:cubicBezTo>
                  <a:cubicBezTo>
                    <a:pt x="39" y="1276"/>
                    <a:pt x="39" y="1260"/>
                    <a:pt x="31" y="1253"/>
                  </a:cubicBezTo>
                  <a:cubicBezTo>
                    <a:pt x="31" y="1245"/>
                    <a:pt x="31" y="1245"/>
                    <a:pt x="23" y="1237"/>
                  </a:cubicBezTo>
                  <a:cubicBezTo>
                    <a:pt x="16" y="1222"/>
                    <a:pt x="8" y="1199"/>
                    <a:pt x="23" y="1192"/>
                  </a:cubicBezTo>
                  <a:lnTo>
                    <a:pt x="31" y="1184"/>
                  </a:lnTo>
                  <a:cubicBezTo>
                    <a:pt x="31" y="1176"/>
                    <a:pt x="31" y="1176"/>
                    <a:pt x="31" y="1169"/>
                  </a:cubicBezTo>
                  <a:lnTo>
                    <a:pt x="31" y="1169"/>
                  </a:lnTo>
                  <a:lnTo>
                    <a:pt x="31" y="1161"/>
                  </a:lnTo>
                  <a:cubicBezTo>
                    <a:pt x="16" y="1092"/>
                    <a:pt x="16" y="1092"/>
                    <a:pt x="16" y="1092"/>
                  </a:cubicBezTo>
                  <a:cubicBezTo>
                    <a:pt x="16" y="1085"/>
                    <a:pt x="23" y="1062"/>
                    <a:pt x="8" y="1062"/>
                  </a:cubicBezTo>
                  <a:cubicBezTo>
                    <a:pt x="8" y="1024"/>
                    <a:pt x="0" y="1024"/>
                    <a:pt x="23" y="993"/>
                  </a:cubicBezTo>
                  <a:cubicBezTo>
                    <a:pt x="46" y="970"/>
                    <a:pt x="46" y="947"/>
                    <a:pt x="16" y="924"/>
                  </a:cubicBezTo>
                  <a:cubicBezTo>
                    <a:pt x="16" y="909"/>
                    <a:pt x="23" y="901"/>
                    <a:pt x="23" y="878"/>
                  </a:cubicBezTo>
                  <a:cubicBezTo>
                    <a:pt x="23" y="863"/>
                    <a:pt x="8" y="855"/>
                    <a:pt x="8" y="840"/>
                  </a:cubicBezTo>
                  <a:cubicBezTo>
                    <a:pt x="8" y="817"/>
                    <a:pt x="54" y="802"/>
                    <a:pt x="54" y="764"/>
                  </a:cubicBezTo>
                  <a:lnTo>
                    <a:pt x="54" y="764"/>
                  </a:lnTo>
                  <a:cubicBezTo>
                    <a:pt x="107" y="733"/>
                    <a:pt x="153" y="703"/>
                    <a:pt x="207" y="672"/>
                  </a:cubicBezTo>
                  <a:cubicBezTo>
                    <a:pt x="260" y="642"/>
                    <a:pt x="344" y="634"/>
                    <a:pt x="367" y="573"/>
                  </a:cubicBezTo>
                  <a:cubicBezTo>
                    <a:pt x="382" y="519"/>
                    <a:pt x="306" y="466"/>
                    <a:pt x="298" y="405"/>
                  </a:cubicBezTo>
                  <a:cubicBezTo>
                    <a:pt x="291" y="359"/>
                    <a:pt x="268" y="290"/>
                    <a:pt x="306" y="260"/>
                  </a:cubicBezTo>
                  <a:cubicBezTo>
                    <a:pt x="336" y="237"/>
                    <a:pt x="367" y="321"/>
                    <a:pt x="405" y="321"/>
                  </a:cubicBezTo>
                  <a:cubicBezTo>
                    <a:pt x="451" y="321"/>
                    <a:pt x="482" y="282"/>
                    <a:pt x="528" y="260"/>
                  </a:cubicBezTo>
                  <a:lnTo>
                    <a:pt x="528" y="260"/>
                  </a:lnTo>
                  <a:cubicBezTo>
                    <a:pt x="535" y="298"/>
                    <a:pt x="550" y="336"/>
                    <a:pt x="566" y="382"/>
                  </a:cubicBezTo>
                  <a:cubicBezTo>
                    <a:pt x="566" y="382"/>
                    <a:pt x="650" y="397"/>
                    <a:pt x="657" y="390"/>
                  </a:cubicBezTo>
                  <a:cubicBezTo>
                    <a:pt x="657" y="382"/>
                    <a:pt x="711" y="321"/>
                    <a:pt x="711" y="321"/>
                  </a:cubicBezTo>
                  <a:cubicBezTo>
                    <a:pt x="741" y="313"/>
                    <a:pt x="787" y="344"/>
                    <a:pt x="795" y="313"/>
                  </a:cubicBezTo>
                  <a:cubicBezTo>
                    <a:pt x="810" y="290"/>
                    <a:pt x="757" y="267"/>
                    <a:pt x="749" y="244"/>
                  </a:cubicBezTo>
                  <a:cubicBezTo>
                    <a:pt x="749" y="221"/>
                    <a:pt x="772" y="191"/>
                    <a:pt x="795" y="183"/>
                  </a:cubicBezTo>
                  <a:cubicBezTo>
                    <a:pt x="810" y="176"/>
                    <a:pt x="856" y="168"/>
                    <a:pt x="864" y="191"/>
                  </a:cubicBezTo>
                  <a:cubicBezTo>
                    <a:pt x="879" y="221"/>
                    <a:pt x="825" y="267"/>
                    <a:pt x="848" y="290"/>
                  </a:cubicBezTo>
                  <a:cubicBezTo>
                    <a:pt x="886" y="321"/>
                    <a:pt x="940" y="290"/>
                    <a:pt x="978" y="275"/>
                  </a:cubicBezTo>
                  <a:cubicBezTo>
                    <a:pt x="1024" y="260"/>
                    <a:pt x="1062" y="229"/>
                    <a:pt x="1108" y="206"/>
                  </a:cubicBezTo>
                  <a:cubicBezTo>
                    <a:pt x="1131" y="199"/>
                    <a:pt x="1161" y="199"/>
                    <a:pt x="1184" y="191"/>
                  </a:cubicBezTo>
                  <a:cubicBezTo>
                    <a:pt x="1184" y="191"/>
                    <a:pt x="1307" y="282"/>
                    <a:pt x="1307" y="275"/>
                  </a:cubicBezTo>
                  <a:cubicBezTo>
                    <a:pt x="1307" y="267"/>
                    <a:pt x="1337" y="206"/>
                    <a:pt x="1337" y="206"/>
                  </a:cubicBezTo>
                  <a:cubicBezTo>
                    <a:pt x="1322" y="176"/>
                    <a:pt x="1284" y="145"/>
                    <a:pt x="1299" y="115"/>
                  </a:cubicBezTo>
                  <a:cubicBezTo>
                    <a:pt x="1322" y="61"/>
                    <a:pt x="1383" y="38"/>
                    <a:pt x="1421" y="0"/>
                  </a:cubicBezTo>
                  <a:lnTo>
                    <a:pt x="1421" y="0"/>
                  </a:lnTo>
                  <a:cubicBezTo>
                    <a:pt x="1444" y="23"/>
                    <a:pt x="1467" y="38"/>
                    <a:pt x="1490" y="69"/>
                  </a:cubicBezTo>
                  <a:cubicBezTo>
                    <a:pt x="1513" y="99"/>
                    <a:pt x="1513" y="153"/>
                    <a:pt x="1543" y="176"/>
                  </a:cubicBezTo>
                  <a:cubicBezTo>
                    <a:pt x="1574" y="199"/>
                    <a:pt x="1650" y="153"/>
                    <a:pt x="1658" y="191"/>
                  </a:cubicBezTo>
                  <a:cubicBezTo>
                    <a:pt x="1673" y="237"/>
                    <a:pt x="1612" y="275"/>
                    <a:pt x="1589" y="321"/>
                  </a:cubicBezTo>
                  <a:lnTo>
                    <a:pt x="1589" y="321"/>
                  </a:lnTo>
                  <a:cubicBezTo>
                    <a:pt x="1597" y="344"/>
                    <a:pt x="1597" y="367"/>
                    <a:pt x="1612" y="390"/>
                  </a:cubicBezTo>
                  <a:cubicBezTo>
                    <a:pt x="1627" y="405"/>
                    <a:pt x="1658" y="413"/>
                    <a:pt x="1658" y="435"/>
                  </a:cubicBezTo>
                  <a:cubicBezTo>
                    <a:pt x="1666" y="451"/>
                    <a:pt x="1643" y="466"/>
                    <a:pt x="1643" y="489"/>
                  </a:cubicBezTo>
                  <a:cubicBezTo>
                    <a:pt x="1643" y="504"/>
                    <a:pt x="1673" y="527"/>
                    <a:pt x="1658" y="542"/>
                  </a:cubicBezTo>
                  <a:cubicBezTo>
                    <a:pt x="1643" y="557"/>
                    <a:pt x="1612" y="527"/>
                    <a:pt x="1597" y="542"/>
                  </a:cubicBezTo>
                  <a:cubicBezTo>
                    <a:pt x="1574" y="573"/>
                    <a:pt x="1574" y="611"/>
                    <a:pt x="1574" y="657"/>
                  </a:cubicBezTo>
                  <a:cubicBezTo>
                    <a:pt x="1566" y="687"/>
                    <a:pt x="1597" y="726"/>
                    <a:pt x="1597" y="764"/>
                  </a:cubicBezTo>
                  <a:cubicBezTo>
                    <a:pt x="1597" y="794"/>
                    <a:pt x="1574" y="832"/>
                    <a:pt x="1574" y="863"/>
                  </a:cubicBezTo>
                  <a:cubicBezTo>
                    <a:pt x="1574" y="909"/>
                    <a:pt x="1589" y="947"/>
                    <a:pt x="1612" y="985"/>
                  </a:cubicBezTo>
                  <a:cubicBezTo>
                    <a:pt x="1627" y="1016"/>
                    <a:pt x="1673" y="1039"/>
                    <a:pt x="1681" y="1077"/>
                  </a:cubicBezTo>
                  <a:cubicBezTo>
                    <a:pt x="1689" y="1092"/>
                    <a:pt x="1658" y="1100"/>
                    <a:pt x="1650" y="1115"/>
                  </a:cubicBezTo>
                  <a:lnTo>
                    <a:pt x="1650" y="1115"/>
                  </a:lnTo>
                  <a:cubicBezTo>
                    <a:pt x="1635" y="1115"/>
                    <a:pt x="1627" y="1115"/>
                    <a:pt x="1612" y="1123"/>
                  </a:cubicBezTo>
                  <a:cubicBezTo>
                    <a:pt x="1605" y="1130"/>
                    <a:pt x="1605" y="1161"/>
                    <a:pt x="1589" y="1169"/>
                  </a:cubicBezTo>
                  <a:cubicBezTo>
                    <a:pt x="1574" y="1184"/>
                    <a:pt x="1551" y="1184"/>
                    <a:pt x="1528" y="1184"/>
                  </a:cubicBezTo>
                  <a:cubicBezTo>
                    <a:pt x="1513" y="1184"/>
                    <a:pt x="1497" y="1176"/>
                    <a:pt x="1482" y="1169"/>
                  </a:cubicBezTo>
                  <a:lnTo>
                    <a:pt x="1482" y="1169"/>
                  </a:lnTo>
                  <a:cubicBezTo>
                    <a:pt x="1467" y="1146"/>
                    <a:pt x="1459" y="1100"/>
                    <a:pt x="1429" y="1100"/>
                  </a:cubicBezTo>
                  <a:cubicBezTo>
                    <a:pt x="1391" y="1100"/>
                    <a:pt x="1375" y="1161"/>
                    <a:pt x="1330" y="1169"/>
                  </a:cubicBezTo>
                  <a:cubicBezTo>
                    <a:pt x="1307" y="1176"/>
                    <a:pt x="1284" y="1123"/>
                    <a:pt x="1253" y="1138"/>
                  </a:cubicBezTo>
                  <a:cubicBezTo>
                    <a:pt x="1238" y="1146"/>
                    <a:pt x="1268" y="1199"/>
                    <a:pt x="1245" y="1199"/>
                  </a:cubicBezTo>
                  <a:cubicBezTo>
                    <a:pt x="1215" y="1207"/>
                    <a:pt x="1184" y="1153"/>
                    <a:pt x="1154" y="1161"/>
                  </a:cubicBezTo>
                  <a:cubicBezTo>
                    <a:pt x="1131" y="1169"/>
                    <a:pt x="1154" y="1230"/>
                    <a:pt x="1131" y="1230"/>
                  </a:cubicBezTo>
                  <a:cubicBezTo>
                    <a:pt x="1078" y="1222"/>
                    <a:pt x="1032" y="1123"/>
                    <a:pt x="978" y="1146"/>
                  </a:cubicBezTo>
                  <a:cubicBezTo>
                    <a:pt x="902" y="1176"/>
                    <a:pt x="894" y="1299"/>
                    <a:pt x="825" y="1352"/>
                  </a:cubicBezTo>
                  <a:cubicBezTo>
                    <a:pt x="810" y="1367"/>
                    <a:pt x="780" y="1329"/>
                    <a:pt x="757" y="1337"/>
                  </a:cubicBezTo>
                  <a:cubicBezTo>
                    <a:pt x="711" y="1352"/>
                    <a:pt x="673" y="1390"/>
                    <a:pt x="634" y="1421"/>
                  </a:cubicBezTo>
                  <a:lnTo>
                    <a:pt x="634" y="1421"/>
                  </a:lnTo>
                  <a:cubicBezTo>
                    <a:pt x="573" y="1405"/>
                    <a:pt x="505" y="1413"/>
                    <a:pt x="459" y="1375"/>
                  </a:cubicBezTo>
                  <a:cubicBezTo>
                    <a:pt x="428" y="1352"/>
                    <a:pt x="459" y="1283"/>
                    <a:pt x="428" y="1260"/>
                  </a:cubicBezTo>
                  <a:cubicBezTo>
                    <a:pt x="398" y="1237"/>
                    <a:pt x="344" y="1268"/>
                    <a:pt x="306" y="1253"/>
                  </a:cubicBezTo>
                  <a:cubicBezTo>
                    <a:pt x="291" y="1253"/>
                    <a:pt x="314" y="1230"/>
                    <a:pt x="306" y="1222"/>
                  </a:cubicBezTo>
                  <a:cubicBezTo>
                    <a:pt x="268" y="1199"/>
                    <a:pt x="283" y="1214"/>
                    <a:pt x="245" y="1199"/>
                  </a:cubicBezTo>
                  <a:lnTo>
                    <a:pt x="245" y="1199"/>
                  </a:lnTo>
                  <a:cubicBezTo>
                    <a:pt x="268" y="1176"/>
                    <a:pt x="291" y="1161"/>
                    <a:pt x="298" y="1130"/>
                  </a:cubicBezTo>
                  <a:cubicBezTo>
                    <a:pt x="321" y="1069"/>
                    <a:pt x="459" y="1024"/>
                    <a:pt x="459" y="947"/>
                  </a:cubicBezTo>
                  <a:cubicBezTo>
                    <a:pt x="336" y="1039"/>
                    <a:pt x="253" y="1146"/>
                    <a:pt x="107" y="1214"/>
                  </a:cubicBezTo>
                  <a:cubicBezTo>
                    <a:pt x="69" y="1253"/>
                    <a:pt x="54" y="1299"/>
                    <a:pt x="39" y="13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" name="Freeform 78"/>
            <p:cNvSpPr>
              <a:spLocks noChangeArrowheads="1"/>
            </p:cNvSpPr>
            <p:nvPr/>
          </p:nvSpPr>
          <p:spPr bwMode="auto">
            <a:xfrm>
              <a:off x="6181323" y="8543925"/>
              <a:ext cx="285731" cy="407988"/>
            </a:xfrm>
            <a:custGeom>
              <a:avLst/>
              <a:gdLst>
                <a:gd name="T0" fmla="*/ 794 w 795"/>
                <a:gd name="T1" fmla="*/ 390 h 1132"/>
                <a:gd name="T2" fmla="*/ 794 w 795"/>
                <a:gd name="T3" fmla="*/ 390 h 1132"/>
                <a:gd name="T4" fmla="*/ 718 w 795"/>
                <a:gd name="T5" fmla="*/ 367 h 1132"/>
                <a:gd name="T6" fmla="*/ 664 w 795"/>
                <a:gd name="T7" fmla="*/ 367 h 1132"/>
                <a:gd name="T8" fmla="*/ 626 w 795"/>
                <a:gd name="T9" fmla="*/ 344 h 1132"/>
                <a:gd name="T10" fmla="*/ 595 w 795"/>
                <a:gd name="T11" fmla="*/ 268 h 1132"/>
                <a:gd name="T12" fmla="*/ 534 w 795"/>
                <a:gd name="T13" fmla="*/ 214 h 1132"/>
                <a:gd name="T14" fmla="*/ 481 w 795"/>
                <a:gd name="T15" fmla="*/ 176 h 1132"/>
                <a:gd name="T16" fmla="*/ 435 w 795"/>
                <a:gd name="T17" fmla="*/ 122 h 1132"/>
                <a:gd name="T18" fmla="*/ 366 w 795"/>
                <a:gd name="T19" fmla="*/ 176 h 1132"/>
                <a:gd name="T20" fmla="*/ 297 w 795"/>
                <a:gd name="T21" fmla="*/ 206 h 1132"/>
                <a:gd name="T22" fmla="*/ 290 w 795"/>
                <a:gd name="T23" fmla="*/ 153 h 1132"/>
                <a:gd name="T24" fmla="*/ 236 w 795"/>
                <a:gd name="T25" fmla="*/ 153 h 1132"/>
                <a:gd name="T26" fmla="*/ 213 w 795"/>
                <a:gd name="T27" fmla="*/ 69 h 1132"/>
                <a:gd name="T28" fmla="*/ 137 w 795"/>
                <a:gd name="T29" fmla="*/ 0 h 1132"/>
                <a:gd name="T30" fmla="*/ 137 w 795"/>
                <a:gd name="T31" fmla="*/ 0 h 1132"/>
                <a:gd name="T32" fmla="*/ 91 w 795"/>
                <a:gd name="T33" fmla="*/ 54 h 1132"/>
                <a:gd name="T34" fmla="*/ 114 w 795"/>
                <a:gd name="T35" fmla="*/ 145 h 1132"/>
                <a:gd name="T36" fmla="*/ 183 w 795"/>
                <a:gd name="T37" fmla="*/ 237 h 1132"/>
                <a:gd name="T38" fmla="*/ 129 w 795"/>
                <a:gd name="T39" fmla="*/ 275 h 1132"/>
                <a:gd name="T40" fmla="*/ 91 w 795"/>
                <a:gd name="T41" fmla="*/ 359 h 1132"/>
                <a:gd name="T42" fmla="*/ 0 w 795"/>
                <a:gd name="T43" fmla="*/ 428 h 1132"/>
                <a:gd name="T44" fmla="*/ 0 w 795"/>
                <a:gd name="T45" fmla="*/ 428 h 1132"/>
                <a:gd name="T46" fmla="*/ 7 w 795"/>
                <a:gd name="T47" fmla="*/ 481 h 1132"/>
                <a:gd name="T48" fmla="*/ 30 w 795"/>
                <a:gd name="T49" fmla="*/ 489 h 1132"/>
                <a:gd name="T50" fmla="*/ 30 w 795"/>
                <a:gd name="T51" fmla="*/ 489 h 1132"/>
                <a:gd name="T52" fmla="*/ 114 w 795"/>
                <a:gd name="T53" fmla="*/ 497 h 1132"/>
                <a:gd name="T54" fmla="*/ 168 w 795"/>
                <a:gd name="T55" fmla="*/ 535 h 1132"/>
                <a:gd name="T56" fmla="*/ 175 w 795"/>
                <a:gd name="T57" fmla="*/ 573 h 1132"/>
                <a:gd name="T58" fmla="*/ 198 w 795"/>
                <a:gd name="T59" fmla="*/ 672 h 1132"/>
                <a:gd name="T60" fmla="*/ 252 w 795"/>
                <a:gd name="T61" fmla="*/ 688 h 1132"/>
                <a:gd name="T62" fmla="*/ 252 w 795"/>
                <a:gd name="T63" fmla="*/ 733 h 1132"/>
                <a:gd name="T64" fmla="*/ 290 w 795"/>
                <a:gd name="T65" fmla="*/ 749 h 1132"/>
                <a:gd name="T66" fmla="*/ 244 w 795"/>
                <a:gd name="T67" fmla="*/ 802 h 1132"/>
                <a:gd name="T68" fmla="*/ 313 w 795"/>
                <a:gd name="T69" fmla="*/ 909 h 1132"/>
                <a:gd name="T70" fmla="*/ 313 w 795"/>
                <a:gd name="T71" fmla="*/ 909 h 1132"/>
                <a:gd name="T72" fmla="*/ 359 w 795"/>
                <a:gd name="T73" fmla="*/ 932 h 1132"/>
                <a:gd name="T74" fmla="*/ 511 w 795"/>
                <a:gd name="T75" fmla="*/ 863 h 1132"/>
                <a:gd name="T76" fmla="*/ 557 w 795"/>
                <a:gd name="T77" fmla="*/ 925 h 1132"/>
                <a:gd name="T78" fmla="*/ 481 w 795"/>
                <a:gd name="T79" fmla="*/ 1031 h 1132"/>
                <a:gd name="T80" fmla="*/ 572 w 795"/>
                <a:gd name="T81" fmla="*/ 1131 h 1132"/>
                <a:gd name="T82" fmla="*/ 572 w 795"/>
                <a:gd name="T83" fmla="*/ 1131 h 1132"/>
                <a:gd name="T84" fmla="*/ 702 w 795"/>
                <a:gd name="T85" fmla="*/ 1047 h 1132"/>
                <a:gd name="T86" fmla="*/ 779 w 795"/>
                <a:gd name="T87" fmla="*/ 970 h 1132"/>
                <a:gd name="T88" fmla="*/ 779 w 795"/>
                <a:gd name="T89" fmla="*/ 970 h 1132"/>
                <a:gd name="T90" fmla="*/ 771 w 795"/>
                <a:gd name="T91" fmla="*/ 932 h 1132"/>
                <a:gd name="T92" fmla="*/ 771 w 795"/>
                <a:gd name="T93" fmla="*/ 909 h 1132"/>
                <a:gd name="T94" fmla="*/ 771 w 795"/>
                <a:gd name="T95" fmla="*/ 902 h 1132"/>
                <a:gd name="T96" fmla="*/ 771 w 795"/>
                <a:gd name="T97" fmla="*/ 879 h 1132"/>
                <a:gd name="T98" fmla="*/ 763 w 795"/>
                <a:gd name="T99" fmla="*/ 863 h 1132"/>
                <a:gd name="T100" fmla="*/ 763 w 795"/>
                <a:gd name="T101" fmla="*/ 818 h 1132"/>
                <a:gd name="T102" fmla="*/ 771 w 795"/>
                <a:gd name="T103" fmla="*/ 810 h 1132"/>
                <a:gd name="T104" fmla="*/ 771 w 795"/>
                <a:gd name="T105" fmla="*/ 795 h 1132"/>
                <a:gd name="T106" fmla="*/ 771 w 795"/>
                <a:gd name="T107" fmla="*/ 795 h 1132"/>
                <a:gd name="T108" fmla="*/ 771 w 795"/>
                <a:gd name="T109" fmla="*/ 787 h 1132"/>
                <a:gd name="T110" fmla="*/ 756 w 795"/>
                <a:gd name="T111" fmla="*/ 718 h 1132"/>
                <a:gd name="T112" fmla="*/ 748 w 795"/>
                <a:gd name="T113" fmla="*/ 688 h 1132"/>
                <a:gd name="T114" fmla="*/ 763 w 795"/>
                <a:gd name="T115" fmla="*/ 619 h 1132"/>
                <a:gd name="T116" fmla="*/ 756 w 795"/>
                <a:gd name="T117" fmla="*/ 550 h 1132"/>
                <a:gd name="T118" fmla="*/ 763 w 795"/>
                <a:gd name="T119" fmla="*/ 504 h 1132"/>
                <a:gd name="T120" fmla="*/ 748 w 795"/>
                <a:gd name="T121" fmla="*/ 466 h 1132"/>
                <a:gd name="T122" fmla="*/ 794 w 795"/>
                <a:gd name="T123" fmla="*/ 39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5" h="1132">
                  <a:moveTo>
                    <a:pt x="794" y="390"/>
                  </a:moveTo>
                  <a:lnTo>
                    <a:pt x="794" y="390"/>
                  </a:lnTo>
                  <a:cubicBezTo>
                    <a:pt x="779" y="375"/>
                    <a:pt x="740" y="375"/>
                    <a:pt x="718" y="367"/>
                  </a:cubicBezTo>
                  <a:cubicBezTo>
                    <a:pt x="687" y="359"/>
                    <a:pt x="702" y="344"/>
                    <a:pt x="664" y="367"/>
                  </a:cubicBezTo>
                  <a:cubicBezTo>
                    <a:pt x="641" y="375"/>
                    <a:pt x="641" y="352"/>
                    <a:pt x="626" y="344"/>
                  </a:cubicBezTo>
                  <a:cubicBezTo>
                    <a:pt x="626" y="321"/>
                    <a:pt x="603" y="291"/>
                    <a:pt x="595" y="268"/>
                  </a:cubicBezTo>
                  <a:cubicBezTo>
                    <a:pt x="580" y="245"/>
                    <a:pt x="557" y="229"/>
                    <a:pt x="534" y="214"/>
                  </a:cubicBezTo>
                  <a:cubicBezTo>
                    <a:pt x="519" y="206"/>
                    <a:pt x="496" y="191"/>
                    <a:pt x="481" y="176"/>
                  </a:cubicBezTo>
                  <a:cubicBezTo>
                    <a:pt x="473" y="161"/>
                    <a:pt x="435" y="130"/>
                    <a:pt x="435" y="122"/>
                  </a:cubicBezTo>
                  <a:cubicBezTo>
                    <a:pt x="420" y="122"/>
                    <a:pt x="382" y="168"/>
                    <a:pt x="366" y="176"/>
                  </a:cubicBezTo>
                  <a:cubicBezTo>
                    <a:pt x="351" y="183"/>
                    <a:pt x="305" y="222"/>
                    <a:pt x="297" y="206"/>
                  </a:cubicBezTo>
                  <a:cubicBezTo>
                    <a:pt x="290" y="191"/>
                    <a:pt x="290" y="176"/>
                    <a:pt x="290" y="153"/>
                  </a:cubicBezTo>
                  <a:cubicBezTo>
                    <a:pt x="290" y="145"/>
                    <a:pt x="244" y="153"/>
                    <a:pt x="236" y="153"/>
                  </a:cubicBezTo>
                  <a:cubicBezTo>
                    <a:pt x="229" y="153"/>
                    <a:pt x="221" y="77"/>
                    <a:pt x="213" y="69"/>
                  </a:cubicBezTo>
                  <a:cubicBezTo>
                    <a:pt x="190" y="39"/>
                    <a:pt x="160" y="23"/>
                    <a:pt x="137" y="0"/>
                  </a:cubicBezTo>
                  <a:lnTo>
                    <a:pt x="137" y="0"/>
                  </a:lnTo>
                  <a:cubicBezTo>
                    <a:pt x="122" y="16"/>
                    <a:pt x="99" y="31"/>
                    <a:pt x="91" y="54"/>
                  </a:cubicBezTo>
                  <a:cubicBezTo>
                    <a:pt x="91" y="84"/>
                    <a:pt x="99" y="115"/>
                    <a:pt x="114" y="145"/>
                  </a:cubicBezTo>
                  <a:cubicBezTo>
                    <a:pt x="129" y="176"/>
                    <a:pt x="175" y="199"/>
                    <a:pt x="183" y="237"/>
                  </a:cubicBezTo>
                  <a:cubicBezTo>
                    <a:pt x="183" y="260"/>
                    <a:pt x="137" y="260"/>
                    <a:pt x="129" y="275"/>
                  </a:cubicBezTo>
                  <a:cubicBezTo>
                    <a:pt x="107" y="298"/>
                    <a:pt x="114" y="336"/>
                    <a:pt x="91" y="359"/>
                  </a:cubicBezTo>
                  <a:cubicBezTo>
                    <a:pt x="68" y="390"/>
                    <a:pt x="30" y="405"/>
                    <a:pt x="0" y="428"/>
                  </a:cubicBezTo>
                  <a:lnTo>
                    <a:pt x="0" y="428"/>
                  </a:lnTo>
                  <a:cubicBezTo>
                    <a:pt x="7" y="451"/>
                    <a:pt x="0" y="466"/>
                    <a:pt x="7" y="481"/>
                  </a:cubicBezTo>
                  <a:cubicBezTo>
                    <a:pt x="15" y="489"/>
                    <a:pt x="23" y="489"/>
                    <a:pt x="30" y="489"/>
                  </a:cubicBezTo>
                  <a:lnTo>
                    <a:pt x="30" y="489"/>
                  </a:lnTo>
                  <a:cubicBezTo>
                    <a:pt x="61" y="497"/>
                    <a:pt x="91" y="489"/>
                    <a:pt x="114" y="497"/>
                  </a:cubicBezTo>
                  <a:cubicBezTo>
                    <a:pt x="137" y="504"/>
                    <a:pt x="152" y="520"/>
                    <a:pt x="168" y="535"/>
                  </a:cubicBezTo>
                  <a:cubicBezTo>
                    <a:pt x="175" y="543"/>
                    <a:pt x="168" y="558"/>
                    <a:pt x="175" y="573"/>
                  </a:cubicBezTo>
                  <a:cubicBezTo>
                    <a:pt x="175" y="573"/>
                    <a:pt x="190" y="665"/>
                    <a:pt x="198" y="672"/>
                  </a:cubicBezTo>
                  <a:cubicBezTo>
                    <a:pt x="206" y="672"/>
                    <a:pt x="252" y="688"/>
                    <a:pt x="252" y="688"/>
                  </a:cubicBezTo>
                  <a:cubicBezTo>
                    <a:pt x="252" y="703"/>
                    <a:pt x="244" y="718"/>
                    <a:pt x="252" y="733"/>
                  </a:cubicBezTo>
                  <a:cubicBezTo>
                    <a:pt x="259" y="741"/>
                    <a:pt x="290" y="733"/>
                    <a:pt x="290" y="749"/>
                  </a:cubicBezTo>
                  <a:cubicBezTo>
                    <a:pt x="290" y="772"/>
                    <a:pt x="244" y="779"/>
                    <a:pt x="244" y="802"/>
                  </a:cubicBezTo>
                  <a:cubicBezTo>
                    <a:pt x="252" y="840"/>
                    <a:pt x="290" y="871"/>
                    <a:pt x="313" y="909"/>
                  </a:cubicBezTo>
                  <a:lnTo>
                    <a:pt x="313" y="909"/>
                  </a:lnTo>
                  <a:cubicBezTo>
                    <a:pt x="328" y="917"/>
                    <a:pt x="343" y="932"/>
                    <a:pt x="359" y="932"/>
                  </a:cubicBezTo>
                  <a:cubicBezTo>
                    <a:pt x="412" y="917"/>
                    <a:pt x="458" y="863"/>
                    <a:pt x="511" y="863"/>
                  </a:cubicBezTo>
                  <a:cubicBezTo>
                    <a:pt x="542" y="863"/>
                    <a:pt x="565" y="902"/>
                    <a:pt x="557" y="925"/>
                  </a:cubicBezTo>
                  <a:cubicBezTo>
                    <a:pt x="549" y="970"/>
                    <a:pt x="488" y="986"/>
                    <a:pt x="481" y="1031"/>
                  </a:cubicBezTo>
                  <a:cubicBezTo>
                    <a:pt x="473" y="1047"/>
                    <a:pt x="557" y="1115"/>
                    <a:pt x="572" y="1131"/>
                  </a:cubicBezTo>
                  <a:lnTo>
                    <a:pt x="572" y="1131"/>
                  </a:lnTo>
                  <a:cubicBezTo>
                    <a:pt x="611" y="1100"/>
                    <a:pt x="657" y="1070"/>
                    <a:pt x="702" y="1047"/>
                  </a:cubicBezTo>
                  <a:cubicBezTo>
                    <a:pt x="740" y="1031"/>
                    <a:pt x="763" y="1001"/>
                    <a:pt x="779" y="970"/>
                  </a:cubicBezTo>
                  <a:lnTo>
                    <a:pt x="779" y="970"/>
                  </a:lnTo>
                  <a:cubicBezTo>
                    <a:pt x="771" y="932"/>
                    <a:pt x="771" y="932"/>
                    <a:pt x="771" y="932"/>
                  </a:cubicBezTo>
                  <a:cubicBezTo>
                    <a:pt x="771" y="925"/>
                    <a:pt x="771" y="909"/>
                    <a:pt x="771" y="909"/>
                  </a:cubicBezTo>
                  <a:cubicBezTo>
                    <a:pt x="771" y="902"/>
                    <a:pt x="771" y="902"/>
                    <a:pt x="771" y="902"/>
                  </a:cubicBezTo>
                  <a:cubicBezTo>
                    <a:pt x="779" y="902"/>
                    <a:pt x="779" y="886"/>
                    <a:pt x="771" y="879"/>
                  </a:cubicBezTo>
                  <a:cubicBezTo>
                    <a:pt x="771" y="871"/>
                    <a:pt x="771" y="871"/>
                    <a:pt x="763" y="863"/>
                  </a:cubicBezTo>
                  <a:cubicBezTo>
                    <a:pt x="756" y="848"/>
                    <a:pt x="748" y="825"/>
                    <a:pt x="763" y="818"/>
                  </a:cubicBezTo>
                  <a:lnTo>
                    <a:pt x="771" y="810"/>
                  </a:lnTo>
                  <a:cubicBezTo>
                    <a:pt x="771" y="802"/>
                    <a:pt x="771" y="802"/>
                    <a:pt x="771" y="795"/>
                  </a:cubicBezTo>
                  <a:lnTo>
                    <a:pt x="771" y="795"/>
                  </a:lnTo>
                  <a:lnTo>
                    <a:pt x="771" y="787"/>
                  </a:lnTo>
                  <a:cubicBezTo>
                    <a:pt x="756" y="718"/>
                    <a:pt x="756" y="718"/>
                    <a:pt x="756" y="718"/>
                  </a:cubicBezTo>
                  <a:cubicBezTo>
                    <a:pt x="756" y="711"/>
                    <a:pt x="763" y="688"/>
                    <a:pt x="748" y="688"/>
                  </a:cubicBezTo>
                  <a:cubicBezTo>
                    <a:pt x="748" y="650"/>
                    <a:pt x="740" y="650"/>
                    <a:pt x="763" y="619"/>
                  </a:cubicBezTo>
                  <a:cubicBezTo>
                    <a:pt x="786" y="596"/>
                    <a:pt x="786" y="573"/>
                    <a:pt x="756" y="550"/>
                  </a:cubicBezTo>
                  <a:cubicBezTo>
                    <a:pt x="756" y="535"/>
                    <a:pt x="763" y="527"/>
                    <a:pt x="763" y="504"/>
                  </a:cubicBezTo>
                  <a:cubicBezTo>
                    <a:pt x="763" y="489"/>
                    <a:pt x="748" y="481"/>
                    <a:pt x="748" y="466"/>
                  </a:cubicBezTo>
                  <a:cubicBezTo>
                    <a:pt x="748" y="443"/>
                    <a:pt x="794" y="428"/>
                    <a:pt x="794" y="3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" name="Freeform 79"/>
            <p:cNvSpPr>
              <a:spLocks noChangeArrowheads="1"/>
            </p:cNvSpPr>
            <p:nvPr/>
          </p:nvSpPr>
          <p:spPr bwMode="auto">
            <a:xfrm>
              <a:off x="6016233" y="8685214"/>
              <a:ext cx="96832" cy="173037"/>
            </a:xfrm>
            <a:custGeom>
              <a:avLst/>
              <a:gdLst>
                <a:gd name="T0" fmla="*/ 0 w 269"/>
                <a:gd name="T1" fmla="*/ 46 h 482"/>
                <a:gd name="T2" fmla="*/ 0 w 269"/>
                <a:gd name="T3" fmla="*/ 46 h 482"/>
                <a:gd name="T4" fmla="*/ 54 w 269"/>
                <a:gd name="T5" fmla="*/ 0 h 482"/>
                <a:gd name="T6" fmla="*/ 69 w 269"/>
                <a:gd name="T7" fmla="*/ 46 h 482"/>
                <a:gd name="T8" fmla="*/ 122 w 269"/>
                <a:gd name="T9" fmla="*/ 53 h 482"/>
                <a:gd name="T10" fmla="*/ 130 w 269"/>
                <a:gd name="T11" fmla="*/ 107 h 482"/>
                <a:gd name="T12" fmla="*/ 176 w 269"/>
                <a:gd name="T13" fmla="*/ 114 h 482"/>
                <a:gd name="T14" fmla="*/ 176 w 269"/>
                <a:gd name="T15" fmla="*/ 114 h 482"/>
                <a:gd name="T16" fmla="*/ 191 w 269"/>
                <a:gd name="T17" fmla="*/ 206 h 482"/>
                <a:gd name="T18" fmla="*/ 268 w 269"/>
                <a:gd name="T19" fmla="*/ 397 h 482"/>
                <a:gd name="T20" fmla="*/ 214 w 269"/>
                <a:gd name="T21" fmla="*/ 481 h 482"/>
                <a:gd name="T22" fmla="*/ 214 w 269"/>
                <a:gd name="T23" fmla="*/ 481 h 482"/>
                <a:gd name="T24" fmla="*/ 176 w 269"/>
                <a:gd name="T25" fmla="*/ 428 h 482"/>
                <a:gd name="T26" fmla="*/ 107 w 269"/>
                <a:gd name="T27" fmla="*/ 351 h 482"/>
                <a:gd name="T28" fmla="*/ 0 w 269"/>
                <a:gd name="T29" fmla="*/ 183 h 482"/>
                <a:gd name="T30" fmla="*/ 31 w 269"/>
                <a:gd name="T31" fmla="*/ 145 h 482"/>
                <a:gd name="T32" fmla="*/ 0 w 269"/>
                <a:gd name="T33" fmla="*/ 4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9" h="482">
                  <a:moveTo>
                    <a:pt x="0" y="46"/>
                  </a:moveTo>
                  <a:lnTo>
                    <a:pt x="0" y="46"/>
                  </a:lnTo>
                  <a:cubicBezTo>
                    <a:pt x="16" y="30"/>
                    <a:pt x="31" y="0"/>
                    <a:pt x="54" y="0"/>
                  </a:cubicBezTo>
                  <a:cubicBezTo>
                    <a:pt x="69" y="0"/>
                    <a:pt x="61" y="30"/>
                    <a:pt x="69" y="46"/>
                  </a:cubicBezTo>
                  <a:cubicBezTo>
                    <a:pt x="84" y="53"/>
                    <a:pt x="107" y="46"/>
                    <a:pt x="122" y="53"/>
                  </a:cubicBezTo>
                  <a:cubicBezTo>
                    <a:pt x="130" y="68"/>
                    <a:pt x="122" y="91"/>
                    <a:pt x="130" y="107"/>
                  </a:cubicBezTo>
                  <a:cubicBezTo>
                    <a:pt x="145" y="114"/>
                    <a:pt x="161" y="114"/>
                    <a:pt x="176" y="114"/>
                  </a:cubicBezTo>
                  <a:lnTo>
                    <a:pt x="176" y="114"/>
                  </a:lnTo>
                  <a:cubicBezTo>
                    <a:pt x="184" y="145"/>
                    <a:pt x="176" y="175"/>
                    <a:pt x="191" y="206"/>
                  </a:cubicBezTo>
                  <a:cubicBezTo>
                    <a:pt x="207" y="267"/>
                    <a:pt x="260" y="328"/>
                    <a:pt x="268" y="397"/>
                  </a:cubicBezTo>
                  <a:cubicBezTo>
                    <a:pt x="268" y="428"/>
                    <a:pt x="230" y="450"/>
                    <a:pt x="214" y="481"/>
                  </a:cubicBezTo>
                  <a:lnTo>
                    <a:pt x="214" y="481"/>
                  </a:lnTo>
                  <a:cubicBezTo>
                    <a:pt x="207" y="466"/>
                    <a:pt x="191" y="443"/>
                    <a:pt x="176" y="428"/>
                  </a:cubicBezTo>
                  <a:cubicBezTo>
                    <a:pt x="153" y="397"/>
                    <a:pt x="122" y="374"/>
                    <a:pt x="107" y="351"/>
                  </a:cubicBezTo>
                  <a:cubicBezTo>
                    <a:pt x="69" y="298"/>
                    <a:pt x="23" y="244"/>
                    <a:pt x="0" y="183"/>
                  </a:cubicBezTo>
                  <a:cubicBezTo>
                    <a:pt x="0" y="168"/>
                    <a:pt x="31" y="160"/>
                    <a:pt x="31" y="145"/>
                  </a:cubicBezTo>
                  <a:cubicBezTo>
                    <a:pt x="31" y="107"/>
                    <a:pt x="8" y="76"/>
                    <a:pt x="0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" name="Freeform 80"/>
            <p:cNvSpPr>
              <a:spLocks noChangeArrowheads="1"/>
            </p:cNvSpPr>
            <p:nvPr/>
          </p:nvSpPr>
          <p:spPr bwMode="auto">
            <a:xfrm>
              <a:off x="6095603" y="8689976"/>
              <a:ext cx="112706" cy="138113"/>
            </a:xfrm>
            <a:custGeom>
              <a:avLst/>
              <a:gdLst>
                <a:gd name="T0" fmla="*/ 236 w 313"/>
                <a:gd name="T1" fmla="*/ 23 h 383"/>
                <a:gd name="T2" fmla="*/ 236 w 313"/>
                <a:gd name="T3" fmla="*/ 23 h 383"/>
                <a:gd name="T4" fmla="*/ 243 w 313"/>
                <a:gd name="T5" fmla="*/ 76 h 383"/>
                <a:gd name="T6" fmla="*/ 266 w 313"/>
                <a:gd name="T7" fmla="*/ 84 h 383"/>
                <a:gd name="T8" fmla="*/ 266 w 313"/>
                <a:gd name="T9" fmla="*/ 84 h 383"/>
                <a:gd name="T10" fmla="*/ 304 w 313"/>
                <a:gd name="T11" fmla="*/ 168 h 383"/>
                <a:gd name="T12" fmla="*/ 304 w 313"/>
                <a:gd name="T13" fmla="*/ 367 h 383"/>
                <a:gd name="T14" fmla="*/ 304 w 313"/>
                <a:gd name="T15" fmla="*/ 367 h 383"/>
                <a:gd name="T16" fmla="*/ 259 w 313"/>
                <a:gd name="T17" fmla="*/ 367 h 383"/>
                <a:gd name="T18" fmla="*/ 281 w 313"/>
                <a:gd name="T19" fmla="*/ 336 h 383"/>
                <a:gd name="T20" fmla="*/ 251 w 313"/>
                <a:gd name="T21" fmla="*/ 306 h 383"/>
                <a:gd name="T22" fmla="*/ 151 w 313"/>
                <a:gd name="T23" fmla="*/ 199 h 383"/>
                <a:gd name="T24" fmla="*/ 137 w 313"/>
                <a:gd name="T25" fmla="*/ 252 h 383"/>
                <a:gd name="T26" fmla="*/ 76 w 313"/>
                <a:gd name="T27" fmla="*/ 183 h 383"/>
                <a:gd name="T28" fmla="*/ 0 w 313"/>
                <a:gd name="T29" fmla="*/ 76 h 383"/>
                <a:gd name="T30" fmla="*/ 0 w 313"/>
                <a:gd name="T31" fmla="*/ 76 h 383"/>
                <a:gd name="T32" fmla="*/ 30 w 313"/>
                <a:gd name="T33" fmla="*/ 8 h 383"/>
                <a:gd name="T34" fmla="*/ 122 w 313"/>
                <a:gd name="T35" fmla="*/ 38 h 383"/>
                <a:gd name="T36" fmla="*/ 236 w 313"/>
                <a:gd name="T37" fmla="*/ 23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3" h="383">
                  <a:moveTo>
                    <a:pt x="236" y="23"/>
                  </a:moveTo>
                  <a:lnTo>
                    <a:pt x="236" y="23"/>
                  </a:lnTo>
                  <a:cubicBezTo>
                    <a:pt x="243" y="46"/>
                    <a:pt x="236" y="61"/>
                    <a:pt x="243" y="76"/>
                  </a:cubicBezTo>
                  <a:cubicBezTo>
                    <a:pt x="251" y="84"/>
                    <a:pt x="259" y="84"/>
                    <a:pt x="266" y="84"/>
                  </a:cubicBezTo>
                  <a:lnTo>
                    <a:pt x="266" y="84"/>
                  </a:lnTo>
                  <a:cubicBezTo>
                    <a:pt x="281" y="115"/>
                    <a:pt x="297" y="138"/>
                    <a:pt x="304" y="168"/>
                  </a:cubicBezTo>
                  <a:cubicBezTo>
                    <a:pt x="312" y="237"/>
                    <a:pt x="304" y="298"/>
                    <a:pt x="304" y="367"/>
                  </a:cubicBezTo>
                  <a:lnTo>
                    <a:pt x="304" y="367"/>
                  </a:lnTo>
                  <a:cubicBezTo>
                    <a:pt x="289" y="367"/>
                    <a:pt x="274" y="382"/>
                    <a:pt x="259" y="367"/>
                  </a:cubicBezTo>
                  <a:cubicBezTo>
                    <a:pt x="251" y="359"/>
                    <a:pt x="281" y="351"/>
                    <a:pt x="281" y="336"/>
                  </a:cubicBezTo>
                  <a:cubicBezTo>
                    <a:pt x="274" y="328"/>
                    <a:pt x="259" y="321"/>
                    <a:pt x="251" y="306"/>
                  </a:cubicBezTo>
                  <a:cubicBezTo>
                    <a:pt x="220" y="275"/>
                    <a:pt x="197" y="222"/>
                    <a:pt x="151" y="199"/>
                  </a:cubicBezTo>
                  <a:cubicBezTo>
                    <a:pt x="137" y="191"/>
                    <a:pt x="159" y="260"/>
                    <a:pt x="137" y="252"/>
                  </a:cubicBezTo>
                  <a:cubicBezTo>
                    <a:pt x="107" y="245"/>
                    <a:pt x="99" y="206"/>
                    <a:pt x="76" y="183"/>
                  </a:cubicBezTo>
                  <a:cubicBezTo>
                    <a:pt x="46" y="153"/>
                    <a:pt x="23" y="115"/>
                    <a:pt x="0" y="76"/>
                  </a:cubicBezTo>
                  <a:lnTo>
                    <a:pt x="0" y="76"/>
                  </a:lnTo>
                  <a:cubicBezTo>
                    <a:pt x="8" y="53"/>
                    <a:pt x="8" y="15"/>
                    <a:pt x="30" y="8"/>
                  </a:cubicBezTo>
                  <a:cubicBezTo>
                    <a:pt x="61" y="0"/>
                    <a:pt x="91" y="38"/>
                    <a:pt x="122" y="38"/>
                  </a:cubicBezTo>
                  <a:cubicBezTo>
                    <a:pt x="159" y="46"/>
                    <a:pt x="197" y="31"/>
                    <a:pt x="236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" name="Freeform 81"/>
            <p:cNvSpPr>
              <a:spLocks noChangeArrowheads="1"/>
            </p:cNvSpPr>
            <p:nvPr/>
          </p:nvSpPr>
          <p:spPr bwMode="auto">
            <a:xfrm>
              <a:off x="6190847" y="8720138"/>
              <a:ext cx="101593" cy="163512"/>
            </a:xfrm>
            <a:custGeom>
              <a:avLst/>
              <a:gdLst>
                <a:gd name="T0" fmla="*/ 0 w 284"/>
                <a:gd name="T1" fmla="*/ 0 h 452"/>
                <a:gd name="T2" fmla="*/ 0 w 284"/>
                <a:gd name="T3" fmla="*/ 0 h 452"/>
                <a:gd name="T4" fmla="*/ 84 w 284"/>
                <a:gd name="T5" fmla="*/ 8 h 452"/>
                <a:gd name="T6" fmla="*/ 138 w 284"/>
                <a:gd name="T7" fmla="*/ 46 h 452"/>
                <a:gd name="T8" fmla="*/ 145 w 284"/>
                <a:gd name="T9" fmla="*/ 84 h 452"/>
                <a:gd name="T10" fmla="*/ 168 w 284"/>
                <a:gd name="T11" fmla="*/ 183 h 452"/>
                <a:gd name="T12" fmla="*/ 222 w 284"/>
                <a:gd name="T13" fmla="*/ 199 h 452"/>
                <a:gd name="T14" fmla="*/ 222 w 284"/>
                <a:gd name="T15" fmla="*/ 244 h 452"/>
                <a:gd name="T16" fmla="*/ 260 w 284"/>
                <a:gd name="T17" fmla="*/ 260 h 452"/>
                <a:gd name="T18" fmla="*/ 214 w 284"/>
                <a:gd name="T19" fmla="*/ 313 h 452"/>
                <a:gd name="T20" fmla="*/ 283 w 284"/>
                <a:gd name="T21" fmla="*/ 420 h 452"/>
                <a:gd name="T22" fmla="*/ 283 w 284"/>
                <a:gd name="T23" fmla="*/ 420 h 452"/>
                <a:gd name="T24" fmla="*/ 183 w 284"/>
                <a:gd name="T25" fmla="*/ 451 h 452"/>
                <a:gd name="T26" fmla="*/ 92 w 284"/>
                <a:gd name="T27" fmla="*/ 451 h 452"/>
                <a:gd name="T28" fmla="*/ 92 w 284"/>
                <a:gd name="T29" fmla="*/ 451 h 452"/>
                <a:gd name="T30" fmla="*/ 61 w 284"/>
                <a:gd name="T31" fmla="*/ 405 h 452"/>
                <a:gd name="T32" fmla="*/ 99 w 284"/>
                <a:gd name="T33" fmla="*/ 351 h 452"/>
                <a:gd name="T34" fmla="*/ 92 w 284"/>
                <a:gd name="T35" fmla="*/ 275 h 452"/>
                <a:gd name="T36" fmla="*/ 38 w 284"/>
                <a:gd name="T37" fmla="*/ 283 h 452"/>
                <a:gd name="T38" fmla="*/ 38 w 284"/>
                <a:gd name="T39" fmla="*/ 283 h 452"/>
                <a:gd name="T40" fmla="*/ 38 w 284"/>
                <a:gd name="T41" fmla="*/ 84 h 452"/>
                <a:gd name="T42" fmla="*/ 0 w 284"/>
                <a:gd name="T43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4" h="452">
                  <a:moveTo>
                    <a:pt x="0" y="0"/>
                  </a:moveTo>
                  <a:lnTo>
                    <a:pt x="0" y="0"/>
                  </a:lnTo>
                  <a:cubicBezTo>
                    <a:pt x="31" y="8"/>
                    <a:pt x="61" y="0"/>
                    <a:pt x="84" y="8"/>
                  </a:cubicBezTo>
                  <a:cubicBezTo>
                    <a:pt x="107" y="15"/>
                    <a:pt x="122" y="31"/>
                    <a:pt x="138" y="46"/>
                  </a:cubicBezTo>
                  <a:cubicBezTo>
                    <a:pt x="145" y="54"/>
                    <a:pt x="138" y="69"/>
                    <a:pt x="145" y="84"/>
                  </a:cubicBezTo>
                  <a:cubicBezTo>
                    <a:pt x="145" y="84"/>
                    <a:pt x="160" y="176"/>
                    <a:pt x="168" y="183"/>
                  </a:cubicBezTo>
                  <a:cubicBezTo>
                    <a:pt x="176" y="183"/>
                    <a:pt x="222" y="199"/>
                    <a:pt x="222" y="199"/>
                  </a:cubicBezTo>
                  <a:cubicBezTo>
                    <a:pt x="222" y="214"/>
                    <a:pt x="214" y="229"/>
                    <a:pt x="222" y="244"/>
                  </a:cubicBezTo>
                  <a:cubicBezTo>
                    <a:pt x="229" y="252"/>
                    <a:pt x="260" y="244"/>
                    <a:pt x="260" y="260"/>
                  </a:cubicBezTo>
                  <a:cubicBezTo>
                    <a:pt x="260" y="283"/>
                    <a:pt x="214" y="290"/>
                    <a:pt x="214" y="313"/>
                  </a:cubicBezTo>
                  <a:cubicBezTo>
                    <a:pt x="222" y="351"/>
                    <a:pt x="260" y="382"/>
                    <a:pt x="283" y="420"/>
                  </a:cubicBezTo>
                  <a:lnTo>
                    <a:pt x="283" y="420"/>
                  </a:lnTo>
                  <a:cubicBezTo>
                    <a:pt x="252" y="428"/>
                    <a:pt x="222" y="443"/>
                    <a:pt x="183" y="451"/>
                  </a:cubicBezTo>
                  <a:cubicBezTo>
                    <a:pt x="153" y="451"/>
                    <a:pt x="122" y="451"/>
                    <a:pt x="92" y="451"/>
                  </a:cubicBezTo>
                  <a:lnTo>
                    <a:pt x="92" y="451"/>
                  </a:lnTo>
                  <a:cubicBezTo>
                    <a:pt x="77" y="436"/>
                    <a:pt x="61" y="420"/>
                    <a:pt x="61" y="405"/>
                  </a:cubicBezTo>
                  <a:cubicBezTo>
                    <a:pt x="61" y="382"/>
                    <a:pt x="92" y="374"/>
                    <a:pt x="99" y="351"/>
                  </a:cubicBezTo>
                  <a:cubicBezTo>
                    <a:pt x="99" y="321"/>
                    <a:pt x="107" y="290"/>
                    <a:pt x="92" y="275"/>
                  </a:cubicBezTo>
                  <a:cubicBezTo>
                    <a:pt x="77" y="260"/>
                    <a:pt x="54" y="275"/>
                    <a:pt x="38" y="283"/>
                  </a:cubicBezTo>
                  <a:lnTo>
                    <a:pt x="38" y="283"/>
                  </a:lnTo>
                  <a:cubicBezTo>
                    <a:pt x="38" y="214"/>
                    <a:pt x="46" y="153"/>
                    <a:pt x="38" y="84"/>
                  </a:cubicBezTo>
                  <a:cubicBezTo>
                    <a:pt x="31" y="54"/>
                    <a:pt x="15" y="31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" name="Freeform 82"/>
            <p:cNvSpPr>
              <a:spLocks noChangeArrowheads="1"/>
            </p:cNvSpPr>
            <p:nvPr/>
          </p:nvSpPr>
          <p:spPr bwMode="auto">
            <a:xfrm>
              <a:off x="6079730" y="8718551"/>
              <a:ext cx="150803" cy="231775"/>
            </a:xfrm>
            <a:custGeom>
              <a:avLst/>
              <a:gdLst>
                <a:gd name="T0" fmla="*/ 0 w 420"/>
                <a:gd name="T1" fmla="*/ 23 h 643"/>
                <a:gd name="T2" fmla="*/ 0 w 420"/>
                <a:gd name="T3" fmla="*/ 23 h 643"/>
                <a:gd name="T4" fmla="*/ 46 w 420"/>
                <a:gd name="T5" fmla="*/ 0 h 643"/>
                <a:gd name="T6" fmla="*/ 46 w 420"/>
                <a:gd name="T7" fmla="*/ 0 h 643"/>
                <a:gd name="T8" fmla="*/ 122 w 420"/>
                <a:gd name="T9" fmla="*/ 107 h 643"/>
                <a:gd name="T10" fmla="*/ 183 w 420"/>
                <a:gd name="T11" fmla="*/ 176 h 643"/>
                <a:gd name="T12" fmla="*/ 197 w 420"/>
                <a:gd name="T13" fmla="*/ 123 h 643"/>
                <a:gd name="T14" fmla="*/ 297 w 420"/>
                <a:gd name="T15" fmla="*/ 230 h 643"/>
                <a:gd name="T16" fmla="*/ 327 w 420"/>
                <a:gd name="T17" fmla="*/ 260 h 643"/>
                <a:gd name="T18" fmla="*/ 305 w 420"/>
                <a:gd name="T19" fmla="*/ 291 h 643"/>
                <a:gd name="T20" fmla="*/ 350 w 420"/>
                <a:gd name="T21" fmla="*/ 291 h 643"/>
                <a:gd name="T22" fmla="*/ 350 w 420"/>
                <a:gd name="T23" fmla="*/ 291 h 643"/>
                <a:gd name="T24" fmla="*/ 404 w 420"/>
                <a:gd name="T25" fmla="*/ 283 h 643"/>
                <a:gd name="T26" fmla="*/ 411 w 420"/>
                <a:gd name="T27" fmla="*/ 359 h 643"/>
                <a:gd name="T28" fmla="*/ 373 w 420"/>
                <a:gd name="T29" fmla="*/ 413 h 643"/>
                <a:gd name="T30" fmla="*/ 404 w 420"/>
                <a:gd name="T31" fmla="*/ 459 h 643"/>
                <a:gd name="T32" fmla="*/ 404 w 420"/>
                <a:gd name="T33" fmla="*/ 459 h 643"/>
                <a:gd name="T34" fmla="*/ 343 w 420"/>
                <a:gd name="T35" fmla="*/ 535 h 643"/>
                <a:gd name="T36" fmla="*/ 389 w 420"/>
                <a:gd name="T37" fmla="*/ 581 h 643"/>
                <a:gd name="T38" fmla="*/ 350 w 420"/>
                <a:gd name="T39" fmla="*/ 642 h 643"/>
                <a:gd name="T40" fmla="*/ 350 w 420"/>
                <a:gd name="T41" fmla="*/ 642 h 643"/>
                <a:gd name="T42" fmla="*/ 274 w 420"/>
                <a:gd name="T43" fmla="*/ 611 h 643"/>
                <a:gd name="T44" fmla="*/ 160 w 420"/>
                <a:gd name="T45" fmla="*/ 627 h 643"/>
                <a:gd name="T46" fmla="*/ 160 w 420"/>
                <a:gd name="T47" fmla="*/ 627 h 643"/>
                <a:gd name="T48" fmla="*/ 69 w 420"/>
                <a:gd name="T49" fmla="*/ 535 h 643"/>
                <a:gd name="T50" fmla="*/ 38 w 420"/>
                <a:gd name="T51" fmla="*/ 390 h 643"/>
                <a:gd name="T52" fmla="*/ 38 w 420"/>
                <a:gd name="T53" fmla="*/ 390 h 643"/>
                <a:gd name="T54" fmla="*/ 92 w 420"/>
                <a:gd name="T55" fmla="*/ 306 h 643"/>
                <a:gd name="T56" fmla="*/ 15 w 420"/>
                <a:gd name="T57" fmla="*/ 115 h 643"/>
                <a:gd name="T58" fmla="*/ 0 w 420"/>
                <a:gd name="T59" fmla="*/ 2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0" h="643">
                  <a:moveTo>
                    <a:pt x="0" y="23"/>
                  </a:moveTo>
                  <a:lnTo>
                    <a:pt x="0" y="23"/>
                  </a:lnTo>
                  <a:cubicBezTo>
                    <a:pt x="46" y="0"/>
                    <a:pt x="46" y="0"/>
                    <a:pt x="46" y="0"/>
                  </a:cubicBezTo>
                  <a:lnTo>
                    <a:pt x="46" y="0"/>
                  </a:lnTo>
                  <a:cubicBezTo>
                    <a:pt x="69" y="39"/>
                    <a:pt x="92" y="77"/>
                    <a:pt x="122" y="107"/>
                  </a:cubicBezTo>
                  <a:cubicBezTo>
                    <a:pt x="145" y="130"/>
                    <a:pt x="153" y="169"/>
                    <a:pt x="183" y="176"/>
                  </a:cubicBezTo>
                  <a:cubicBezTo>
                    <a:pt x="205" y="184"/>
                    <a:pt x="183" y="115"/>
                    <a:pt x="197" y="123"/>
                  </a:cubicBezTo>
                  <a:cubicBezTo>
                    <a:pt x="243" y="146"/>
                    <a:pt x="266" y="199"/>
                    <a:pt x="297" y="230"/>
                  </a:cubicBezTo>
                  <a:cubicBezTo>
                    <a:pt x="305" y="245"/>
                    <a:pt x="320" y="252"/>
                    <a:pt x="327" y="260"/>
                  </a:cubicBezTo>
                  <a:cubicBezTo>
                    <a:pt x="327" y="275"/>
                    <a:pt x="297" y="283"/>
                    <a:pt x="305" y="291"/>
                  </a:cubicBezTo>
                  <a:cubicBezTo>
                    <a:pt x="320" y="306"/>
                    <a:pt x="335" y="291"/>
                    <a:pt x="350" y="291"/>
                  </a:cubicBezTo>
                  <a:lnTo>
                    <a:pt x="350" y="291"/>
                  </a:lnTo>
                  <a:cubicBezTo>
                    <a:pt x="366" y="283"/>
                    <a:pt x="389" y="268"/>
                    <a:pt x="404" y="283"/>
                  </a:cubicBezTo>
                  <a:cubicBezTo>
                    <a:pt x="419" y="298"/>
                    <a:pt x="411" y="329"/>
                    <a:pt x="411" y="359"/>
                  </a:cubicBezTo>
                  <a:cubicBezTo>
                    <a:pt x="404" y="382"/>
                    <a:pt x="373" y="390"/>
                    <a:pt x="373" y="413"/>
                  </a:cubicBezTo>
                  <a:cubicBezTo>
                    <a:pt x="373" y="428"/>
                    <a:pt x="389" y="444"/>
                    <a:pt x="404" y="459"/>
                  </a:cubicBezTo>
                  <a:lnTo>
                    <a:pt x="404" y="459"/>
                  </a:lnTo>
                  <a:cubicBezTo>
                    <a:pt x="381" y="482"/>
                    <a:pt x="350" y="505"/>
                    <a:pt x="343" y="535"/>
                  </a:cubicBezTo>
                  <a:cubicBezTo>
                    <a:pt x="343" y="550"/>
                    <a:pt x="389" y="558"/>
                    <a:pt x="389" y="581"/>
                  </a:cubicBezTo>
                  <a:cubicBezTo>
                    <a:pt x="389" y="604"/>
                    <a:pt x="366" y="627"/>
                    <a:pt x="350" y="642"/>
                  </a:cubicBezTo>
                  <a:lnTo>
                    <a:pt x="350" y="642"/>
                  </a:lnTo>
                  <a:cubicBezTo>
                    <a:pt x="320" y="634"/>
                    <a:pt x="297" y="611"/>
                    <a:pt x="274" y="611"/>
                  </a:cubicBezTo>
                  <a:cubicBezTo>
                    <a:pt x="236" y="604"/>
                    <a:pt x="197" y="619"/>
                    <a:pt x="160" y="627"/>
                  </a:cubicBezTo>
                  <a:lnTo>
                    <a:pt x="160" y="627"/>
                  </a:lnTo>
                  <a:cubicBezTo>
                    <a:pt x="130" y="596"/>
                    <a:pt x="92" y="566"/>
                    <a:pt x="69" y="535"/>
                  </a:cubicBezTo>
                  <a:cubicBezTo>
                    <a:pt x="54" y="489"/>
                    <a:pt x="54" y="436"/>
                    <a:pt x="38" y="390"/>
                  </a:cubicBezTo>
                  <a:lnTo>
                    <a:pt x="38" y="390"/>
                  </a:lnTo>
                  <a:cubicBezTo>
                    <a:pt x="54" y="359"/>
                    <a:pt x="92" y="337"/>
                    <a:pt x="92" y="306"/>
                  </a:cubicBezTo>
                  <a:cubicBezTo>
                    <a:pt x="84" y="237"/>
                    <a:pt x="31" y="176"/>
                    <a:pt x="15" y="115"/>
                  </a:cubicBezTo>
                  <a:cubicBezTo>
                    <a:pt x="0" y="84"/>
                    <a:pt x="8" y="54"/>
                    <a:pt x="0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" name="Freeform 83"/>
            <p:cNvSpPr>
              <a:spLocks noChangeArrowheads="1"/>
            </p:cNvSpPr>
            <p:nvPr/>
          </p:nvSpPr>
          <p:spPr bwMode="auto">
            <a:xfrm>
              <a:off x="6203546" y="8855076"/>
              <a:ext cx="184138" cy="138113"/>
            </a:xfrm>
            <a:custGeom>
              <a:avLst/>
              <a:gdLst>
                <a:gd name="T0" fmla="*/ 61 w 512"/>
                <a:gd name="T1" fmla="*/ 77 h 383"/>
                <a:gd name="T2" fmla="*/ 61 w 512"/>
                <a:gd name="T3" fmla="*/ 77 h 383"/>
                <a:gd name="T4" fmla="*/ 152 w 512"/>
                <a:gd name="T5" fmla="*/ 77 h 383"/>
                <a:gd name="T6" fmla="*/ 252 w 512"/>
                <a:gd name="T7" fmla="*/ 46 h 383"/>
                <a:gd name="T8" fmla="*/ 252 w 512"/>
                <a:gd name="T9" fmla="*/ 46 h 383"/>
                <a:gd name="T10" fmla="*/ 298 w 512"/>
                <a:gd name="T11" fmla="*/ 69 h 383"/>
                <a:gd name="T12" fmla="*/ 450 w 512"/>
                <a:gd name="T13" fmla="*/ 0 h 383"/>
                <a:gd name="T14" fmla="*/ 496 w 512"/>
                <a:gd name="T15" fmla="*/ 62 h 383"/>
                <a:gd name="T16" fmla="*/ 420 w 512"/>
                <a:gd name="T17" fmla="*/ 168 h 383"/>
                <a:gd name="T18" fmla="*/ 511 w 512"/>
                <a:gd name="T19" fmla="*/ 268 h 383"/>
                <a:gd name="T20" fmla="*/ 511 w 512"/>
                <a:gd name="T21" fmla="*/ 268 h 383"/>
                <a:gd name="T22" fmla="*/ 397 w 512"/>
                <a:gd name="T23" fmla="*/ 329 h 383"/>
                <a:gd name="T24" fmla="*/ 68 w 512"/>
                <a:gd name="T25" fmla="*/ 382 h 383"/>
                <a:gd name="T26" fmla="*/ 68 w 512"/>
                <a:gd name="T27" fmla="*/ 382 h 383"/>
                <a:gd name="T28" fmla="*/ 53 w 512"/>
                <a:gd name="T29" fmla="*/ 275 h 383"/>
                <a:gd name="T30" fmla="*/ 7 w 512"/>
                <a:gd name="T31" fmla="*/ 260 h 383"/>
                <a:gd name="T32" fmla="*/ 7 w 512"/>
                <a:gd name="T33" fmla="*/ 260 h 383"/>
                <a:gd name="T34" fmla="*/ 46 w 512"/>
                <a:gd name="T35" fmla="*/ 199 h 383"/>
                <a:gd name="T36" fmla="*/ 0 w 512"/>
                <a:gd name="T37" fmla="*/ 153 h 383"/>
                <a:gd name="T38" fmla="*/ 61 w 512"/>
                <a:gd name="T39" fmla="*/ 7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383">
                  <a:moveTo>
                    <a:pt x="61" y="77"/>
                  </a:moveTo>
                  <a:lnTo>
                    <a:pt x="61" y="77"/>
                  </a:lnTo>
                  <a:cubicBezTo>
                    <a:pt x="91" y="77"/>
                    <a:pt x="122" y="77"/>
                    <a:pt x="152" y="77"/>
                  </a:cubicBezTo>
                  <a:cubicBezTo>
                    <a:pt x="191" y="69"/>
                    <a:pt x="221" y="54"/>
                    <a:pt x="252" y="46"/>
                  </a:cubicBezTo>
                  <a:lnTo>
                    <a:pt x="252" y="46"/>
                  </a:lnTo>
                  <a:cubicBezTo>
                    <a:pt x="267" y="54"/>
                    <a:pt x="282" y="69"/>
                    <a:pt x="298" y="69"/>
                  </a:cubicBezTo>
                  <a:cubicBezTo>
                    <a:pt x="351" y="54"/>
                    <a:pt x="397" y="0"/>
                    <a:pt x="450" y="0"/>
                  </a:cubicBezTo>
                  <a:cubicBezTo>
                    <a:pt x="481" y="0"/>
                    <a:pt x="504" y="39"/>
                    <a:pt x="496" y="62"/>
                  </a:cubicBezTo>
                  <a:cubicBezTo>
                    <a:pt x="488" y="107"/>
                    <a:pt x="427" y="123"/>
                    <a:pt x="420" y="168"/>
                  </a:cubicBezTo>
                  <a:cubicBezTo>
                    <a:pt x="412" y="184"/>
                    <a:pt x="496" y="252"/>
                    <a:pt x="511" y="268"/>
                  </a:cubicBezTo>
                  <a:lnTo>
                    <a:pt x="511" y="268"/>
                  </a:lnTo>
                  <a:cubicBezTo>
                    <a:pt x="473" y="291"/>
                    <a:pt x="435" y="314"/>
                    <a:pt x="397" y="329"/>
                  </a:cubicBezTo>
                  <a:cubicBezTo>
                    <a:pt x="282" y="367"/>
                    <a:pt x="160" y="344"/>
                    <a:pt x="68" y="382"/>
                  </a:cubicBezTo>
                  <a:lnTo>
                    <a:pt x="68" y="382"/>
                  </a:lnTo>
                  <a:cubicBezTo>
                    <a:pt x="61" y="344"/>
                    <a:pt x="68" y="306"/>
                    <a:pt x="53" y="275"/>
                  </a:cubicBezTo>
                  <a:cubicBezTo>
                    <a:pt x="46" y="260"/>
                    <a:pt x="23" y="268"/>
                    <a:pt x="7" y="260"/>
                  </a:cubicBezTo>
                  <a:lnTo>
                    <a:pt x="7" y="260"/>
                  </a:lnTo>
                  <a:cubicBezTo>
                    <a:pt x="23" y="245"/>
                    <a:pt x="46" y="222"/>
                    <a:pt x="46" y="199"/>
                  </a:cubicBezTo>
                  <a:cubicBezTo>
                    <a:pt x="46" y="176"/>
                    <a:pt x="0" y="168"/>
                    <a:pt x="0" y="153"/>
                  </a:cubicBezTo>
                  <a:cubicBezTo>
                    <a:pt x="7" y="123"/>
                    <a:pt x="38" y="100"/>
                    <a:pt x="61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" name="Freeform 84"/>
            <p:cNvSpPr>
              <a:spLocks noChangeArrowheads="1"/>
            </p:cNvSpPr>
            <p:nvPr/>
          </p:nvSpPr>
          <p:spPr bwMode="auto">
            <a:xfrm>
              <a:off x="5825746" y="8858251"/>
              <a:ext cx="174614" cy="176213"/>
            </a:xfrm>
            <a:custGeom>
              <a:avLst/>
              <a:gdLst>
                <a:gd name="T0" fmla="*/ 352 w 483"/>
                <a:gd name="T1" fmla="*/ 8 h 490"/>
                <a:gd name="T2" fmla="*/ 352 w 483"/>
                <a:gd name="T3" fmla="*/ 8 h 490"/>
                <a:gd name="T4" fmla="*/ 451 w 483"/>
                <a:gd name="T5" fmla="*/ 84 h 490"/>
                <a:gd name="T6" fmla="*/ 474 w 483"/>
                <a:gd name="T7" fmla="*/ 160 h 490"/>
                <a:gd name="T8" fmla="*/ 474 w 483"/>
                <a:gd name="T9" fmla="*/ 221 h 490"/>
                <a:gd name="T10" fmla="*/ 474 w 483"/>
                <a:gd name="T11" fmla="*/ 329 h 490"/>
                <a:gd name="T12" fmla="*/ 474 w 483"/>
                <a:gd name="T13" fmla="*/ 329 h 490"/>
                <a:gd name="T14" fmla="*/ 390 w 483"/>
                <a:gd name="T15" fmla="*/ 405 h 490"/>
                <a:gd name="T16" fmla="*/ 336 w 483"/>
                <a:gd name="T17" fmla="*/ 390 h 490"/>
                <a:gd name="T18" fmla="*/ 191 w 483"/>
                <a:gd name="T19" fmla="*/ 489 h 490"/>
                <a:gd name="T20" fmla="*/ 191 w 483"/>
                <a:gd name="T21" fmla="*/ 489 h 490"/>
                <a:gd name="T22" fmla="*/ 31 w 483"/>
                <a:gd name="T23" fmla="*/ 390 h 490"/>
                <a:gd name="T24" fmla="*/ 0 w 483"/>
                <a:gd name="T25" fmla="*/ 290 h 490"/>
                <a:gd name="T26" fmla="*/ 0 w 483"/>
                <a:gd name="T27" fmla="*/ 290 h 490"/>
                <a:gd name="T28" fmla="*/ 184 w 483"/>
                <a:gd name="T29" fmla="*/ 283 h 490"/>
                <a:gd name="T30" fmla="*/ 199 w 483"/>
                <a:gd name="T31" fmla="*/ 221 h 490"/>
                <a:gd name="T32" fmla="*/ 145 w 483"/>
                <a:gd name="T33" fmla="*/ 99 h 490"/>
                <a:gd name="T34" fmla="*/ 184 w 483"/>
                <a:gd name="T35" fmla="*/ 15 h 490"/>
                <a:gd name="T36" fmla="*/ 275 w 483"/>
                <a:gd name="T37" fmla="*/ 23 h 490"/>
                <a:gd name="T38" fmla="*/ 352 w 483"/>
                <a:gd name="T39" fmla="*/ 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" h="490">
                  <a:moveTo>
                    <a:pt x="352" y="8"/>
                  </a:moveTo>
                  <a:lnTo>
                    <a:pt x="352" y="8"/>
                  </a:lnTo>
                  <a:cubicBezTo>
                    <a:pt x="382" y="31"/>
                    <a:pt x="420" y="54"/>
                    <a:pt x="451" y="84"/>
                  </a:cubicBezTo>
                  <a:cubicBezTo>
                    <a:pt x="466" y="107"/>
                    <a:pt x="474" y="137"/>
                    <a:pt x="474" y="160"/>
                  </a:cubicBezTo>
                  <a:cubicBezTo>
                    <a:pt x="482" y="183"/>
                    <a:pt x="474" y="199"/>
                    <a:pt x="474" y="221"/>
                  </a:cubicBezTo>
                  <a:cubicBezTo>
                    <a:pt x="474" y="260"/>
                    <a:pt x="474" y="290"/>
                    <a:pt x="474" y="329"/>
                  </a:cubicBezTo>
                  <a:lnTo>
                    <a:pt x="474" y="329"/>
                  </a:lnTo>
                  <a:cubicBezTo>
                    <a:pt x="443" y="351"/>
                    <a:pt x="420" y="390"/>
                    <a:pt x="390" y="405"/>
                  </a:cubicBezTo>
                  <a:cubicBezTo>
                    <a:pt x="374" y="412"/>
                    <a:pt x="352" y="382"/>
                    <a:pt x="336" y="390"/>
                  </a:cubicBezTo>
                  <a:cubicBezTo>
                    <a:pt x="290" y="405"/>
                    <a:pt x="229" y="466"/>
                    <a:pt x="191" y="489"/>
                  </a:cubicBezTo>
                  <a:lnTo>
                    <a:pt x="191" y="489"/>
                  </a:lnTo>
                  <a:cubicBezTo>
                    <a:pt x="130" y="466"/>
                    <a:pt x="61" y="481"/>
                    <a:pt x="31" y="390"/>
                  </a:cubicBezTo>
                  <a:cubicBezTo>
                    <a:pt x="23" y="367"/>
                    <a:pt x="15" y="336"/>
                    <a:pt x="0" y="290"/>
                  </a:cubicBezTo>
                  <a:lnTo>
                    <a:pt x="0" y="290"/>
                  </a:lnTo>
                  <a:cubicBezTo>
                    <a:pt x="46" y="290"/>
                    <a:pt x="138" y="298"/>
                    <a:pt x="184" y="283"/>
                  </a:cubicBezTo>
                  <a:cubicBezTo>
                    <a:pt x="199" y="275"/>
                    <a:pt x="207" y="244"/>
                    <a:pt x="199" y="221"/>
                  </a:cubicBezTo>
                  <a:cubicBezTo>
                    <a:pt x="191" y="176"/>
                    <a:pt x="153" y="145"/>
                    <a:pt x="145" y="99"/>
                  </a:cubicBezTo>
                  <a:cubicBezTo>
                    <a:pt x="145" y="69"/>
                    <a:pt x="153" y="31"/>
                    <a:pt x="184" y="15"/>
                  </a:cubicBezTo>
                  <a:cubicBezTo>
                    <a:pt x="207" y="0"/>
                    <a:pt x="245" y="23"/>
                    <a:pt x="275" y="23"/>
                  </a:cubicBezTo>
                  <a:cubicBezTo>
                    <a:pt x="306" y="23"/>
                    <a:pt x="329" y="8"/>
                    <a:pt x="352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" name="Freeform 85"/>
            <p:cNvSpPr>
              <a:spLocks noChangeArrowheads="1"/>
            </p:cNvSpPr>
            <p:nvPr/>
          </p:nvSpPr>
          <p:spPr bwMode="auto">
            <a:xfrm>
              <a:off x="5930514" y="8686800"/>
              <a:ext cx="206362" cy="300038"/>
            </a:xfrm>
            <a:custGeom>
              <a:avLst/>
              <a:gdLst>
                <a:gd name="T0" fmla="*/ 237 w 574"/>
                <a:gd name="T1" fmla="*/ 39 h 834"/>
                <a:gd name="T2" fmla="*/ 237 w 574"/>
                <a:gd name="T3" fmla="*/ 39 h 834"/>
                <a:gd name="T4" fmla="*/ 268 w 574"/>
                <a:gd name="T5" fmla="*/ 138 h 834"/>
                <a:gd name="T6" fmla="*/ 237 w 574"/>
                <a:gd name="T7" fmla="*/ 176 h 834"/>
                <a:gd name="T8" fmla="*/ 344 w 574"/>
                <a:gd name="T9" fmla="*/ 344 h 834"/>
                <a:gd name="T10" fmla="*/ 413 w 574"/>
                <a:gd name="T11" fmla="*/ 421 h 834"/>
                <a:gd name="T12" fmla="*/ 451 w 574"/>
                <a:gd name="T13" fmla="*/ 474 h 834"/>
                <a:gd name="T14" fmla="*/ 451 w 574"/>
                <a:gd name="T15" fmla="*/ 474 h 834"/>
                <a:gd name="T16" fmla="*/ 482 w 574"/>
                <a:gd name="T17" fmla="*/ 619 h 834"/>
                <a:gd name="T18" fmla="*/ 573 w 574"/>
                <a:gd name="T19" fmla="*/ 711 h 834"/>
                <a:gd name="T20" fmla="*/ 573 w 574"/>
                <a:gd name="T21" fmla="*/ 711 h 834"/>
                <a:gd name="T22" fmla="*/ 535 w 574"/>
                <a:gd name="T23" fmla="*/ 749 h 834"/>
                <a:gd name="T24" fmla="*/ 482 w 574"/>
                <a:gd name="T25" fmla="*/ 718 h 834"/>
                <a:gd name="T26" fmla="*/ 413 w 574"/>
                <a:gd name="T27" fmla="*/ 749 h 834"/>
                <a:gd name="T28" fmla="*/ 413 w 574"/>
                <a:gd name="T29" fmla="*/ 818 h 834"/>
                <a:gd name="T30" fmla="*/ 413 w 574"/>
                <a:gd name="T31" fmla="*/ 818 h 834"/>
                <a:gd name="T32" fmla="*/ 291 w 574"/>
                <a:gd name="T33" fmla="*/ 833 h 834"/>
                <a:gd name="T34" fmla="*/ 184 w 574"/>
                <a:gd name="T35" fmla="*/ 803 h 834"/>
                <a:gd name="T36" fmla="*/ 184 w 574"/>
                <a:gd name="T37" fmla="*/ 803 h 834"/>
                <a:gd name="T38" fmla="*/ 184 w 574"/>
                <a:gd name="T39" fmla="*/ 695 h 834"/>
                <a:gd name="T40" fmla="*/ 184 w 574"/>
                <a:gd name="T41" fmla="*/ 634 h 834"/>
                <a:gd name="T42" fmla="*/ 161 w 574"/>
                <a:gd name="T43" fmla="*/ 558 h 834"/>
                <a:gd name="T44" fmla="*/ 62 w 574"/>
                <a:gd name="T45" fmla="*/ 482 h 834"/>
                <a:gd name="T46" fmla="*/ 62 w 574"/>
                <a:gd name="T47" fmla="*/ 482 h 834"/>
                <a:gd name="T48" fmla="*/ 0 w 574"/>
                <a:gd name="T49" fmla="*/ 344 h 834"/>
                <a:gd name="T50" fmla="*/ 0 w 574"/>
                <a:gd name="T51" fmla="*/ 184 h 834"/>
                <a:gd name="T52" fmla="*/ 0 w 574"/>
                <a:gd name="T53" fmla="*/ 184 h 834"/>
                <a:gd name="T54" fmla="*/ 84 w 574"/>
                <a:gd name="T55" fmla="*/ 123 h 834"/>
                <a:gd name="T56" fmla="*/ 207 w 574"/>
                <a:gd name="T57" fmla="*/ 8 h 834"/>
                <a:gd name="T58" fmla="*/ 237 w 574"/>
                <a:gd name="T59" fmla="*/ 39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74" h="834">
                  <a:moveTo>
                    <a:pt x="237" y="39"/>
                  </a:moveTo>
                  <a:lnTo>
                    <a:pt x="237" y="39"/>
                  </a:lnTo>
                  <a:cubicBezTo>
                    <a:pt x="245" y="69"/>
                    <a:pt x="268" y="100"/>
                    <a:pt x="268" y="138"/>
                  </a:cubicBezTo>
                  <a:cubicBezTo>
                    <a:pt x="268" y="153"/>
                    <a:pt x="237" y="161"/>
                    <a:pt x="237" y="176"/>
                  </a:cubicBezTo>
                  <a:cubicBezTo>
                    <a:pt x="260" y="237"/>
                    <a:pt x="306" y="291"/>
                    <a:pt x="344" y="344"/>
                  </a:cubicBezTo>
                  <a:cubicBezTo>
                    <a:pt x="359" y="367"/>
                    <a:pt x="390" y="390"/>
                    <a:pt x="413" y="421"/>
                  </a:cubicBezTo>
                  <a:cubicBezTo>
                    <a:pt x="428" y="436"/>
                    <a:pt x="444" y="459"/>
                    <a:pt x="451" y="474"/>
                  </a:cubicBezTo>
                  <a:lnTo>
                    <a:pt x="451" y="474"/>
                  </a:lnTo>
                  <a:cubicBezTo>
                    <a:pt x="467" y="520"/>
                    <a:pt x="467" y="573"/>
                    <a:pt x="482" y="619"/>
                  </a:cubicBezTo>
                  <a:cubicBezTo>
                    <a:pt x="505" y="650"/>
                    <a:pt x="543" y="680"/>
                    <a:pt x="573" y="711"/>
                  </a:cubicBezTo>
                  <a:lnTo>
                    <a:pt x="573" y="711"/>
                  </a:lnTo>
                  <a:cubicBezTo>
                    <a:pt x="558" y="718"/>
                    <a:pt x="558" y="749"/>
                    <a:pt x="535" y="749"/>
                  </a:cubicBezTo>
                  <a:cubicBezTo>
                    <a:pt x="520" y="749"/>
                    <a:pt x="505" y="718"/>
                    <a:pt x="482" y="718"/>
                  </a:cubicBezTo>
                  <a:cubicBezTo>
                    <a:pt x="459" y="718"/>
                    <a:pt x="428" y="726"/>
                    <a:pt x="413" y="749"/>
                  </a:cubicBezTo>
                  <a:cubicBezTo>
                    <a:pt x="405" y="772"/>
                    <a:pt x="413" y="795"/>
                    <a:pt x="413" y="818"/>
                  </a:cubicBezTo>
                  <a:lnTo>
                    <a:pt x="413" y="818"/>
                  </a:lnTo>
                  <a:cubicBezTo>
                    <a:pt x="375" y="825"/>
                    <a:pt x="329" y="833"/>
                    <a:pt x="291" y="833"/>
                  </a:cubicBezTo>
                  <a:cubicBezTo>
                    <a:pt x="253" y="833"/>
                    <a:pt x="214" y="810"/>
                    <a:pt x="184" y="803"/>
                  </a:cubicBezTo>
                  <a:lnTo>
                    <a:pt x="184" y="803"/>
                  </a:lnTo>
                  <a:cubicBezTo>
                    <a:pt x="184" y="764"/>
                    <a:pt x="184" y="734"/>
                    <a:pt x="184" y="695"/>
                  </a:cubicBezTo>
                  <a:cubicBezTo>
                    <a:pt x="184" y="673"/>
                    <a:pt x="192" y="657"/>
                    <a:pt x="184" y="634"/>
                  </a:cubicBezTo>
                  <a:cubicBezTo>
                    <a:pt x="184" y="611"/>
                    <a:pt x="176" y="581"/>
                    <a:pt x="161" y="558"/>
                  </a:cubicBezTo>
                  <a:cubicBezTo>
                    <a:pt x="130" y="528"/>
                    <a:pt x="92" y="505"/>
                    <a:pt x="62" y="482"/>
                  </a:cubicBezTo>
                  <a:lnTo>
                    <a:pt x="62" y="482"/>
                  </a:lnTo>
                  <a:cubicBezTo>
                    <a:pt x="0" y="344"/>
                    <a:pt x="0" y="344"/>
                    <a:pt x="0" y="344"/>
                  </a:cubicBezTo>
                  <a:cubicBezTo>
                    <a:pt x="0" y="184"/>
                    <a:pt x="0" y="184"/>
                    <a:pt x="0" y="184"/>
                  </a:cubicBezTo>
                  <a:lnTo>
                    <a:pt x="0" y="184"/>
                  </a:lnTo>
                  <a:cubicBezTo>
                    <a:pt x="31" y="161"/>
                    <a:pt x="62" y="146"/>
                    <a:pt x="84" y="123"/>
                  </a:cubicBezTo>
                  <a:cubicBezTo>
                    <a:pt x="123" y="84"/>
                    <a:pt x="161" y="31"/>
                    <a:pt x="207" y="8"/>
                  </a:cubicBezTo>
                  <a:cubicBezTo>
                    <a:pt x="222" y="0"/>
                    <a:pt x="230" y="23"/>
                    <a:pt x="237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" name="Freeform 86"/>
            <p:cNvSpPr>
              <a:spLocks noChangeArrowheads="1"/>
            </p:cNvSpPr>
            <p:nvPr/>
          </p:nvSpPr>
          <p:spPr bwMode="auto">
            <a:xfrm>
              <a:off x="5524140" y="8734425"/>
              <a:ext cx="266683" cy="234950"/>
            </a:xfrm>
            <a:custGeom>
              <a:avLst/>
              <a:gdLst>
                <a:gd name="T0" fmla="*/ 657 w 742"/>
                <a:gd name="T1" fmla="*/ 451 h 651"/>
                <a:gd name="T2" fmla="*/ 657 w 742"/>
                <a:gd name="T3" fmla="*/ 451 h 651"/>
                <a:gd name="T4" fmla="*/ 741 w 742"/>
                <a:gd name="T5" fmla="*/ 229 h 651"/>
                <a:gd name="T6" fmla="*/ 680 w 742"/>
                <a:gd name="T7" fmla="*/ 161 h 651"/>
                <a:gd name="T8" fmla="*/ 603 w 742"/>
                <a:gd name="T9" fmla="*/ 23 h 651"/>
                <a:gd name="T10" fmla="*/ 603 w 742"/>
                <a:gd name="T11" fmla="*/ 23 h 651"/>
                <a:gd name="T12" fmla="*/ 558 w 742"/>
                <a:gd name="T13" fmla="*/ 38 h 651"/>
                <a:gd name="T14" fmla="*/ 497 w 742"/>
                <a:gd name="T15" fmla="*/ 8 h 651"/>
                <a:gd name="T16" fmla="*/ 451 w 742"/>
                <a:gd name="T17" fmla="*/ 84 h 651"/>
                <a:gd name="T18" fmla="*/ 397 w 742"/>
                <a:gd name="T19" fmla="*/ 214 h 651"/>
                <a:gd name="T20" fmla="*/ 321 w 742"/>
                <a:gd name="T21" fmla="*/ 306 h 651"/>
                <a:gd name="T22" fmla="*/ 99 w 742"/>
                <a:gd name="T23" fmla="*/ 298 h 651"/>
                <a:gd name="T24" fmla="*/ 99 w 742"/>
                <a:gd name="T25" fmla="*/ 298 h 651"/>
                <a:gd name="T26" fmla="*/ 69 w 742"/>
                <a:gd name="T27" fmla="*/ 405 h 651"/>
                <a:gd name="T28" fmla="*/ 0 w 742"/>
                <a:gd name="T29" fmla="*/ 466 h 651"/>
                <a:gd name="T30" fmla="*/ 76 w 742"/>
                <a:gd name="T31" fmla="*/ 604 h 651"/>
                <a:gd name="T32" fmla="*/ 252 w 742"/>
                <a:gd name="T33" fmla="*/ 650 h 651"/>
                <a:gd name="T34" fmla="*/ 527 w 742"/>
                <a:gd name="T35" fmla="*/ 581 h 651"/>
                <a:gd name="T36" fmla="*/ 657 w 742"/>
                <a:gd name="T37" fmla="*/ 4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2" h="651">
                  <a:moveTo>
                    <a:pt x="657" y="451"/>
                  </a:moveTo>
                  <a:lnTo>
                    <a:pt x="657" y="451"/>
                  </a:lnTo>
                  <a:cubicBezTo>
                    <a:pt x="680" y="390"/>
                    <a:pt x="733" y="298"/>
                    <a:pt x="741" y="229"/>
                  </a:cubicBezTo>
                  <a:cubicBezTo>
                    <a:pt x="741" y="199"/>
                    <a:pt x="695" y="184"/>
                    <a:pt x="680" y="161"/>
                  </a:cubicBezTo>
                  <a:cubicBezTo>
                    <a:pt x="649" y="115"/>
                    <a:pt x="634" y="69"/>
                    <a:pt x="603" y="23"/>
                  </a:cubicBezTo>
                  <a:lnTo>
                    <a:pt x="603" y="23"/>
                  </a:lnTo>
                  <a:cubicBezTo>
                    <a:pt x="588" y="31"/>
                    <a:pt x="573" y="46"/>
                    <a:pt x="558" y="38"/>
                  </a:cubicBezTo>
                  <a:cubicBezTo>
                    <a:pt x="535" y="38"/>
                    <a:pt x="519" y="0"/>
                    <a:pt x="497" y="8"/>
                  </a:cubicBezTo>
                  <a:cubicBezTo>
                    <a:pt x="466" y="16"/>
                    <a:pt x="466" y="54"/>
                    <a:pt x="451" y="84"/>
                  </a:cubicBezTo>
                  <a:cubicBezTo>
                    <a:pt x="428" y="130"/>
                    <a:pt x="420" y="176"/>
                    <a:pt x="397" y="214"/>
                  </a:cubicBezTo>
                  <a:cubicBezTo>
                    <a:pt x="374" y="252"/>
                    <a:pt x="344" y="275"/>
                    <a:pt x="321" y="306"/>
                  </a:cubicBezTo>
                  <a:cubicBezTo>
                    <a:pt x="99" y="298"/>
                    <a:pt x="99" y="298"/>
                    <a:pt x="99" y="298"/>
                  </a:cubicBezTo>
                  <a:lnTo>
                    <a:pt x="99" y="298"/>
                  </a:lnTo>
                  <a:cubicBezTo>
                    <a:pt x="99" y="344"/>
                    <a:pt x="107" y="359"/>
                    <a:pt x="69" y="405"/>
                  </a:cubicBezTo>
                  <a:cubicBezTo>
                    <a:pt x="61" y="420"/>
                    <a:pt x="0" y="459"/>
                    <a:pt x="0" y="466"/>
                  </a:cubicBezTo>
                  <a:cubicBezTo>
                    <a:pt x="0" y="512"/>
                    <a:pt x="38" y="581"/>
                    <a:pt x="76" y="604"/>
                  </a:cubicBezTo>
                  <a:cubicBezTo>
                    <a:pt x="145" y="642"/>
                    <a:pt x="168" y="627"/>
                    <a:pt x="252" y="650"/>
                  </a:cubicBezTo>
                  <a:cubicBezTo>
                    <a:pt x="252" y="527"/>
                    <a:pt x="443" y="581"/>
                    <a:pt x="527" y="581"/>
                  </a:cubicBezTo>
                  <a:cubicBezTo>
                    <a:pt x="497" y="489"/>
                    <a:pt x="573" y="459"/>
                    <a:pt x="657" y="45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" name="Freeform 87"/>
            <p:cNvSpPr>
              <a:spLocks noChangeArrowheads="1"/>
            </p:cNvSpPr>
            <p:nvPr/>
          </p:nvSpPr>
          <p:spPr bwMode="auto">
            <a:xfrm>
              <a:off x="5741615" y="8701089"/>
              <a:ext cx="212711" cy="263525"/>
            </a:xfrm>
            <a:custGeom>
              <a:avLst/>
              <a:gdLst>
                <a:gd name="T0" fmla="*/ 0 w 590"/>
                <a:gd name="T1" fmla="*/ 114 h 734"/>
                <a:gd name="T2" fmla="*/ 0 w 590"/>
                <a:gd name="T3" fmla="*/ 114 h 734"/>
                <a:gd name="T4" fmla="*/ 62 w 590"/>
                <a:gd name="T5" fmla="*/ 114 h 734"/>
                <a:gd name="T6" fmla="*/ 46 w 590"/>
                <a:gd name="T7" fmla="*/ 22 h 734"/>
                <a:gd name="T8" fmla="*/ 123 w 590"/>
                <a:gd name="T9" fmla="*/ 15 h 734"/>
                <a:gd name="T10" fmla="*/ 191 w 590"/>
                <a:gd name="T11" fmla="*/ 61 h 734"/>
                <a:gd name="T12" fmla="*/ 191 w 590"/>
                <a:gd name="T13" fmla="*/ 61 h 734"/>
                <a:gd name="T14" fmla="*/ 230 w 590"/>
                <a:gd name="T15" fmla="*/ 114 h 734"/>
                <a:gd name="T16" fmla="*/ 275 w 590"/>
                <a:gd name="T17" fmla="*/ 160 h 734"/>
                <a:gd name="T18" fmla="*/ 314 w 590"/>
                <a:gd name="T19" fmla="*/ 107 h 734"/>
                <a:gd name="T20" fmla="*/ 421 w 590"/>
                <a:gd name="T21" fmla="*/ 76 h 734"/>
                <a:gd name="T22" fmla="*/ 527 w 590"/>
                <a:gd name="T23" fmla="*/ 107 h 734"/>
                <a:gd name="T24" fmla="*/ 527 w 590"/>
                <a:gd name="T25" fmla="*/ 145 h 734"/>
                <a:gd name="T26" fmla="*/ 527 w 590"/>
                <a:gd name="T27" fmla="*/ 145 h 734"/>
                <a:gd name="T28" fmla="*/ 527 w 590"/>
                <a:gd name="T29" fmla="*/ 305 h 734"/>
                <a:gd name="T30" fmla="*/ 589 w 590"/>
                <a:gd name="T31" fmla="*/ 443 h 734"/>
                <a:gd name="T32" fmla="*/ 589 w 590"/>
                <a:gd name="T33" fmla="*/ 443 h 734"/>
                <a:gd name="T34" fmla="*/ 512 w 590"/>
                <a:gd name="T35" fmla="*/ 458 h 734"/>
                <a:gd name="T36" fmla="*/ 421 w 590"/>
                <a:gd name="T37" fmla="*/ 450 h 734"/>
                <a:gd name="T38" fmla="*/ 382 w 590"/>
                <a:gd name="T39" fmla="*/ 534 h 734"/>
                <a:gd name="T40" fmla="*/ 436 w 590"/>
                <a:gd name="T41" fmla="*/ 656 h 734"/>
                <a:gd name="T42" fmla="*/ 421 w 590"/>
                <a:gd name="T43" fmla="*/ 718 h 734"/>
                <a:gd name="T44" fmla="*/ 237 w 590"/>
                <a:gd name="T45" fmla="*/ 725 h 734"/>
                <a:gd name="T46" fmla="*/ 237 w 590"/>
                <a:gd name="T47" fmla="*/ 725 h 734"/>
                <a:gd name="T48" fmla="*/ 77 w 590"/>
                <a:gd name="T49" fmla="*/ 542 h 734"/>
                <a:gd name="T50" fmla="*/ 54 w 590"/>
                <a:gd name="T51" fmla="*/ 542 h 734"/>
                <a:gd name="T52" fmla="*/ 54 w 590"/>
                <a:gd name="T53" fmla="*/ 542 h 734"/>
                <a:gd name="T54" fmla="*/ 138 w 590"/>
                <a:gd name="T55" fmla="*/ 320 h 734"/>
                <a:gd name="T56" fmla="*/ 77 w 590"/>
                <a:gd name="T57" fmla="*/ 252 h 734"/>
                <a:gd name="T58" fmla="*/ 0 w 590"/>
                <a:gd name="T59" fmla="*/ 11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0" h="734">
                  <a:moveTo>
                    <a:pt x="0" y="114"/>
                  </a:moveTo>
                  <a:lnTo>
                    <a:pt x="0" y="114"/>
                  </a:lnTo>
                  <a:cubicBezTo>
                    <a:pt x="23" y="114"/>
                    <a:pt x="54" y="129"/>
                    <a:pt x="62" y="114"/>
                  </a:cubicBezTo>
                  <a:cubicBezTo>
                    <a:pt x="77" y="84"/>
                    <a:pt x="31" y="45"/>
                    <a:pt x="46" y="22"/>
                  </a:cubicBezTo>
                  <a:cubicBezTo>
                    <a:pt x="62" y="0"/>
                    <a:pt x="100" y="7"/>
                    <a:pt x="123" y="15"/>
                  </a:cubicBezTo>
                  <a:cubicBezTo>
                    <a:pt x="153" y="22"/>
                    <a:pt x="169" y="45"/>
                    <a:pt x="191" y="61"/>
                  </a:cubicBezTo>
                  <a:lnTo>
                    <a:pt x="191" y="61"/>
                  </a:lnTo>
                  <a:cubicBezTo>
                    <a:pt x="207" y="76"/>
                    <a:pt x="214" y="99"/>
                    <a:pt x="230" y="114"/>
                  </a:cubicBezTo>
                  <a:cubicBezTo>
                    <a:pt x="245" y="129"/>
                    <a:pt x="252" y="160"/>
                    <a:pt x="275" y="160"/>
                  </a:cubicBezTo>
                  <a:cubicBezTo>
                    <a:pt x="298" y="160"/>
                    <a:pt x="291" y="114"/>
                    <a:pt x="314" y="107"/>
                  </a:cubicBezTo>
                  <a:cubicBezTo>
                    <a:pt x="344" y="84"/>
                    <a:pt x="382" y="76"/>
                    <a:pt x="421" y="76"/>
                  </a:cubicBezTo>
                  <a:cubicBezTo>
                    <a:pt x="459" y="76"/>
                    <a:pt x="497" y="91"/>
                    <a:pt x="527" y="107"/>
                  </a:cubicBezTo>
                  <a:cubicBezTo>
                    <a:pt x="535" y="114"/>
                    <a:pt x="527" y="129"/>
                    <a:pt x="527" y="145"/>
                  </a:cubicBezTo>
                  <a:lnTo>
                    <a:pt x="527" y="145"/>
                  </a:lnTo>
                  <a:cubicBezTo>
                    <a:pt x="527" y="305"/>
                    <a:pt x="527" y="305"/>
                    <a:pt x="527" y="305"/>
                  </a:cubicBezTo>
                  <a:cubicBezTo>
                    <a:pt x="589" y="443"/>
                    <a:pt x="589" y="443"/>
                    <a:pt x="589" y="443"/>
                  </a:cubicBezTo>
                  <a:lnTo>
                    <a:pt x="589" y="443"/>
                  </a:lnTo>
                  <a:cubicBezTo>
                    <a:pt x="566" y="443"/>
                    <a:pt x="543" y="458"/>
                    <a:pt x="512" y="458"/>
                  </a:cubicBezTo>
                  <a:cubicBezTo>
                    <a:pt x="482" y="458"/>
                    <a:pt x="444" y="435"/>
                    <a:pt x="421" y="450"/>
                  </a:cubicBezTo>
                  <a:cubicBezTo>
                    <a:pt x="390" y="466"/>
                    <a:pt x="382" y="504"/>
                    <a:pt x="382" y="534"/>
                  </a:cubicBezTo>
                  <a:cubicBezTo>
                    <a:pt x="390" y="580"/>
                    <a:pt x="428" y="611"/>
                    <a:pt x="436" y="656"/>
                  </a:cubicBezTo>
                  <a:cubicBezTo>
                    <a:pt x="444" y="679"/>
                    <a:pt x="436" y="710"/>
                    <a:pt x="421" y="718"/>
                  </a:cubicBezTo>
                  <a:cubicBezTo>
                    <a:pt x="375" y="733"/>
                    <a:pt x="283" y="725"/>
                    <a:pt x="237" y="725"/>
                  </a:cubicBezTo>
                  <a:lnTo>
                    <a:pt x="237" y="725"/>
                  </a:lnTo>
                  <a:cubicBezTo>
                    <a:pt x="199" y="641"/>
                    <a:pt x="146" y="542"/>
                    <a:pt x="77" y="542"/>
                  </a:cubicBezTo>
                  <a:cubicBezTo>
                    <a:pt x="69" y="542"/>
                    <a:pt x="62" y="542"/>
                    <a:pt x="54" y="542"/>
                  </a:cubicBezTo>
                  <a:lnTo>
                    <a:pt x="54" y="542"/>
                  </a:lnTo>
                  <a:cubicBezTo>
                    <a:pt x="77" y="481"/>
                    <a:pt x="130" y="389"/>
                    <a:pt x="138" y="320"/>
                  </a:cubicBezTo>
                  <a:cubicBezTo>
                    <a:pt x="138" y="290"/>
                    <a:pt x="92" y="275"/>
                    <a:pt x="77" y="252"/>
                  </a:cubicBezTo>
                  <a:cubicBezTo>
                    <a:pt x="46" y="206"/>
                    <a:pt x="31" y="160"/>
                    <a:pt x="0" y="1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" name="Freeform 88"/>
            <p:cNvSpPr>
              <a:spLocks noChangeArrowheads="1"/>
            </p:cNvSpPr>
            <p:nvPr/>
          </p:nvSpPr>
          <p:spPr bwMode="auto">
            <a:xfrm>
              <a:off x="4951090" y="8429625"/>
              <a:ext cx="480981" cy="490538"/>
            </a:xfrm>
            <a:custGeom>
              <a:avLst/>
              <a:gdLst>
                <a:gd name="T0" fmla="*/ 1100 w 1338"/>
                <a:gd name="T1" fmla="*/ 993 h 1361"/>
                <a:gd name="T2" fmla="*/ 1100 w 1338"/>
                <a:gd name="T3" fmla="*/ 993 h 1361"/>
                <a:gd name="T4" fmla="*/ 1085 w 1338"/>
                <a:gd name="T5" fmla="*/ 856 h 1361"/>
                <a:gd name="T6" fmla="*/ 1085 w 1338"/>
                <a:gd name="T7" fmla="*/ 848 h 1361"/>
                <a:gd name="T8" fmla="*/ 1100 w 1338"/>
                <a:gd name="T9" fmla="*/ 741 h 1361"/>
                <a:gd name="T10" fmla="*/ 894 w 1338"/>
                <a:gd name="T11" fmla="*/ 696 h 1361"/>
                <a:gd name="T12" fmla="*/ 963 w 1338"/>
                <a:gd name="T13" fmla="*/ 642 h 1361"/>
                <a:gd name="T14" fmla="*/ 925 w 1338"/>
                <a:gd name="T15" fmla="*/ 566 h 1361"/>
                <a:gd name="T16" fmla="*/ 1039 w 1338"/>
                <a:gd name="T17" fmla="*/ 451 h 1361"/>
                <a:gd name="T18" fmla="*/ 1093 w 1338"/>
                <a:gd name="T19" fmla="*/ 474 h 1361"/>
                <a:gd name="T20" fmla="*/ 1238 w 1338"/>
                <a:gd name="T21" fmla="*/ 382 h 1361"/>
                <a:gd name="T22" fmla="*/ 1337 w 1338"/>
                <a:gd name="T23" fmla="*/ 352 h 1361"/>
                <a:gd name="T24" fmla="*/ 1253 w 1338"/>
                <a:gd name="T25" fmla="*/ 214 h 1361"/>
                <a:gd name="T26" fmla="*/ 1222 w 1338"/>
                <a:gd name="T27" fmla="*/ 168 h 1361"/>
                <a:gd name="T28" fmla="*/ 1222 w 1338"/>
                <a:gd name="T29" fmla="*/ 168 h 1361"/>
                <a:gd name="T30" fmla="*/ 1207 w 1338"/>
                <a:gd name="T31" fmla="*/ 130 h 1361"/>
                <a:gd name="T32" fmla="*/ 1108 w 1338"/>
                <a:gd name="T33" fmla="*/ 130 h 1361"/>
                <a:gd name="T34" fmla="*/ 1077 w 1338"/>
                <a:gd name="T35" fmla="*/ 85 h 1361"/>
                <a:gd name="T36" fmla="*/ 1039 w 1338"/>
                <a:gd name="T37" fmla="*/ 123 h 1361"/>
                <a:gd name="T38" fmla="*/ 1001 w 1338"/>
                <a:gd name="T39" fmla="*/ 92 h 1361"/>
                <a:gd name="T40" fmla="*/ 1024 w 1338"/>
                <a:gd name="T41" fmla="*/ 62 h 1361"/>
                <a:gd name="T42" fmla="*/ 1008 w 1338"/>
                <a:gd name="T43" fmla="*/ 0 h 1361"/>
                <a:gd name="T44" fmla="*/ 1008 w 1338"/>
                <a:gd name="T45" fmla="*/ 0 h 1361"/>
                <a:gd name="T46" fmla="*/ 940 w 1338"/>
                <a:gd name="T47" fmla="*/ 16 h 1361"/>
                <a:gd name="T48" fmla="*/ 818 w 1338"/>
                <a:gd name="T49" fmla="*/ 168 h 1361"/>
                <a:gd name="T50" fmla="*/ 749 w 1338"/>
                <a:gd name="T51" fmla="*/ 229 h 1361"/>
                <a:gd name="T52" fmla="*/ 688 w 1338"/>
                <a:gd name="T53" fmla="*/ 245 h 1361"/>
                <a:gd name="T54" fmla="*/ 680 w 1338"/>
                <a:gd name="T55" fmla="*/ 237 h 1361"/>
                <a:gd name="T56" fmla="*/ 672 w 1338"/>
                <a:gd name="T57" fmla="*/ 237 h 1361"/>
                <a:gd name="T58" fmla="*/ 665 w 1338"/>
                <a:gd name="T59" fmla="*/ 245 h 1361"/>
                <a:gd name="T60" fmla="*/ 543 w 1338"/>
                <a:gd name="T61" fmla="*/ 260 h 1361"/>
                <a:gd name="T62" fmla="*/ 367 w 1338"/>
                <a:gd name="T63" fmla="*/ 260 h 1361"/>
                <a:gd name="T64" fmla="*/ 344 w 1338"/>
                <a:gd name="T65" fmla="*/ 413 h 1361"/>
                <a:gd name="T66" fmla="*/ 107 w 1338"/>
                <a:gd name="T67" fmla="*/ 520 h 1361"/>
                <a:gd name="T68" fmla="*/ 0 w 1338"/>
                <a:gd name="T69" fmla="*/ 665 h 1361"/>
                <a:gd name="T70" fmla="*/ 298 w 1338"/>
                <a:gd name="T71" fmla="*/ 734 h 1361"/>
                <a:gd name="T72" fmla="*/ 291 w 1338"/>
                <a:gd name="T73" fmla="*/ 902 h 1361"/>
                <a:gd name="T74" fmla="*/ 191 w 1338"/>
                <a:gd name="T75" fmla="*/ 963 h 1361"/>
                <a:gd name="T76" fmla="*/ 184 w 1338"/>
                <a:gd name="T77" fmla="*/ 1032 h 1361"/>
                <a:gd name="T78" fmla="*/ 229 w 1338"/>
                <a:gd name="T79" fmla="*/ 1108 h 1361"/>
                <a:gd name="T80" fmla="*/ 306 w 1338"/>
                <a:gd name="T81" fmla="*/ 1024 h 1361"/>
                <a:gd name="T82" fmla="*/ 604 w 1338"/>
                <a:gd name="T83" fmla="*/ 1062 h 1361"/>
                <a:gd name="T84" fmla="*/ 336 w 1338"/>
                <a:gd name="T85" fmla="*/ 1108 h 1361"/>
                <a:gd name="T86" fmla="*/ 390 w 1338"/>
                <a:gd name="T87" fmla="*/ 1161 h 1361"/>
                <a:gd name="T88" fmla="*/ 459 w 1338"/>
                <a:gd name="T89" fmla="*/ 1291 h 1361"/>
                <a:gd name="T90" fmla="*/ 596 w 1338"/>
                <a:gd name="T91" fmla="*/ 1337 h 1361"/>
                <a:gd name="T92" fmla="*/ 795 w 1338"/>
                <a:gd name="T93" fmla="*/ 1230 h 1361"/>
                <a:gd name="T94" fmla="*/ 1008 w 1338"/>
                <a:gd name="T95" fmla="*/ 1177 h 1361"/>
                <a:gd name="T96" fmla="*/ 1100 w 1338"/>
                <a:gd name="T97" fmla="*/ 993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38" h="1361">
                  <a:moveTo>
                    <a:pt x="1100" y="993"/>
                  </a:moveTo>
                  <a:lnTo>
                    <a:pt x="1100" y="993"/>
                  </a:lnTo>
                  <a:cubicBezTo>
                    <a:pt x="1093" y="955"/>
                    <a:pt x="1093" y="894"/>
                    <a:pt x="1085" y="856"/>
                  </a:cubicBezTo>
                  <a:lnTo>
                    <a:pt x="1085" y="848"/>
                  </a:lnTo>
                  <a:cubicBezTo>
                    <a:pt x="1093" y="810"/>
                    <a:pt x="1131" y="764"/>
                    <a:pt x="1100" y="741"/>
                  </a:cubicBezTo>
                  <a:cubicBezTo>
                    <a:pt x="1047" y="696"/>
                    <a:pt x="955" y="734"/>
                    <a:pt x="894" y="696"/>
                  </a:cubicBezTo>
                  <a:cubicBezTo>
                    <a:pt x="871" y="680"/>
                    <a:pt x="955" y="673"/>
                    <a:pt x="963" y="642"/>
                  </a:cubicBezTo>
                  <a:cubicBezTo>
                    <a:pt x="970" y="619"/>
                    <a:pt x="917" y="596"/>
                    <a:pt x="925" y="566"/>
                  </a:cubicBezTo>
                  <a:cubicBezTo>
                    <a:pt x="947" y="520"/>
                    <a:pt x="993" y="482"/>
                    <a:pt x="1039" y="451"/>
                  </a:cubicBezTo>
                  <a:cubicBezTo>
                    <a:pt x="1054" y="443"/>
                    <a:pt x="1077" y="482"/>
                    <a:pt x="1093" y="474"/>
                  </a:cubicBezTo>
                  <a:cubicBezTo>
                    <a:pt x="1146" y="459"/>
                    <a:pt x="1192" y="405"/>
                    <a:pt x="1238" y="382"/>
                  </a:cubicBezTo>
                  <a:cubicBezTo>
                    <a:pt x="1268" y="367"/>
                    <a:pt x="1337" y="382"/>
                    <a:pt x="1337" y="352"/>
                  </a:cubicBezTo>
                  <a:cubicBezTo>
                    <a:pt x="1337" y="298"/>
                    <a:pt x="1276" y="260"/>
                    <a:pt x="1253" y="214"/>
                  </a:cubicBezTo>
                  <a:cubicBezTo>
                    <a:pt x="1238" y="199"/>
                    <a:pt x="1230" y="184"/>
                    <a:pt x="1222" y="168"/>
                  </a:cubicBezTo>
                  <a:lnTo>
                    <a:pt x="1222" y="168"/>
                  </a:lnTo>
                  <a:cubicBezTo>
                    <a:pt x="1215" y="153"/>
                    <a:pt x="1222" y="130"/>
                    <a:pt x="1207" y="130"/>
                  </a:cubicBezTo>
                  <a:cubicBezTo>
                    <a:pt x="1177" y="115"/>
                    <a:pt x="1138" y="138"/>
                    <a:pt x="1108" y="130"/>
                  </a:cubicBezTo>
                  <a:cubicBezTo>
                    <a:pt x="1093" y="123"/>
                    <a:pt x="1093" y="85"/>
                    <a:pt x="1077" y="85"/>
                  </a:cubicBezTo>
                  <a:cubicBezTo>
                    <a:pt x="1054" y="77"/>
                    <a:pt x="1054" y="115"/>
                    <a:pt x="1039" y="123"/>
                  </a:cubicBezTo>
                  <a:cubicBezTo>
                    <a:pt x="1024" y="123"/>
                    <a:pt x="1001" y="107"/>
                    <a:pt x="1001" y="92"/>
                  </a:cubicBezTo>
                  <a:cubicBezTo>
                    <a:pt x="993" y="85"/>
                    <a:pt x="1024" y="77"/>
                    <a:pt x="1024" y="62"/>
                  </a:cubicBezTo>
                  <a:cubicBezTo>
                    <a:pt x="1024" y="39"/>
                    <a:pt x="1008" y="23"/>
                    <a:pt x="1008" y="0"/>
                  </a:cubicBezTo>
                  <a:lnTo>
                    <a:pt x="1008" y="0"/>
                  </a:lnTo>
                  <a:cubicBezTo>
                    <a:pt x="940" y="16"/>
                    <a:pt x="940" y="16"/>
                    <a:pt x="940" y="16"/>
                  </a:cubicBezTo>
                  <a:cubicBezTo>
                    <a:pt x="917" y="16"/>
                    <a:pt x="864" y="146"/>
                    <a:pt x="818" y="168"/>
                  </a:cubicBezTo>
                  <a:cubicBezTo>
                    <a:pt x="772" y="184"/>
                    <a:pt x="733" y="168"/>
                    <a:pt x="749" y="229"/>
                  </a:cubicBezTo>
                  <a:cubicBezTo>
                    <a:pt x="756" y="268"/>
                    <a:pt x="695" y="260"/>
                    <a:pt x="688" y="245"/>
                  </a:cubicBezTo>
                  <a:cubicBezTo>
                    <a:pt x="680" y="245"/>
                    <a:pt x="680" y="237"/>
                    <a:pt x="680" y="237"/>
                  </a:cubicBezTo>
                  <a:cubicBezTo>
                    <a:pt x="680" y="237"/>
                    <a:pt x="680" y="237"/>
                    <a:pt x="672" y="237"/>
                  </a:cubicBezTo>
                  <a:lnTo>
                    <a:pt x="665" y="245"/>
                  </a:lnTo>
                  <a:cubicBezTo>
                    <a:pt x="642" y="314"/>
                    <a:pt x="543" y="382"/>
                    <a:pt x="543" y="260"/>
                  </a:cubicBezTo>
                  <a:cubicBezTo>
                    <a:pt x="512" y="252"/>
                    <a:pt x="397" y="252"/>
                    <a:pt x="367" y="260"/>
                  </a:cubicBezTo>
                  <a:cubicBezTo>
                    <a:pt x="367" y="306"/>
                    <a:pt x="413" y="382"/>
                    <a:pt x="344" y="413"/>
                  </a:cubicBezTo>
                  <a:cubicBezTo>
                    <a:pt x="260" y="443"/>
                    <a:pt x="191" y="466"/>
                    <a:pt x="107" y="520"/>
                  </a:cubicBezTo>
                  <a:cubicBezTo>
                    <a:pt x="23" y="566"/>
                    <a:pt x="0" y="550"/>
                    <a:pt x="0" y="665"/>
                  </a:cubicBezTo>
                  <a:cubicBezTo>
                    <a:pt x="138" y="665"/>
                    <a:pt x="191" y="604"/>
                    <a:pt x="298" y="734"/>
                  </a:cubicBezTo>
                  <a:cubicBezTo>
                    <a:pt x="329" y="764"/>
                    <a:pt x="359" y="902"/>
                    <a:pt x="291" y="902"/>
                  </a:cubicBezTo>
                  <a:cubicBezTo>
                    <a:pt x="184" y="902"/>
                    <a:pt x="260" y="894"/>
                    <a:pt x="191" y="963"/>
                  </a:cubicBezTo>
                  <a:cubicBezTo>
                    <a:pt x="107" y="1039"/>
                    <a:pt x="69" y="948"/>
                    <a:pt x="184" y="1032"/>
                  </a:cubicBezTo>
                  <a:cubicBezTo>
                    <a:pt x="207" y="1047"/>
                    <a:pt x="199" y="1108"/>
                    <a:pt x="229" y="1108"/>
                  </a:cubicBezTo>
                  <a:cubicBezTo>
                    <a:pt x="237" y="1108"/>
                    <a:pt x="268" y="1032"/>
                    <a:pt x="306" y="1024"/>
                  </a:cubicBezTo>
                  <a:cubicBezTo>
                    <a:pt x="428" y="1047"/>
                    <a:pt x="481" y="1062"/>
                    <a:pt x="604" y="1062"/>
                  </a:cubicBezTo>
                  <a:cubicBezTo>
                    <a:pt x="604" y="1100"/>
                    <a:pt x="367" y="1108"/>
                    <a:pt x="336" y="1108"/>
                  </a:cubicBezTo>
                  <a:cubicBezTo>
                    <a:pt x="260" y="1123"/>
                    <a:pt x="375" y="1154"/>
                    <a:pt x="390" y="1161"/>
                  </a:cubicBezTo>
                  <a:cubicBezTo>
                    <a:pt x="451" y="1192"/>
                    <a:pt x="367" y="1261"/>
                    <a:pt x="459" y="1291"/>
                  </a:cubicBezTo>
                  <a:cubicBezTo>
                    <a:pt x="596" y="1337"/>
                    <a:pt x="596" y="1337"/>
                    <a:pt x="596" y="1337"/>
                  </a:cubicBezTo>
                  <a:cubicBezTo>
                    <a:pt x="665" y="1360"/>
                    <a:pt x="711" y="1223"/>
                    <a:pt x="795" y="1230"/>
                  </a:cubicBezTo>
                  <a:cubicBezTo>
                    <a:pt x="894" y="1230"/>
                    <a:pt x="917" y="1200"/>
                    <a:pt x="1008" y="1177"/>
                  </a:cubicBezTo>
                  <a:cubicBezTo>
                    <a:pt x="1008" y="1077"/>
                    <a:pt x="1024" y="1009"/>
                    <a:pt x="1100" y="99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" name="Freeform 89"/>
            <p:cNvSpPr>
              <a:spLocks noChangeArrowheads="1"/>
            </p:cNvSpPr>
            <p:nvPr/>
          </p:nvSpPr>
          <p:spPr bwMode="auto">
            <a:xfrm>
              <a:off x="5265395" y="8399463"/>
              <a:ext cx="633371" cy="457200"/>
            </a:xfrm>
            <a:custGeom>
              <a:avLst/>
              <a:gdLst>
                <a:gd name="T0" fmla="*/ 229 w 1758"/>
                <a:gd name="T1" fmla="*/ 1077 h 1269"/>
                <a:gd name="T2" fmla="*/ 229 w 1758"/>
                <a:gd name="T3" fmla="*/ 1077 h 1269"/>
                <a:gd name="T4" fmla="*/ 214 w 1758"/>
                <a:gd name="T5" fmla="*/ 940 h 1269"/>
                <a:gd name="T6" fmla="*/ 214 w 1758"/>
                <a:gd name="T7" fmla="*/ 932 h 1269"/>
                <a:gd name="T8" fmla="*/ 229 w 1758"/>
                <a:gd name="T9" fmla="*/ 825 h 1269"/>
                <a:gd name="T10" fmla="*/ 23 w 1758"/>
                <a:gd name="T11" fmla="*/ 780 h 1269"/>
                <a:gd name="T12" fmla="*/ 92 w 1758"/>
                <a:gd name="T13" fmla="*/ 726 h 1269"/>
                <a:gd name="T14" fmla="*/ 54 w 1758"/>
                <a:gd name="T15" fmla="*/ 650 h 1269"/>
                <a:gd name="T16" fmla="*/ 168 w 1758"/>
                <a:gd name="T17" fmla="*/ 535 h 1269"/>
                <a:gd name="T18" fmla="*/ 222 w 1758"/>
                <a:gd name="T19" fmla="*/ 558 h 1269"/>
                <a:gd name="T20" fmla="*/ 367 w 1758"/>
                <a:gd name="T21" fmla="*/ 466 h 1269"/>
                <a:gd name="T22" fmla="*/ 466 w 1758"/>
                <a:gd name="T23" fmla="*/ 436 h 1269"/>
                <a:gd name="T24" fmla="*/ 382 w 1758"/>
                <a:gd name="T25" fmla="*/ 298 h 1269"/>
                <a:gd name="T26" fmla="*/ 351 w 1758"/>
                <a:gd name="T27" fmla="*/ 252 h 1269"/>
                <a:gd name="T28" fmla="*/ 351 w 1758"/>
                <a:gd name="T29" fmla="*/ 252 h 1269"/>
                <a:gd name="T30" fmla="*/ 550 w 1758"/>
                <a:gd name="T31" fmla="*/ 260 h 1269"/>
                <a:gd name="T32" fmla="*/ 642 w 1758"/>
                <a:gd name="T33" fmla="*/ 291 h 1269"/>
                <a:gd name="T34" fmla="*/ 741 w 1758"/>
                <a:gd name="T35" fmla="*/ 230 h 1269"/>
                <a:gd name="T36" fmla="*/ 848 w 1758"/>
                <a:gd name="T37" fmla="*/ 260 h 1269"/>
                <a:gd name="T38" fmla="*/ 1100 w 1758"/>
                <a:gd name="T39" fmla="*/ 77 h 1269"/>
                <a:gd name="T40" fmla="*/ 1192 w 1758"/>
                <a:gd name="T41" fmla="*/ 107 h 1269"/>
                <a:gd name="T42" fmla="*/ 1298 w 1758"/>
                <a:gd name="T43" fmla="*/ 16 h 1269"/>
                <a:gd name="T44" fmla="*/ 1360 w 1758"/>
                <a:gd name="T45" fmla="*/ 54 h 1269"/>
                <a:gd name="T46" fmla="*/ 1413 w 1758"/>
                <a:gd name="T47" fmla="*/ 0 h 1269"/>
                <a:gd name="T48" fmla="*/ 1558 w 1758"/>
                <a:gd name="T49" fmla="*/ 92 h 1269"/>
                <a:gd name="T50" fmla="*/ 1589 w 1758"/>
                <a:gd name="T51" fmla="*/ 39 h 1269"/>
                <a:gd name="T52" fmla="*/ 1589 w 1758"/>
                <a:gd name="T53" fmla="*/ 39 h 1269"/>
                <a:gd name="T54" fmla="*/ 1650 w 1758"/>
                <a:gd name="T55" fmla="*/ 61 h 1269"/>
                <a:gd name="T56" fmla="*/ 1642 w 1758"/>
                <a:gd name="T57" fmla="*/ 138 h 1269"/>
                <a:gd name="T58" fmla="*/ 1719 w 1758"/>
                <a:gd name="T59" fmla="*/ 169 h 1269"/>
                <a:gd name="T60" fmla="*/ 1757 w 1758"/>
                <a:gd name="T61" fmla="*/ 283 h 1269"/>
                <a:gd name="T62" fmla="*/ 1673 w 1758"/>
                <a:gd name="T63" fmla="*/ 505 h 1269"/>
                <a:gd name="T64" fmla="*/ 1658 w 1758"/>
                <a:gd name="T65" fmla="*/ 665 h 1269"/>
                <a:gd name="T66" fmla="*/ 1581 w 1758"/>
                <a:gd name="T67" fmla="*/ 749 h 1269"/>
                <a:gd name="T68" fmla="*/ 1512 w 1758"/>
                <a:gd name="T69" fmla="*/ 902 h 1269"/>
                <a:gd name="T70" fmla="*/ 1512 w 1758"/>
                <a:gd name="T71" fmla="*/ 902 h 1269"/>
                <a:gd name="T72" fmla="*/ 1444 w 1758"/>
                <a:gd name="T73" fmla="*/ 856 h 1269"/>
                <a:gd name="T74" fmla="*/ 1367 w 1758"/>
                <a:gd name="T75" fmla="*/ 863 h 1269"/>
                <a:gd name="T76" fmla="*/ 1383 w 1758"/>
                <a:gd name="T77" fmla="*/ 955 h 1269"/>
                <a:gd name="T78" fmla="*/ 1321 w 1758"/>
                <a:gd name="T79" fmla="*/ 955 h 1269"/>
                <a:gd name="T80" fmla="*/ 1321 w 1758"/>
                <a:gd name="T81" fmla="*/ 955 h 1269"/>
                <a:gd name="T82" fmla="*/ 1276 w 1758"/>
                <a:gd name="T83" fmla="*/ 970 h 1269"/>
                <a:gd name="T84" fmla="*/ 1215 w 1758"/>
                <a:gd name="T85" fmla="*/ 940 h 1269"/>
                <a:gd name="T86" fmla="*/ 1169 w 1758"/>
                <a:gd name="T87" fmla="*/ 1016 h 1269"/>
                <a:gd name="T88" fmla="*/ 1115 w 1758"/>
                <a:gd name="T89" fmla="*/ 1146 h 1269"/>
                <a:gd name="T90" fmla="*/ 1039 w 1758"/>
                <a:gd name="T91" fmla="*/ 1238 h 1269"/>
                <a:gd name="T92" fmla="*/ 817 w 1758"/>
                <a:gd name="T93" fmla="*/ 1230 h 1269"/>
                <a:gd name="T94" fmla="*/ 817 w 1758"/>
                <a:gd name="T95" fmla="*/ 1230 h 1269"/>
                <a:gd name="T96" fmla="*/ 665 w 1758"/>
                <a:gd name="T97" fmla="*/ 1177 h 1269"/>
                <a:gd name="T98" fmla="*/ 573 w 1758"/>
                <a:gd name="T99" fmla="*/ 1062 h 1269"/>
                <a:gd name="T100" fmla="*/ 466 w 1758"/>
                <a:gd name="T101" fmla="*/ 1108 h 1269"/>
                <a:gd name="T102" fmla="*/ 336 w 1758"/>
                <a:gd name="T103" fmla="*/ 1077 h 1269"/>
                <a:gd name="T104" fmla="*/ 229 w 1758"/>
                <a:gd name="T105" fmla="*/ 1077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58" h="1269">
                  <a:moveTo>
                    <a:pt x="229" y="1077"/>
                  </a:moveTo>
                  <a:lnTo>
                    <a:pt x="229" y="1077"/>
                  </a:lnTo>
                  <a:cubicBezTo>
                    <a:pt x="222" y="1039"/>
                    <a:pt x="222" y="978"/>
                    <a:pt x="214" y="940"/>
                  </a:cubicBezTo>
                  <a:lnTo>
                    <a:pt x="214" y="932"/>
                  </a:lnTo>
                  <a:cubicBezTo>
                    <a:pt x="222" y="894"/>
                    <a:pt x="260" y="848"/>
                    <a:pt x="229" y="825"/>
                  </a:cubicBezTo>
                  <a:cubicBezTo>
                    <a:pt x="176" y="780"/>
                    <a:pt x="84" y="818"/>
                    <a:pt x="23" y="780"/>
                  </a:cubicBezTo>
                  <a:cubicBezTo>
                    <a:pt x="0" y="764"/>
                    <a:pt x="84" y="757"/>
                    <a:pt x="92" y="726"/>
                  </a:cubicBezTo>
                  <a:cubicBezTo>
                    <a:pt x="99" y="703"/>
                    <a:pt x="46" y="680"/>
                    <a:pt x="54" y="650"/>
                  </a:cubicBezTo>
                  <a:cubicBezTo>
                    <a:pt x="76" y="604"/>
                    <a:pt x="122" y="566"/>
                    <a:pt x="168" y="535"/>
                  </a:cubicBezTo>
                  <a:cubicBezTo>
                    <a:pt x="183" y="527"/>
                    <a:pt x="206" y="566"/>
                    <a:pt x="222" y="558"/>
                  </a:cubicBezTo>
                  <a:cubicBezTo>
                    <a:pt x="275" y="543"/>
                    <a:pt x="321" y="489"/>
                    <a:pt x="367" y="466"/>
                  </a:cubicBezTo>
                  <a:cubicBezTo>
                    <a:pt x="397" y="451"/>
                    <a:pt x="466" y="466"/>
                    <a:pt x="466" y="436"/>
                  </a:cubicBezTo>
                  <a:cubicBezTo>
                    <a:pt x="466" y="382"/>
                    <a:pt x="405" y="344"/>
                    <a:pt x="382" y="298"/>
                  </a:cubicBezTo>
                  <a:cubicBezTo>
                    <a:pt x="367" y="283"/>
                    <a:pt x="359" y="268"/>
                    <a:pt x="351" y="252"/>
                  </a:cubicBezTo>
                  <a:lnTo>
                    <a:pt x="351" y="252"/>
                  </a:lnTo>
                  <a:cubicBezTo>
                    <a:pt x="412" y="252"/>
                    <a:pt x="481" y="252"/>
                    <a:pt x="550" y="260"/>
                  </a:cubicBezTo>
                  <a:cubicBezTo>
                    <a:pt x="581" y="268"/>
                    <a:pt x="611" y="298"/>
                    <a:pt x="642" y="291"/>
                  </a:cubicBezTo>
                  <a:cubicBezTo>
                    <a:pt x="680" y="283"/>
                    <a:pt x="703" y="230"/>
                    <a:pt x="741" y="230"/>
                  </a:cubicBezTo>
                  <a:cubicBezTo>
                    <a:pt x="779" y="222"/>
                    <a:pt x="817" y="275"/>
                    <a:pt x="848" y="260"/>
                  </a:cubicBezTo>
                  <a:cubicBezTo>
                    <a:pt x="947" y="222"/>
                    <a:pt x="1008" y="123"/>
                    <a:pt x="1100" y="77"/>
                  </a:cubicBezTo>
                  <a:cubicBezTo>
                    <a:pt x="1131" y="61"/>
                    <a:pt x="1161" y="115"/>
                    <a:pt x="1192" y="107"/>
                  </a:cubicBezTo>
                  <a:cubicBezTo>
                    <a:pt x="1237" y="92"/>
                    <a:pt x="1253" y="31"/>
                    <a:pt x="1298" y="16"/>
                  </a:cubicBezTo>
                  <a:cubicBezTo>
                    <a:pt x="1321" y="8"/>
                    <a:pt x="1337" y="54"/>
                    <a:pt x="1360" y="54"/>
                  </a:cubicBezTo>
                  <a:cubicBezTo>
                    <a:pt x="1383" y="46"/>
                    <a:pt x="1390" y="0"/>
                    <a:pt x="1413" y="0"/>
                  </a:cubicBezTo>
                  <a:cubicBezTo>
                    <a:pt x="1474" y="16"/>
                    <a:pt x="1505" y="84"/>
                    <a:pt x="1558" y="92"/>
                  </a:cubicBezTo>
                  <a:cubicBezTo>
                    <a:pt x="1581" y="100"/>
                    <a:pt x="1581" y="54"/>
                    <a:pt x="1589" y="39"/>
                  </a:cubicBezTo>
                  <a:lnTo>
                    <a:pt x="1589" y="39"/>
                  </a:lnTo>
                  <a:cubicBezTo>
                    <a:pt x="1612" y="46"/>
                    <a:pt x="1635" y="46"/>
                    <a:pt x="1650" y="61"/>
                  </a:cubicBezTo>
                  <a:cubicBezTo>
                    <a:pt x="1658" y="84"/>
                    <a:pt x="1635" y="115"/>
                    <a:pt x="1642" y="138"/>
                  </a:cubicBezTo>
                  <a:cubicBezTo>
                    <a:pt x="1658" y="161"/>
                    <a:pt x="1703" y="146"/>
                    <a:pt x="1719" y="169"/>
                  </a:cubicBezTo>
                  <a:cubicBezTo>
                    <a:pt x="1742" y="199"/>
                    <a:pt x="1757" y="245"/>
                    <a:pt x="1757" y="283"/>
                  </a:cubicBezTo>
                  <a:cubicBezTo>
                    <a:pt x="1742" y="359"/>
                    <a:pt x="1696" y="428"/>
                    <a:pt x="1673" y="505"/>
                  </a:cubicBezTo>
                  <a:cubicBezTo>
                    <a:pt x="1658" y="558"/>
                    <a:pt x="1673" y="619"/>
                    <a:pt x="1658" y="665"/>
                  </a:cubicBezTo>
                  <a:cubicBezTo>
                    <a:pt x="1642" y="703"/>
                    <a:pt x="1596" y="711"/>
                    <a:pt x="1581" y="749"/>
                  </a:cubicBezTo>
                  <a:cubicBezTo>
                    <a:pt x="1551" y="795"/>
                    <a:pt x="1535" y="848"/>
                    <a:pt x="1512" y="902"/>
                  </a:cubicBezTo>
                  <a:lnTo>
                    <a:pt x="1512" y="902"/>
                  </a:lnTo>
                  <a:cubicBezTo>
                    <a:pt x="1490" y="886"/>
                    <a:pt x="1474" y="863"/>
                    <a:pt x="1444" y="856"/>
                  </a:cubicBezTo>
                  <a:cubicBezTo>
                    <a:pt x="1421" y="848"/>
                    <a:pt x="1383" y="841"/>
                    <a:pt x="1367" y="863"/>
                  </a:cubicBezTo>
                  <a:cubicBezTo>
                    <a:pt x="1352" y="886"/>
                    <a:pt x="1398" y="925"/>
                    <a:pt x="1383" y="955"/>
                  </a:cubicBezTo>
                  <a:cubicBezTo>
                    <a:pt x="1375" y="970"/>
                    <a:pt x="1344" y="955"/>
                    <a:pt x="1321" y="955"/>
                  </a:cubicBezTo>
                  <a:lnTo>
                    <a:pt x="1321" y="955"/>
                  </a:lnTo>
                  <a:cubicBezTo>
                    <a:pt x="1306" y="963"/>
                    <a:pt x="1291" y="978"/>
                    <a:pt x="1276" y="970"/>
                  </a:cubicBezTo>
                  <a:cubicBezTo>
                    <a:pt x="1253" y="970"/>
                    <a:pt x="1237" y="932"/>
                    <a:pt x="1215" y="940"/>
                  </a:cubicBezTo>
                  <a:cubicBezTo>
                    <a:pt x="1184" y="948"/>
                    <a:pt x="1184" y="986"/>
                    <a:pt x="1169" y="1016"/>
                  </a:cubicBezTo>
                  <a:cubicBezTo>
                    <a:pt x="1146" y="1062"/>
                    <a:pt x="1138" y="1108"/>
                    <a:pt x="1115" y="1146"/>
                  </a:cubicBezTo>
                  <a:cubicBezTo>
                    <a:pt x="1092" y="1184"/>
                    <a:pt x="1062" y="1207"/>
                    <a:pt x="1039" y="1238"/>
                  </a:cubicBezTo>
                  <a:cubicBezTo>
                    <a:pt x="817" y="1230"/>
                    <a:pt x="817" y="1230"/>
                    <a:pt x="817" y="1230"/>
                  </a:cubicBezTo>
                  <a:lnTo>
                    <a:pt x="817" y="1230"/>
                  </a:lnTo>
                  <a:cubicBezTo>
                    <a:pt x="756" y="1230"/>
                    <a:pt x="710" y="1268"/>
                    <a:pt x="665" y="1177"/>
                  </a:cubicBezTo>
                  <a:cubicBezTo>
                    <a:pt x="642" y="1161"/>
                    <a:pt x="581" y="1093"/>
                    <a:pt x="573" y="1062"/>
                  </a:cubicBezTo>
                  <a:cubicBezTo>
                    <a:pt x="542" y="1062"/>
                    <a:pt x="497" y="1100"/>
                    <a:pt x="466" y="1108"/>
                  </a:cubicBezTo>
                  <a:cubicBezTo>
                    <a:pt x="412" y="1123"/>
                    <a:pt x="374" y="1085"/>
                    <a:pt x="336" y="1077"/>
                  </a:cubicBezTo>
                  <a:cubicBezTo>
                    <a:pt x="290" y="1070"/>
                    <a:pt x="252" y="1070"/>
                    <a:pt x="229" y="10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" name="Freeform 90"/>
            <p:cNvSpPr>
              <a:spLocks noChangeArrowheads="1"/>
            </p:cNvSpPr>
            <p:nvPr/>
          </p:nvSpPr>
          <p:spPr bwMode="auto">
            <a:xfrm>
              <a:off x="5309843" y="8005763"/>
              <a:ext cx="585749" cy="500062"/>
            </a:xfrm>
            <a:custGeom>
              <a:avLst/>
              <a:gdLst>
                <a:gd name="T0" fmla="*/ 963 w 1628"/>
                <a:gd name="T1" fmla="*/ 84 h 1391"/>
                <a:gd name="T2" fmla="*/ 963 w 1628"/>
                <a:gd name="T3" fmla="*/ 84 h 1391"/>
                <a:gd name="T4" fmla="*/ 1215 w 1628"/>
                <a:gd name="T5" fmla="*/ 8 h 1391"/>
                <a:gd name="T6" fmla="*/ 1215 w 1628"/>
                <a:gd name="T7" fmla="*/ 8 h 1391"/>
                <a:gd name="T8" fmla="*/ 1345 w 1628"/>
                <a:gd name="T9" fmla="*/ 31 h 1391"/>
                <a:gd name="T10" fmla="*/ 1337 w 1628"/>
                <a:gd name="T11" fmla="*/ 122 h 1391"/>
                <a:gd name="T12" fmla="*/ 1375 w 1628"/>
                <a:gd name="T13" fmla="*/ 222 h 1391"/>
                <a:gd name="T14" fmla="*/ 1497 w 1628"/>
                <a:gd name="T15" fmla="*/ 145 h 1391"/>
                <a:gd name="T16" fmla="*/ 1505 w 1628"/>
                <a:gd name="T17" fmla="*/ 206 h 1391"/>
                <a:gd name="T18" fmla="*/ 1474 w 1628"/>
                <a:gd name="T19" fmla="*/ 252 h 1391"/>
                <a:gd name="T20" fmla="*/ 1467 w 1628"/>
                <a:gd name="T21" fmla="*/ 313 h 1391"/>
                <a:gd name="T22" fmla="*/ 1520 w 1628"/>
                <a:gd name="T23" fmla="*/ 374 h 1391"/>
                <a:gd name="T24" fmla="*/ 1574 w 1628"/>
                <a:gd name="T25" fmla="*/ 497 h 1391"/>
                <a:gd name="T26" fmla="*/ 1620 w 1628"/>
                <a:gd name="T27" fmla="*/ 550 h 1391"/>
                <a:gd name="T28" fmla="*/ 1528 w 1628"/>
                <a:gd name="T29" fmla="*/ 611 h 1391"/>
                <a:gd name="T30" fmla="*/ 1482 w 1628"/>
                <a:gd name="T31" fmla="*/ 649 h 1391"/>
                <a:gd name="T32" fmla="*/ 1551 w 1628"/>
                <a:gd name="T33" fmla="*/ 741 h 1391"/>
                <a:gd name="T34" fmla="*/ 1490 w 1628"/>
                <a:gd name="T35" fmla="*/ 779 h 1391"/>
                <a:gd name="T36" fmla="*/ 1490 w 1628"/>
                <a:gd name="T37" fmla="*/ 894 h 1391"/>
                <a:gd name="T38" fmla="*/ 1513 w 1628"/>
                <a:gd name="T39" fmla="*/ 1062 h 1391"/>
                <a:gd name="T40" fmla="*/ 1467 w 1628"/>
                <a:gd name="T41" fmla="*/ 1131 h 1391"/>
                <a:gd name="T42" fmla="*/ 1467 w 1628"/>
                <a:gd name="T43" fmla="*/ 1131 h 1391"/>
                <a:gd name="T44" fmla="*/ 1436 w 1628"/>
                <a:gd name="T45" fmla="*/ 1184 h 1391"/>
                <a:gd name="T46" fmla="*/ 1291 w 1628"/>
                <a:gd name="T47" fmla="*/ 1092 h 1391"/>
                <a:gd name="T48" fmla="*/ 1238 w 1628"/>
                <a:gd name="T49" fmla="*/ 1146 h 1391"/>
                <a:gd name="T50" fmla="*/ 1176 w 1628"/>
                <a:gd name="T51" fmla="*/ 1108 h 1391"/>
                <a:gd name="T52" fmla="*/ 1070 w 1628"/>
                <a:gd name="T53" fmla="*/ 1199 h 1391"/>
                <a:gd name="T54" fmla="*/ 978 w 1628"/>
                <a:gd name="T55" fmla="*/ 1169 h 1391"/>
                <a:gd name="T56" fmla="*/ 726 w 1628"/>
                <a:gd name="T57" fmla="*/ 1352 h 1391"/>
                <a:gd name="T58" fmla="*/ 619 w 1628"/>
                <a:gd name="T59" fmla="*/ 1322 h 1391"/>
                <a:gd name="T60" fmla="*/ 520 w 1628"/>
                <a:gd name="T61" fmla="*/ 1383 h 1391"/>
                <a:gd name="T62" fmla="*/ 428 w 1628"/>
                <a:gd name="T63" fmla="*/ 1352 h 1391"/>
                <a:gd name="T64" fmla="*/ 229 w 1628"/>
                <a:gd name="T65" fmla="*/ 1344 h 1391"/>
                <a:gd name="T66" fmla="*/ 229 w 1628"/>
                <a:gd name="T67" fmla="*/ 1344 h 1391"/>
                <a:gd name="T68" fmla="*/ 214 w 1628"/>
                <a:gd name="T69" fmla="*/ 1306 h 1391"/>
                <a:gd name="T70" fmla="*/ 115 w 1628"/>
                <a:gd name="T71" fmla="*/ 1306 h 1391"/>
                <a:gd name="T72" fmla="*/ 84 w 1628"/>
                <a:gd name="T73" fmla="*/ 1261 h 1391"/>
                <a:gd name="T74" fmla="*/ 46 w 1628"/>
                <a:gd name="T75" fmla="*/ 1299 h 1391"/>
                <a:gd name="T76" fmla="*/ 8 w 1628"/>
                <a:gd name="T77" fmla="*/ 1268 h 1391"/>
                <a:gd name="T78" fmla="*/ 31 w 1628"/>
                <a:gd name="T79" fmla="*/ 1238 h 1391"/>
                <a:gd name="T80" fmla="*/ 15 w 1628"/>
                <a:gd name="T81" fmla="*/ 1176 h 1391"/>
                <a:gd name="T82" fmla="*/ 15 w 1628"/>
                <a:gd name="T83" fmla="*/ 1176 h 1391"/>
                <a:gd name="T84" fmla="*/ 176 w 1628"/>
                <a:gd name="T85" fmla="*/ 1138 h 1391"/>
                <a:gd name="T86" fmla="*/ 290 w 1628"/>
                <a:gd name="T87" fmla="*/ 1131 h 1391"/>
                <a:gd name="T88" fmla="*/ 436 w 1628"/>
                <a:gd name="T89" fmla="*/ 1016 h 1391"/>
                <a:gd name="T90" fmla="*/ 504 w 1628"/>
                <a:gd name="T91" fmla="*/ 932 h 1391"/>
                <a:gd name="T92" fmla="*/ 627 w 1628"/>
                <a:gd name="T93" fmla="*/ 901 h 1391"/>
                <a:gd name="T94" fmla="*/ 734 w 1628"/>
                <a:gd name="T95" fmla="*/ 787 h 1391"/>
                <a:gd name="T96" fmla="*/ 932 w 1628"/>
                <a:gd name="T97" fmla="*/ 443 h 1391"/>
                <a:gd name="T98" fmla="*/ 947 w 1628"/>
                <a:gd name="T99" fmla="*/ 336 h 1391"/>
                <a:gd name="T100" fmla="*/ 986 w 1628"/>
                <a:gd name="T101" fmla="*/ 275 h 1391"/>
                <a:gd name="T102" fmla="*/ 986 w 1628"/>
                <a:gd name="T103" fmla="*/ 122 h 1391"/>
                <a:gd name="T104" fmla="*/ 1077 w 1628"/>
                <a:gd name="T105" fmla="*/ 107 h 1391"/>
                <a:gd name="T106" fmla="*/ 1077 w 1628"/>
                <a:gd name="T107" fmla="*/ 100 h 1391"/>
                <a:gd name="T108" fmla="*/ 963 w 1628"/>
                <a:gd name="T109" fmla="*/ 8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8" h="1391">
                  <a:moveTo>
                    <a:pt x="963" y="84"/>
                  </a:moveTo>
                  <a:lnTo>
                    <a:pt x="963" y="84"/>
                  </a:lnTo>
                  <a:cubicBezTo>
                    <a:pt x="1215" y="8"/>
                    <a:pt x="1215" y="8"/>
                    <a:pt x="1215" y="8"/>
                  </a:cubicBezTo>
                  <a:lnTo>
                    <a:pt x="1215" y="8"/>
                  </a:lnTo>
                  <a:cubicBezTo>
                    <a:pt x="1261" y="15"/>
                    <a:pt x="1314" y="0"/>
                    <a:pt x="1345" y="31"/>
                  </a:cubicBezTo>
                  <a:cubicBezTo>
                    <a:pt x="1368" y="54"/>
                    <a:pt x="1337" y="92"/>
                    <a:pt x="1337" y="122"/>
                  </a:cubicBezTo>
                  <a:cubicBezTo>
                    <a:pt x="1345" y="153"/>
                    <a:pt x="1337" y="214"/>
                    <a:pt x="1375" y="222"/>
                  </a:cubicBezTo>
                  <a:cubicBezTo>
                    <a:pt x="1421" y="229"/>
                    <a:pt x="1459" y="176"/>
                    <a:pt x="1497" y="145"/>
                  </a:cubicBezTo>
                  <a:lnTo>
                    <a:pt x="1505" y="206"/>
                  </a:lnTo>
                  <a:cubicBezTo>
                    <a:pt x="1497" y="214"/>
                    <a:pt x="1474" y="252"/>
                    <a:pt x="1474" y="252"/>
                  </a:cubicBezTo>
                  <a:cubicBezTo>
                    <a:pt x="1474" y="252"/>
                    <a:pt x="1467" y="306"/>
                    <a:pt x="1467" y="313"/>
                  </a:cubicBezTo>
                  <a:lnTo>
                    <a:pt x="1520" y="374"/>
                  </a:lnTo>
                  <a:cubicBezTo>
                    <a:pt x="1543" y="413"/>
                    <a:pt x="1558" y="458"/>
                    <a:pt x="1574" y="497"/>
                  </a:cubicBezTo>
                  <a:cubicBezTo>
                    <a:pt x="1574" y="497"/>
                    <a:pt x="1627" y="550"/>
                    <a:pt x="1620" y="550"/>
                  </a:cubicBezTo>
                  <a:cubicBezTo>
                    <a:pt x="1612" y="558"/>
                    <a:pt x="1528" y="611"/>
                    <a:pt x="1528" y="611"/>
                  </a:cubicBezTo>
                  <a:cubicBezTo>
                    <a:pt x="1513" y="626"/>
                    <a:pt x="1482" y="634"/>
                    <a:pt x="1482" y="649"/>
                  </a:cubicBezTo>
                  <a:cubicBezTo>
                    <a:pt x="1490" y="688"/>
                    <a:pt x="1551" y="703"/>
                    <a:pt x="1551" y="741"/>
                  </a:cubicBezTo>
                  <a:cubicBezTo>
                    <a:pt x="1551" y="764"/>
                    <a:pt x="1497" y="756"/>
                    <a:pt x="1490" y="779"/>
                  </a:cubicBezTo>
                  <a:cubicBezTo>
                    <a:pt x="1474" y="817"/>
                    <a:pt x="1490" y="856"/>
                    <a:pt x="1490" y="894"/>
                  </a:cubicBezTo>
                  <a:cubicBezTo>
                    <a:pt x="1497" y="947"/>
                    <a:pt x="1513" y="1008"/>
                    <a:pt x="1513" y="1062"/>
                  </a:cubicBezTo>
                  <a:cubicBezTo>
                    <a:pt x="1505" y="1092"/>
                    <a:pt x="1482" y="1108"/>
                    <a:pt x="1467" y="1131"/>
                  </a:cubicBezTo>
                  <a:lnTo>
                    <a:pt x="1467" y="1131"/>
                  </a:lnTo>
                  <a:cubicBezTo>
                    <a:pt x="1459" y="1146"/>
                    <a:pt x="1459" y="1192"/>
                    <a:pt x="1436" y="1184"/>
                  </a:cubicBezTo>
                  <a:cubicBezTo>
                    <a:pt x="1383" y="1176"/>
                    <a:pt x="1352" y="1108"/>
                    <a:pt x="1291" y="1092"/>
                  </a:cubicBezTo>
                  <a:cubicBezTo>
                    <a:pt x="1268" y="1092"/>
                    <a:pt x="1261" y="1138"/>
                    <a:pt x="1238" y="1146"/>
                  </a:cubicBezTo>
                  <a:cubicBezTo>
                    <a:pt x="1215" y="1146"/>
                    <a:pt x="1199" y="1100"/>
                    <a:pt x="1176" y="1108"/>
                  </a:cubicBezTo>
                  <a:cubicBezTo>
                    <a:pt x="1131" y="1123"/>
                    <a:pt x="1115" y="1184"/>
                    <a:pt x="1070" y="1199"/>
                  </a:cubicBezTo>
                  <a:cubicBezTo>
                    <a:pt x="1039" y="1207"/>
                    <a:pt x="1009" y="1153"/>
                    <a:pt x="978" y="1169"/>
                  </a:cubicBezTo>
                  <a:cubicBezTo>
                    <a:pt x="886" y="1215"/>
                    <a:pt x="825" y="1314"/>
                    <a:pt x="726" y="1352"/>
                  </a:cubicBezTo>
                  <a:cubicBezTo>
                    <a:pt x="695" y="1367"/>
                    <a:pt x="657" y="1314"/>
                    <a:pt x="619" y="1322"/>
                  </a:cubicBezTo>
                  <a:cubicBezTo>
                    <a:pt x="581" y="1322"/>
                    <a:pt x="558" y="1375"/>
                    <a:pt x="520" y="1383"/>
                  </a:cubicBezTo>
                  <a:cubicBezTo>
                    <a:pt x="489" y="1390"/>
                    <a:pt x="459" y="1360"/>
                    <a:pt x="428" y="1352"/>
                  </a:cubicBezTo>
                  <a:cubicBezTo>
                    <a:pt x="359" y="1344"/>
                    <a:pt x="290" y="1344"/>
                    <a:pt x="229" y="1344"/>
                  </a:cubicBezTo>
                  <a:lnTo>
                    <a:pt x="229" y="1344"/>
                  </a:lnTo>
                  <a:cubicBezTo>
                    <a:pt x="222" y="1329"/>
                    <a:pt x="229" y="1306"/>
                    <a:pt x="214" y="1306"/>
                  </a:cubicBezTo>
                  <a:cubicBezTo>
                    <a:pt x="184" y="1291"/>
                    <a:pt x="145" y="1314"/>
                    <a:pt x="115" y="1306"/>
                  </a:cubicBezTo>
                  <a:cubicBezTo>
                    <a:pt x="100" y="1299"/>
                    <a:pt x="100" y="1261"/>
                    <a:pt x="84" y="1261"/>
                  </a:cubicBezTo>
                  <a:cubicBezTo>
                    <a:pt x="61" y="1253"/>
                    <a:pt x="61" y="1291"/>
                    <a:pt x="46" y="1299"/>
                  </a:cubicBezTo>
                  <a:cubicBezTo>
                    <a:pt x="31" y="1299"/>
                    <a:pt x="8" y="1283"/>
                    <a:pt x="8" y="1268"/>
                  </a:cubicBezTo>
                  <a:cubicBezTo>
                    <a:pt x="0" y="1261"/>
                    <a:pt x="31" y="1253"/>
                    <a:pt x="31" y="1238"/>
                  </a:cubicBezTo>
                  <a:cubicBezTo>
                    <a:pt x="31" y="1215"/>
                    <a:pt x="15" y="1199"/>
                    <a:pt x="15" y="1176"/>
                  </a:cubicBezTo>
                  <a:lnTo>
                    <a:pt x="15" y="1176"/>
                  </a:lnTo>
                  <a:cubicBezTo>
                    <a:pt x="176" y="1138"/>
                    <a:pt x="176" y="1138"/>
                    <a:pt x="176" y="1138"/>
                  </a:cubicBezTo>
                  <a:cubicBezTo>
                    <a:pt x="214" y="1131"/>
                    <a:pt x="245" y="1176"/>
                    <a:pt x="290" y="1131"/>
                  </a:cubicBezTo>
                  <a:cubicBezTo>
                    <a:pt x="336" y="1092"/>
                    <a:pt x="405" y="1054"/>
                    <a:pt x="436" y="1016"/>
                  </a:cubicBezTo>
                  <a:cubicBezTo>
                    <a:pt x="459" y="986"/>
                    <a:pt x="466" y="947"/>
                    <a:pt x="504" y="932"/>
                  </a:cubicBezTo>
                  <a:cubicBezTo>
                    <a:pt x="550" y="917"/>
                    <a:pt x="588" y="932"/>
                    <a:pt x="627" y="901"/>
                  </a:cubicBezTo>
                  <a:cubicBezTo>
                    <a:pt x="657" y="863"/>
                    <a:pt x="703" y="825"/>
                    <a:pt x="734" y="787"/>
                  </a:cubicBezTo>
                  <a:cubicBezTo>
                    <a:pt x="825" y="665"/>
                    <a:pt x="871" y="588"/>
                    <a:pt x="932" y="443"/>
                  </a:cubicBezTo>
                  <a:cubicBezTo>
                    <a:pt x="940" y="420"/>
                    <a:pt x="940" y="367"/>
                    <a:pt x="947" y="336"/>
                  </a:cubicBezTo>
                  <a:cubicBezTo>
                    <a:pt x="955" y="306"/>
                    <a:pt x="970" y="306"/>
                    <a:pt x="986" y="275"/>
                  </a:cubicBezTo>
                  <a:cubicBezTo>
                    <a:pt x="1009" y="244"/>
                    <a:pt x="986" y="161"/>
                    <a:pt x="986" y="122"/>
                  </a:cubicBezTo>
                  <a:cubicBezTo>
                    <a:pt x="1016" y="115"/>
                    <a:pt x="1047" y="115"/>
                    <a:pt x="1077" y="107"/>
                  </a:cubicBezTo>
                  <a:cubicBezTo>
                    <a:pt x="1077" y="100"/>
                    <a:pt x="1077" y="100"/>
                    <a:pt x="1077" y="100"/>
                  </a:cubicBezTo>
                  <a:cubicBezTo>
                    <a:pt x="1054" y="100"/>
                    <a:pt x="970" y="92"/>
                    <a:pt x="963" y="8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" name="Freeform 91"/>
            <p:cNvSpPr>
              <a:spLocks noChangeArrowheads="1"/>
            </p:cNvSpPr>
            <p:nvPr/>
          </p:nvSpPr>
          <p:spPr bwMode="auto">
            <a:xfrm>
              <a:off x="6076555" y="8934450"/>
              <a:ext cx="150803" cy="109538"/>
            </a:xfrm>
            <a:custGeom>
              <a:avLst/>
              <a:gdLst>
                <a:gd name="T0" fmla="*/ 168 w 420"/>
                <a:gd name="T1" fmla="*/ 23 h 306"/>
                <a:gd name="T2" fmla="*/ 168 w 420"/>
                <a:gd name="T3" fmla="*/ 23 h 306"/>
                <a:gd name="T4" fmla="*/ 282 w 420"/>
                <a:gd name="T5" fmla="*/ 7 h 306"/>
                <a:gd name="T6" fmla="*/ 358 w 420"/>
                <a:gd name="T7" fmla="*/ 38 h 306"/>
                <a:gd name="T8" fmla="*/ 358 w 420"/>
                <a:gd name="T9" fmla="*/ 38 h 306"/>
                <a:gd name="T10" fmla="*/ 404 w 420"/>
                <a:gd name="T11" fmla="*/ 53 h 306"/>
                <a:gd name="T12" fmla="*/ 419 w 420"/>
                <a:gd name="T13" fmla="*/ 160 h 306"/>
                <a:gd name="T14" fmla="*/ 419 w 420"/>
                <a:gd name="T15" fmla="*/ 160 h 306"/>
                <a:gd name="T16" fmla="*/ 274 w 420"/>
                <a:gd name="T17" fmla="*/ 305 h 306"/>
                <a:gd name="T18" fmla="*/ 274 w 420"/>
                <a:gd name="T19" fmla="*/ 305 h 306"/>
                <a:gd name="T20" fmla="*/ 191 w 420"/>
                <a:gd name="T21" fmla="*/ 214 h 306"/>
                <a:gd name="T22" fmla="*/ 115 w 420"/>
                <a:gd name="T23" fmla="*/ 244 h 306"/>
                <a:gd name="T24" fmla="*/ 77 w 420"/>
                <a:gd name="T25" fmla="*/ 168 h 306"/>
                <a:gd name="T26" fmla="*/ 8 w 420"/>
                <a:gd name="T27" fmla="*/ 130 h 306"/>
                <a:gd name="T28" fmla="*/ 8 w 420"/>
                <a:gd name="T29" fmla="*/ 130 h 306"/>
                <a:gd name="T30" fmla="*/ 8 w 420"/>
                <a:gd name="T31" fmla="*/ 61 h 306"/>
                <a:gd name="T32" fmla="*/ 77 w 420"/>
                <a:gd name="T33" fmla="*/ 30 h 306"/>
                <a:gd name="T34" fmla="*/ 130 w 420"/>
                <a:gd name="T35" fmla="*/ 61 h 306"/>
                <a:gd name="T36" fmla="*/ 168 w 420"/>
                <a:gd name="T37" fmla="*/ 2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0" h="306">
                  <a:moveTo>
                    <a:pt x="168" y="23"/>
                  </a:moveTo>
                  <a:lnTo>
                    <a:pt x="168" y="23"/>
                  </a:lnTo>
                  <a:cubicBezTo>
                    <a:pt x="205" y="15"/>
                    <a:pt x="244" y="0"/>
                    <a:pt x="282" y="7"/>
                  </a:cubicBezTo>
                  <a:cubicBezTo>
                    <a:pt x="305" y="7"/>
                    <a:pt x="328" y="30"/>
                    <a:pt x="358" y="38"/>
                  </a:cubicBezTo>
                  <a:lnTo>
                    <a:pt x="358" y="38"/>
                  </a:lnTo>
                  <a:cubicBezTo>
                    <a:pt x="374" y="46"/>
                    <a:pt x="397" y="38"/>
                    <a:pt x="404" y="53"/>
                  </a:cubicBezTo>
                  <a:cubicBezTo>
                    <a:pt x="419" y="84"/>
                    <a:pt x="412" y="122"/>
                    <a:pt x="419" y="160"/>
                  </a:cubicBezTo>
                  <a:lnTo>
                    <a:pt x="419" y="160"/>
                  </a:lnTo>
                  <a:cubicBezTo>
                    <a:pt x="358" y="183"/>
                    <a:pt x="313" y="221"/>
                    <a:pt x="274" y="305"/>
                  </a:cubicBezTo>
                  <a:lnTo>
                    <a:pt x="274" y="305"/>
                  </a:lnTo>
                  <a:cubicBezTo>
                    <a:pt x="244" y="275"/>
                    <a:pt x="228" y="229"/>
                    <a:pt x="191" y="214"/>
                  </a:cubicBezTo>
                  <a:cubicBezTo>
                    <a:pt x="161" y="206"/>
                    <a:pt x="138" y="252"/>
                    <a:pt x="115" y="244"/>
                  </a:cubicBezTo>
                  <a:cubicBezTo>
                    <a:pt x="84" y="229"/>
                    <a:pt x="92" y="183"/>
                    <a:pt x="77" y="168"/>
                  </a:cubicBezTo>
                  <a:cubicBezTo>
                    <a:pt x="62" y="145"/>
                    <a:pt x="31" y="145"/>
                    <a:pt x="8" y="130"/>
                  </a:cubicBezTo>
                  <a:lnTo>
                    <a:pt x="8" y="130"/>
                  </a:lnTo>
                  <a:cubicBezTo>
                    <a:pt x="8" y="107"/>
                    <a:pt x="0" y="84"/>
                    <a:pt x="8" y="61"/>
                  </a:cubicBezTo>
                  <a:cubicBezTo>
                    <a:pt x="23" y="38"/>
                    <a:pt x="54" y="30"/>
                    <a:pt x="77" y="30"/>
                  </a:cubicBezTo>
                  <a:cubicBezTo>
                    <a:pt x="100" y="30"/>
                    <a:pt x="115" y="61"/>
                    <a:pt x="130" y="61"/>
                  </a:cubicBezTo>
                  <a:cubicBezTo>
                    <a:pt x="153" y="61"/>
                    <a:pt x="153" y="30"/>
                    <a:pt x="168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" name="Freeform 92"/>
            <p:cNvSpPr>
              <a:spLocks noChangeArrowheads="1"/>
            </p:cNvSpPr>
            <p:nvPr/>
          </p:nvSpPr>
          <p:spPr bwMode="auto">
            <a:xfrm>
              <a:off x="5895591" y="8977313"/>
              <a:ext cx="280970" cy="139700"/>
            </a:xfrm>
            <a:custGeom>
              <a:avLst/>
              <a:gdLst>
                <a:gd name="T0" fmla="*/ 283 w 779"/>
                <a:gd name="T1" fmla="*/ 0 h 390"/>
                <a:gd name="T2" fmla="*/ 283 w 779"/>
                <a:gd name="T3" fmla="*/ 0 h 390"/>
                <a:gd name="T4" fmla="*/ 390 w 779"/>
                <a:gd name="T5" fmla="*/ 30 h 390"/>
                <a:gd name="T6" fmla="*/ 512 w 779"/>
                <a:gd name="T7" fmla="*/ 15 h 390"/>
                <a:gd name="T8" fmla="*/ 512 w 779"/>
                <a:gd name="T9" fmla="*/ 15 h 390"/>
                <a:gd name="T10" fmla="*/ 581 w 779"/>
                <a:gd name="T11" fmla="*/ 53 h 390"/>
                <a:gd name="T12" fmla="*/ 619 w 779"/>
                <a:gd name="T13" fmla="*/ 129 h 390"/>
                <a:gd name="T14" fmla="*/ 695 w 779"/>
                <a:gd name="T15" fmla="*/ 99 h 390"/>
                <a:gd name="T16" fmla="*/ 778 w 779"/>
                <a:gd name="T17" fmla="*/ 190 h 390"/>
                <a:gd name="T18" fmla="*/ 778 w 779"/>
                <a:gd name="T19" fmla="*/ 190 h 390"/>
                <a:gd name="T20" fmla="*/ 771 w 779"/>
                <a:gd name="T21" fmla="*/ 213 h 390"/>
                <a:gd name="T22" fmla="*/ 535 w 779"/>
                <a:gd name="T23" fmla="*/ 366 h 390"/>
                <a:gd name="T24" fmla="*/ 84 w 779"/>
                <a:gd name="T25" fmla="*/ 236 h 390"/>
                <a:gd name="T26" fmla="*/ 0 w 779"/>
                <a:gd name="T27" fmla="*/ 160 h 390"/>
                <a:gd name="T28" fmla="*/ 0 w 779"/>
                <a:gd name="T29" fmla="*/ 160 h 390"/>
                <a:gd name="T30" fmla="*/ 145 w 779"/>
                <a:gd name="T31" fmla="*/ 61 h 390"/>
                <a:gd name="T32" fmla="*/ 199 w 779"/>
                <a:gd name="T33" fmla="*/ 76 h 390"/>
                <a:gd name="T34" fmla="*/ 283 w 779"/>
                <a:gd name="T35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9" h="390">
                  <a:moveTo>
                    <a:pt x="283" y="0"/>
                  </a:moveTo>
                  <a:lnTo>
                    <a:pt x="283" y="0"/>
                  </a:lnTo>
                  <a:cubicBezTo>
                    <a:pt x="313" y="7"/>
                    <a:pt x="352" y="30"/>
                    <a:pt x="390" y="30"/>
                  </a:cubicBezTo>
                  <a:cubicBezTo>
                    <a:pt x="428" y="30"/>
                    <a:pt x="474" y="22"/>
                    <a:pt x="512" y="15"/>
                  </a:cubicBezTo>
                  <a:lnTo>
                    <a:pt x="512" y="15"/>
                  </a:lnTo>
                  <a:cubicBezTo>
                    <a:pt x="535" y="30"/>
                    <a:pt x="566" y="30"/>
                    <a:pt x="581" y="53"/>
                  </a:cubicBezTo>
                  <a:cubicBezTo>
                    <a:pt x="596" y="68"/>
                    <a:pt x="588" y="114"/>
                    <a:pt x="619" y="129"/>
                  </a:cubicBezTo>
                  <a:cubicBezTo>
                    <a:pt x="642" y="137"/>
                    <a:pt x="665" y="91"/>
                    <a:pt x="695" y="99"/>
                  </a:cubicBezTo>
                  <a:cubicBezTo>
                    <a:pt x="732" y="114"/>
                    <a:pt x="748" y="160"/>
                    <a:pt x="778" y="190"/>
                  </a:cubicBezTo>
                  <a:lnTo>
                    <a:pt x="778" y="190"/>
                  </a:lnTo>
                  <a:cubicBezTo>
                    <a:pt x="778" y="198"/>
                    <a:pt x="778" y="206"/>
                    <a:pt x="771" y="213"/>
                  </a:cubicBezTo>
                  <a:cubicBezTo>
                    <a:pt x="709" y="389"/>
                    <a:pt x="732" y="328"/>
                    <a:pt x="535" y="366"/>
                  </a:cubicBezTo>
                  <a:cubicBezTo>
                    <a:pt x="413" y="389"/>
                    <a:pt x="130" y="381"/>
                    <a:pt x="84" y="236"/>
                  </a:cubicBezTo>
                  <a:cubicBezTo>
                    <a:pt x="61" y="190"/>
                    <a:pt x="31" y="175"/>
                    <a:pt x="0" y="160"/>
                  </a:cubicBezTo>
                  <a:lnTo>
                    <a:pt x="0" y="160"/>
                  </a:lnTo>
                  <a:cubicBezTo>
                    <a:pt x="38" y="137"/>
                    <a:pt x="99" y="76"/>
                    <a:pt x="145" y="61"/>
                  </a:cubicBezTo>
                  <a:cubicBezTo>
                    <a:pt x="161" y="53"/>
                    <a:pt x="183" y="83"/>
                    <a:pt x="199" y="76"/>
                  </a:cubicBezTo>
                  <a:cubicBezTo>
                    <a:pt x="229" y="61"/>
                    <a:pt x="252" y="22"/>
                    <a:pt x="28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" name="Freeform 93"/>
            <p:cNvSpPr>
              <a:spLocks noChangeArrowheads="1"/>
            </p:cNvSpPr>
            <p:nvPr/>
          </p:nvSpPr>
          <p:spPr bwMode="auto">
            <a:xfrm>
              <a:off x="6452768" y="8842375"/>
              <a:ext cx="236522" cy="223838"/>
            </a:xfrm>
            <a:custGeom>
              <a:avLst/>
              <a:gdLst>
                <a:gd name="T0" fmla="*/ 229 w 658"/>
                <a:gd name="T1" fmla="*/ 0 h 620"/>
                <a:gd name="T2" fmla="*/ 229 w 658"/>
                <a:gd name="T3" fmla="*/ 0 h 620"/>
                <a:gd name="T4" fmla="*/ 160 w 658"/>
                <a:gd name="T5" fmla="*/ 100 h 620"/>
                <a:gd name="T6" fmla="*/ 53 w 658"/>
                <a:gd name="T7" fmla="*/ 222 h 620"/>
                <a:gd name="T8" fmla="*/ 7 w 658"/>
                <a:gd name="T9" fmla="*/ 344 h 620"/>
                <a:gd name="T10" fmla="*/ 7 w 658"/>
                <a:gd name="T11" fmla="*/ 344 h 620"/>
                <a:gd name="T12" fmla="*/ 30 w 658"/>
                <a:gd name="T13" fmla="*/ 382 h 620"/>
                <a:gd name="T14" fmla="*/ 122 w 658"/>
                <a:gd name="T15" fmla="*/ 382 h 620"/>
                <a:gd name="T16" fmla="*/ 168 w 658"/>
                <a:gd name="T17" fmla="*/ 428 h 620"/>
                <a:gd name="T18" fmla="*/ 229 w 658"/>
                <a:gd name="T19" fmla="*/ 436 h 620"/>
                <a:gd name="T20" fmla="*/ 244 w 658"/>
                <a:gd name="T21" fmla="*/ 497 h 620"/>
                <a:gd name="T22" fmla="*/ 221 w 658"/>
                <a:gd name="T23" fmla="*/ 527 h 620"/>
                <a:gd name="T24" fmla="*/ 229 w 658"/>
                <a:gd name="T25" fmla="*/ 596 h 620"/>
                <a:gd name="T26" fmla="*/ 229 w 658"/>
                <a:gd name="T27" fmla="*/ 596 h 620"/>
                <a:gd name="T28" fmla="*/ 343 w 658"/>
                <a:gd name="T29" fmla="*/ 619 h 620"/>
                <a:gd name="T30" fmla="*/ 489 w 658"/>
                <a:gd name="T31" fmla="*/ 581 h 620"/>
                <a:gd name="T32" fmla="*/ 580 w 658"/>
                <a:gd name="T33" fmla="*/ 604 h 620"/>
                <a:gd name="T34" fmla="*/ 580 w 658"/>
                <a:gd name="T35" fmla="*/ 604 h 620"/>
                <a:gd name="T36" fmla="*/ 588 w 658"/>
                <a:gd name="T37" fmla="*/ 481 h 620"/>
                <a:gd name="T38" fmla="*/ 534 w 658"/>
                <a:gd name="T39" fmla="*/ 420 h 620"/>
                <a:gd name="T40" fmla="*/ 634 w 658"/>
                <a:gd name="T41" fmla="*/ 352 h 620"/>
                <a:gd name="T42" fmla="*/ 618 w 658"/>
                <a:gd name="T43" fmla="*/ 222 h 620"/>
                <a:gd name="T44" fmla="*/ 618 w 658"/>
                <a:gd name="T45" fmla="*/ 222 h 620"/>
                <a:gd name="T46" fmla="*/ 443 w 658"/>
                <a:gd name="T47" fmla="*/ 176 h 620"/>
                <a:gd name="T48" fmla="*/ 412 w 658"/>
                <a:gd name="T49" fmla="*/ 61 h 620"/>
                <a:gd name="T50" fmla="*/ 290 w 658"/>
                <a:gd name="T51" fmla="*/ 54 h 620"/>
                <a:gd name="T52" fmla="*/ 290 w 658"/>
                <a:gd name="T53" fmla="*/ 23 h 620"/>
                <a:gd name="T54" fmla="*/ 229 w 658"/>
                <a:gd name="T55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8" h="620">
                  <a:moveTo>
                    <a:pt x="229" y="0"/>
                  </a:moveTo>
                  <a:lnTo>
                    <a:pt x="229" y="0"/>
                  </a:lnTo>
                  <a:cubicBezTo>
                    <a:pt x="206" y="31"/>
                    <a:pt x="176" y="61"/>
                    <a:pt x="160" y="100"/>
                  </a:cubicBezTo>
                  <a:cubicBezTo>
                    <a:pt x="145" y="153"/>
                    <a:pt x="76" y="168"/>
                    <a:pt x="53" y="222"/>
                  </a:cubicBezTo>
                  <a:cubicBezTo>
                    <a:pt x="38" y="260"/>
                    <a:pt x="23" y="306"/>
                    <a:pt x="7" y="344"/>
                  </a:cubicBezTo>
                  <a:lnTo>
                    <a:pt x="7" y="344"/>
                  </a:lnTo>
                  <a:cubicBezTo>
                    <a:pt x="23" y="382"/>
                    <a:pt x="0" y="359"/>
                    <a:pt x="30" y="382"/>
                  </a:cubicBezTo>
                  <a:cubicBezTo>
                    <a:pt x="61" y="397"/>
                    <a:pt x="91" y="375"/>
                    <a:pt x="122" y="382"/>
                  </a:cubicBezTo>
                  <a:cubicBezTo>
                    <a:pt x="145" y="390"/>
                    <a:pt x="145" y="420"/>
                    <a:pt x="168" y="428"/>
                  </a:cubicBezTo>
                  <a:cubicBezTo>
                    <a:pt x="183" y="436"/>
                    <a:pt x="214" y="420"/>
                    <a:pt x="229" y="436"/>
                  </a:cubicBezTo>
                  <a:cubicBezTo>
                    <a:pt x="244" y="451"/>
                    <a:pt x="244" y="474"/>
                    <a:pt x="244" y="497"/>
                  </a:cubicBezTo>
                  <a:cubicBezTo>
                    <a:pt x="244" y="512"/>
                    <a:pt x="221" y="512"/>
                    <a:pt x="221" y="527"/>
                  </a:cubicBezTo>
                  <a:cubicBezTo>
                    <a:pt x="214" y="550"/>
                    <a:pt x="221" y="573"/>
                    <a:pt x="229" y="596"/>
                  </a:cubicBezTo>
                  <a:lnTo>
                    <a:pt x="229" y="596"/>
                  </a:lnTo>
                  <a:cubicBezTo>
                    <a:pt x="267" y="604"/>
                    <a:pt x="298" y="619"/>
                    <a:pt x="343" y="619"/>
                  </a:cubicBezTo>
                  <a:cubicBezTo>
                    <a:pt x="389" y="619"/>
                    <a:pt x="435" y="581"/>
                    <a:pt x="489" y="581"/>
                  </a:cubicBezTo>
                  <a:cubicBezTo>
                    <a:pt x="519" y="581"/>
                    <a:pt x="550" y="596"/>
                    <a:pt x="580" y="604"/>
                  </a:cubicBezTo>
                  <a:lnTo>
                    <a:pt x="580" y="604"/>
                  </a:lnTo>
                  <a:cubicBezTo>
                    <a:pt x="580" y="565"/>
                    <a:pt x="595" y="519"/>
                    <a:pt x="588" y="481"/>
                  </a:cubicBezTo>
                  <a:cubicBezTo>
                    <a:pt x="580" y="451"/>
                    <a:pt x="527" y="443"/>
                    <a:pt x="534" y="420"/>
                  </a:cubicBezTo>
                  <a:cubicBezTo>
                    <a:pt x="550" y="382"/>
                    <a:pt x="618" y="390"/>
                    <a:pt x="634" y="352"/>
                  </a:cubicBezTo>
                  <a:cubicBezTo>
                    <a:pt x="657" y="306"/>
                    <a:pt x="626" y="267"/>
                    <a:pt x="618" y="222"/>
                  </a:cubicBezTo>
                  <a:lnTo>
                    <a:pt x="618" y="222"/>
                  </a:lnTo>
                  <a:cubicBezTo>
                    <a:pt x="557" y="206"/>
                    <a:pt x="489" y="214"/>
                    <a:pt x="443" y="176"/>
                  </a:cubicBezTo>
                  <a:cubicBezTo>
                    <a:pt x="412" y="153"/>
                    <a:pt x="443" y="84"/>
                    <a:pt x="412" y="61"/>
                  </a:cubicBezTo>
                  <a:cubicBezTo>
                    <a:pt x="382" y="38"/>
                    <a:pt x="328" y="69"/>
                    <a:pt x="290" y="54"/>
                  </a:cubicBezTo>
                  <a:cubicBezTo>
                    <a:pt x="275" y="54"/>
                    <a:pt x="298" y="31"/>
                    <a:pt x="290" y="23"/>
                  </a:cubicBezTo>
                  <a:cubicBezTo>
                    <a:pt x="252" y="0"/>
                    <a:pt x="267" y="15"/>
                    <a:pt x="22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" name="Freeform 94"/>
            <p:cNvSpPr>
              <a:spLocks noChangeArrowheads="1"/>
            </p:cNvSpPr>
            <p:nvPr/>
          </p:nvSpPr>
          <p:spPr bwMode="auto">
            <a:xfrm>
              <a:off x="6436894" y="8966201"/>
              <a:ext cx="104768" cy="119063"/>
            </a:xfrm>
            <a:custGeom>
              <a:avLst/>
              <a:gdLst>
                <a:gd name="T0" fmla="*/ 53 w 291"/>
                <a:gd name="T1" fmla="*/ 0 h 329"/>
                <a:gd name="T2" fmla="*/ 53 w 291"/>
                <a:gd name="T3" fmla="*/ 0 h 329"/>
                <a:gd name="T4" fmla="*/ 76 w 291"/>
                <a:gd name="T5" fmla="*/ 38 h 329"/>
                <a:gd name="T6" fmla="*/ 168 w 291"/>
                <a:gd name="T7" fmla="*/ 38 h 329"/>
                <a:gd name="T8" fmla="*/ 214 w 291"/>
                <a:gd name="T9" fmla="*/ 84 h 329"/>
                <a:gd name="T10" fmla="*/ 275 w 291"/>
                <a:gd name="T11" fmla="*/ 92 h 329"/>
                <a:gd name="T12" fmla="*/ 290 w 291"/>
                <a:gd name="T13" fmla="*/ 153 h 329"/>
                <a:gd name="T14" fmla="*/ 267 w 291"/>
                <a:gd name="T15" fmla="*/ 183 h 329"/>
                <a:gd name="T16" fmla="*/ 275 w 291"/>
                <a:gd name="T17" fmla="*/ 252 h 329"/>
                <a:gd name="T18" fmla="*/ 275 w 291"/>
                <a:gd name="T19" fmla="*/ 252 h 329"/>
                <a:gd name="T20" fmla="*/ 252 w 291"/>
                <a:gd name="T21" fmla="*/ 298 h 329"/>
                <a:gd name="T22" fmla="*/ 214 w 291"/>
                <a:gd name="T23" fmla="*/ 298 h 329"/>
                <a:gd name="T24" fmla="*/ 183 w 291"/>
                <a:gd name="T25" fmla="*/ 328 h 329"/>
                <a:gd name="T26" fmla="*/ 183 w 291"/>
                <a:gd name="T27" fmla="*/ 328 h 329"/>
                <a:gd name="T28" fmla="*/ 99 w 291"/>
                <a:gd name="T29" fmla="*/ 290 h 329"/>
                <a:gd name="T30" fmla="*/ 107 w 291"/>
                <a:gd name="T31" fmla="*/ 229 h 329"/>
                <a:gd name="T32" fmla="*/ 99 w 291"/>
                <a:gd name="T33" fmla="*/ 153 h 329"/>
                <a:gd name="T34" fmla="*/ 46 w 291"/>
                <a:gd name="T35" fmla="*/ 122 h 329"/>
                <a:gd name="T36" fmla="*/ 0 w 291"/>
                <a:gd name="T37" fmla="*/ 76 h 329"/>
                <a:gd name="T38" fmla="*/ 0 w 291"/>
                <a:gd name="T39" fmla="*/ 76 h 329"/>
                <a:gd name="T40" fmla="*/ 53 w 291"/>
                <a:gd name="T41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1" h="329">
                  <a:moveTo>
                    <a:pt x="53" y="0"/>
                  </a:moveTo>
                  <a:lnTo>
                    <a:pt x="53" y="0"/>
                  </a:lnTo>
                  <a:cubicBezTo>
                    <a:pt x="69" y="38"/>
                    <a:pt x="46" y="15"/>
                    <a:pt x="76" y="38"/>
                  </a:cubicBezTo>
                  <a:cubicBezTo>
                    <a:pt x="107" y="53"/>
                    <a:pt x="137" y="31"/>
                    <a:pt x="168" y="38"/>
                  </a:cubicBezTo>
                  <a:cubicBezTo>
                    <a:pt x="191" y="46"/>
                    <a:pt x="191" y="76"/>
                    <a:pt x="214" y="84"/>
                  </a:cubicBezTo>
                  <a:cubicBezTo>
                    <a:pt x="229" y="92"/>
                    <a:pt x="260" y="76"/>
                    <a:pt x="275" y="92"/>
                  </a:cubicBezTo>
                  <a:cubicBezTo>
                    <a:pt x="290" y="107"/>
                    <a:pt x="290" y="130"/>
                    <a:pt x="290" y="153"/>
                  </a:cubicBezTo>
                  <a:cubicBezTo>
                    <a:pt x="290" y="168"/>
                    <a:pt x="267" y="168"/>
                    <a:pt x="267" y="183"/>
                  </a:cubicBezTo>
                  <a:cubicBezTo>
                    <a:pt x="260" y="206"/>
                    <a:pt x="267" y="229"/>
                    <a:pt x="275" y="252"/>
                  </a:cubicBezTo>
                  <a:lnTo>
                    <a:pt x="275" y="252"/>
                  </a:lnTo>
                  <a:cubicBezTo>
                    <a:pt x="267" y="267"/>
                    <a:pt x="267" y="290"/>
                    <a:pt x="252" y="298"/>
                  </a:cubicBezTo>
                  <a:cubicBezTo>
                    <a:pt x="244" y="306"/>
                    <a:pt x="229" y="290"/>
                    <a:pt x="214" y="298"/>
                  </a:cubicBezTo>
                  <a:cubicBezTo>
                    <a:pt x="199" y="298"/>
                    <a:pt x="191" y="313"/>
                    <a:pt x="183" y="328"/>
                  </a:cubicBezTo>
                  <a:lnTo>
                    <a:pt x="183" y="328"/>
                  </a:lnTo>
                  <a:cubicBezTo>
                    <a:pt x="153" y="313"/>
                    <a:pt x="114" y="321"/>
                    <a:pt x="99" y="290"/>
                  </a:cubicBezTo>
                  <a:cubicBezTo>
                    <a:pt x="84" y="275"/>
                    <a:pt x="107" y="252"/>
                    <a:pt x="107" y="229"/>
                  </a:cubicBezTo>
                  <a:cubicBezTo>
                    <a:pt x="107" y="206"/>
                    <a:pt x="114" y="175"/>
                    <a:pt x="99" y="153"/>
                  </a:cubicBezTo>
                  <a:cubicBezTo>
                    <a:pt x="91" y="137"/>
                    <a:pt x="61" y="137"/>
                    <a:pt x="46" y="122"/>
                  </a:cubicBezTo>
                  <a:cubicBezTo>
                    <a:pt x="15" y="99"/>
                    <a:pt x="23" y="107"/>
                    <a:pt x="0" y="76"/>
                  </a:cubicBezTo>
                  <a:lnTo>
                    <a:pt x="0" y="76"/>
                  </a:lnTo>
                  <a:cubicBezTo>
                    <a:pt x="23" y="61"/>
                    <a:pt x="38" y="31"/>
                    <a:pt x="5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" name="Freeform 95"/>
            <p:cNvSpPr>
              <a:spLocks noChangeArrowheads="1"/>
            </p:cNvSpPr>
            <p:nvPr/>
          </p:nvSpPr>
          <p:spPr bwMode="auto">
            <a:xfrm>
              <a:off x="6941686" y="8810626"/>
              <a:ext cx="134928" cy="187325"/>
            </a:xfrm>
            <a:custGeom>
              <a:avLst/>
              <a:gdLst>
                <a:gd name="T0" fmla="*/ 107 w 376"/>
                <a:gd name="T1" fmla="*/ 54 h 521"/>
                <a:gd name="T2" fmla="*/ 107 w 376"/>
                <a:gd name="T3" fmla="*/ 54 h 521"/>
                <a:gd name="T4" fmla="*/ 153 w 376"/>
                <a:gd name="T5" fmla="*/ 69 h 521"/>
                <a:gd name="T6" fmla="*/ 214 w 376"/>
                <a:gd name="T7" fmla="*/ 54 h 521"/>
                <a:gd name="T8" fmla="*/ 237 w 376"/>
                <a:gd name="T9" fmla="*/ 8 h 521"/>
                <a:gd name="T10" fmla="*/ 275 w 376"/>
                <a:gd name="T11" fmla="*/ 0 h 521"/>
                <a:gd name="T12" fmla="*/ 275 w 376"/>
                <a:gd name="T13" fmla="*/ 0 h 521"/>
                <a:gd name="T14" fmla="*/ 260 w 376"/>
                <a:gd name="T15" fmla="*/ 31 h 521"/>
                <a:gd name="T16" fmla="*/ 252 w 376"/>
                <a:gd name="T17" fmla="*/ 92 h 521"/>
                <a:gd name="T18" fmla="*/ 298 w 376"/>
                <a:gd name="T19" fmla="*/ 153 h 521"/>
                <a:gd name="T20" fmla="*/ 237 w 376"/>
                <a:gd name="T21" fmla="*/ 214 h 521"/>
                <a:gd name="T22" fmla="*/ 260 w 376"/>
                <a:gd name="T23" fmla="*/ 298 h 521"/>
                <a:gd name="T24" fmla="*/ 329 w 376"/>
                <a:gd name="T25" fmla="*/ 336 h 521"/>
                <a:gd name="T26" fmla="*/ 375 w 376"/>
                <a:gd name="T27" fmla="*/ 436 h 521"/>
                <a:gd name="T28" fmla="*/ 375 w 376"/>
                <a:gd name="T29" fmla="*/ 436 h 521"/>
                <a:gd name="T30" fmla="*/ 168 w 376"/>
                <a:gd name="T31" fmla="*/ 512 h 521"/>
                <a:gd name="T32" fmla="*/ 61 w 376"/>
                <a:gd name="T33" fmla="*/ 497 h 521"/>
                <a:gd name="T34" fmla="*/ 23 w 376"/>
                <a:gd name="T35" fmla="*/ 405 h 521"/>
                <a:gd name="T36" fmla="*/ 8 w 376"/>
                <a:gd name="T37" fmla="*/ 306 h 521"/>
                <a:gd name="T38" fmla="*/ 31 w 376"/>
                <a:gd name="T39" fmla="*/ 267 h 521"/>
                <a:gd name="T40" fmla="*/ 23 w 376"/>
                <a:gd name="T41" fmla="*/ 168 h 521"/>
                <a:gd name="T42" fmla="*/ 100 w 376"/>
                <a:gd name="T43" fmla="*/ 145 h 521"/>
                <a:gd name="T44" fmla="*/ 84 w 376"/>
                <a:gd name="T45" fmla="*/ 99 h 521"/>
                <a:gd name="T46" fmla="*/ 107 w 376"/>
                <a:gd name="T47" fmla="*/ 5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521">
                  <a:moveTo>
                    <a:pt x="107" y="54"/>
                  </a:moveTo>
                  <a:lnTo>
                    <a:pt x="107" y="54"/>
                  </a:lnTo>
                  <a:cubicBezTo>
                    <a:pt x="122" y="61"/>
                    <a:pt x="138" y="69"/>
                    <a:pt x="153" y="69"/>
                  </a:cubicBezTo>
                  <a:cubicBezTo>
                    <a:pt x="176" y="69"/>
                    <a:pt x="199" y="69"/>
                    <a:pt x="214" y="54"/>
                  </a:cubicBezTo>
                  <a:cubicBezTo>
                    <a:pt x="230" y="46"/>
                    <a:pt x="230" y="15"/>
                    <a:pt x="237" y="8"/>
                  </a:cubicBezTo>
                  <a:cubicBezTo>
                    <a:pt x="252" y="0"/>
                    <a:pt x="260" y="0"/>
                    <a:pt x="275" y="0"/>
                  </a:cubicBezTo>
                  <a:lnTo>
                    <a:pt x="275" y="0"/>
                  </a:lnTo>
                  <a:cubicBezTo>
                    <a:pt x="268" y="8"/>
                    <a:pt x="260" y="23"/>
                    <a:pt x="260" y="31"/>
                  </a:cubicBezTo>
                  <a:cubicBezTo>
                    <a:pt x="252" y="54"/>
                    <a:pt x="252" y="77"/>
                    <a:pt x="252" y="92"/>
                  </a:cubicBezTo>
                  <a:cubicBezTo>
                    <a:pt x="260" y="115"/>
                    <a:pt x="298" y="130"/>
                    <a:pt x="298" y="153"/>
                  </a:cubicBezTo>
                  <a:cubicBezTo>
                    <a:pt x="291" y="184"/>
                    <a:pt x="245" y="191"/>
                    <a:pt x="237" y="214"/>
                  </a:cubicBezTo>
                  <a:cubicBezTo>
                    <a:pt x="237" y="245"/>
                    <a:pt x="237" y="275"/>
                    <a:pt x="260" y="298"/>
                  </a:cubicBezTo>
                  <a:cubicBezTo>
                    <a:pt x="275" y="321"/>
                    <a:pt x="306" y="313"/>
                    <a:pt x="329" y="336"/>
                  </a:cubicBezTo>
                  <a:cubicBezTo>
                    <a:pt x="352" y="359"/>
                    <a:pt x="359" y="405"/>
                    <a:pt x="375" y="436"/>
                  </a:cubicBezTo>
                  <a:lnTo>
                    <a:pt x="375" y="436"/>
                  </a:lnTo>
                  <a:cubicBezTo>
                    <a:pt x="306" y="459"/>
                    <a:pt x="245" y="497"/>
                    <a:pt x="168" y="512"/>
                  </a:cubicBezTo>
                  <a:cubicBezTo>
                    <a:pt x="138" y="520"/>
                    <a:pt x="92" y="520"/>
                    <a:pt x="61" y="497"/>
                  </a:cubicBezTo>
                  <a:cubicBezTo>
                    <a:pt x="39" y="474"/>
                    <a:pt x="31" y="436"/>
                    <a:pt x="23" y="405"/>
                  </a:cubicBezTo>
                  <a:cubicBezTo>
                    <a:pt x="8" y="374"/>
                    <a:pt x="0" y="336"/>
                    <a:pt x="8" y="306"/>
                  </a:cubicBezTo>
                  <a:cubicBezTo>
                    <a:pt x="8" y="290"/>
                    <a:pt x="31" y="283"/>
                    <a:pt x="31" y="267"/>
                  </a:cubicBezTo>
                  <a:cubicBezTo>
                    <a:pt x="39" y="229"/>
                    <a:pt x="8" y="199"/>
                    <a:pt x="23" y="168"/>
                  </a:cubicBezTo>
                  <a:cubicBezTo>
                    <a:pt x="39" y="145"/>
                    <a:pt x="84" y="161"/>
                    <a:pt x="100" y="145"/>
                  </a:cubicBezTo>
                  <a:cubicBezTo>
                    <a:pt x="115" y="130"/>
                    <a:pt x="84" y="115"/>
                    <a:pt x="84" y="99"/>
                  </a:cubicBezTo>
                  <a:cubicBezTo>
                    <a:pt x="92" y="84"/>
                    <a:pt x="100" y="69"/>
                    <a:pt x="107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" name="Freeform 96"/>
            <p:cNvSpPr>
              <a:spLocks noChangeArrowheads="1"/>
            </p:cNvSpPr>
            <p:nvPr/>
          </p:nvSpPr>
          <p:spPr bwMode="auto">
            <a:xfrm>
              <a:off x="7090901" y="8932863"/>
              <a:ext cx="330178" cy="209550"/>
            </a:xfrm>
            <a:custGeom>
              <a:avLst/>
              <a:gdLst>
                <a:gd name="T0" fmla="*/ 114 w 917"/>
                <a:gd name="T1" fmla="*/ 565 h 582"/>
                <a:gd name="T2" fmla="*/ 114 w 917"/>
                <a:gd name="T3" fmla="*/ 565 h 582"/>
                <a:gd name="T4" fmla="*/ 122 w 917"/>
                <a:gd name="T5" fmla="*/ 474 h 582"/>
                <a:gd name="T6" fmla="*/ 61 w 917"/>
                <a:gd name="T7" fmla="*/ 420 h 582"/>
                <a:gd name="T8" fmla="*/ 15 w 917"/>
                <a:gd name="T9" fmla="*/ 352 h 582"/>
                <a:gd name="T10" fmla="*/ 76 w 917"/>
                <a:gd name="T11" fmla="*/ 329 h 582"/>
                <a:gd name="T12" fmla="*/ 84 w 917"/>
                <a:gd name="T13" fmla="*/ 267 h 582"/>
                <a:gd name="T14" fmla="*/ 30 w 917"/>
                <a:gd name="T15" fmla="*/ 206 h 582"/>
                <a:gd name="T16" fmla="*/ 0 w 917"/>
                <a:gd name="T17" fmla="*/ 84 h 582"/>
                <a:gd name="T18" fmla="*/ 0 w 917"/>
                <a:gd name="T19" fmla="*/ 84 h 582"/>
                <a:gd name="T20" fmla="*/ 38 w 917"/>
                <a:gd name="T21" fmla="*/ 15 h 582"/>
                <a:gd name="T22" fmla="*/ 114 w 917"/>
                <a:gd name="T23" fmla="*/ 31 h 582"/>
                <a:gd name="T24" fmla="*/ 191 w 917"/>
                <a:gd name="T25" fmla="*/ 69 h 582"/>
                <a:gd name="T26" fmla="*/ 290 w 917"/>
                <a:gd name="T27" fmla="*/ 38 h 582"/>
                <a:gd name="T28" fmla="*/ 359 w 917"/>
                <a:gd name="T29" fmla="*/ 23 h 582"/>
                <a:gd name="T30" fmla="*/ 374 w 917"/>
                <a:gd name="T31" fmla="*/ 31 h 582"/>
                <a:gd name="T32" fmla="*/ 397 w 917"/>
                <a:gd name="T33" fmla="*/ 0 h 582"/>
                <a:gd name="T34" fmla="*/ 534 w 917"/>
                <a:gd name="T35" fmla="*/ 61 h 582"/>
                <a:gd name="T36" fmla="*/ 595 w 917"/>
                <a:gd name="T37" fmla="*/ 84 h 582"/>
                <a:gd name="T38" fmla="*/ 687 w 917"/>
                <a:gd name="T39" fmla="*/ 46 h 582"/>
                <a:gd name="T40" fmla="*/ 687 w 917"/>
                <a:gd name="T41" fmla="*/ 107 h 582"/>
                <a:gd name="T42" fmla="*/ 748 w 917"/>
                <a:gd name="T43" fmla="*/ 191 h 582"/>
                <a:gd name="T44" fmla="*/ 825 w 917"/>
                <a:gd name="T45" fmla="*/ 176 h 582"/>
                <a:gd name="T46" fmla="*/ 848 w 917"/>
                <a:gd name="T47" fmla="*/ 222 h 582"/>
                <a:gd name="T48" fmla="*/ 848 w 917"/>
                <a:gd name="T49" fmla="*/ 222 h 582"/>
                <a:gd name="T50" fmla="*/ 825 w 917"/>
                <a:gd name="T51" fmla="*/ 275 h 582"/>
                <a:gd name="T52" fmla="*/ 863 w 917"/>
                <a:gd name="T53" fmla="*/ 290 h 582"/>
                <a:gd name="T54" fmla="*/ 901 w 917"/>
                <a:gd name="T55" fmla="*/ 359 h 582"/>
                <a:gd name="T56" fmla="*/ 901 w 917"/>
                <a:gd name="T57" fmla="*/ 359 h 582"/>
                <a:gd name="T58" fmla="*/ 886 w 917"/>
                <a:gd name="T59" fmla="*/ 413 h 582"/>
                <a:gd name="T60" fmla="*/ 909 w 917"/>
                <a:gd name="T61" fmla="*/ 459 h 582"/>
                <a:gd name="T62" fmla="*/ 901 w 917"/>
                <a:gd name="T63" fmla="*/ 504 h 582"/>
                <a:gd name="T64" fmla="*/ 901 w 917"/>
                <a:gd name="T65" fmla="*/ 504 h 582"/>
                <a:gd name="T66" fmla="*/ 832 w 917"/>
                <a:gd name="T67" fmla="*/ 512 h 582"/>
                <a:gd name="T68" fmla="*/ 756 w 917"/>
                <a:gd name="T69" fmla="*/ 451 h 582"/>
                <a:gd name="T70" fmla="*/ 718 w 917"/>
                <a:gd name="T71" fmla="*/ 466 h 582"/>
                <a:gd name="T72" fmla="*/ 710 w 917"/>
                <a:gd name="T73" fmla="*/ 504 h 582"/>
                <a:gd name="T74" fmla="*/ 626 w 917"/>
                <a:gd name="T75" fmla="*/ 489 h 582"/>
                <a:gd name="T76" fmla="*/ 267 w 917"/>
                <a:gd name="T77" fmla="*/ 466 h 582"/>
                <a:gd name="T78" fmla="*/ 214 w 917"/>
                <a:gd name="T79" fmla="*/ 520 h 582"/>
                <a:gd name="T80" fmla="*/ 229 w 917"/>
                <a:gd name="T81" fmla="*/ 565 h 582"/>
                <a:gd name="T82" fmla="*/ 114 w 917"/>
                <a:gd name="T83" fmla="*/ 565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7" h="582">
                  <a:moveTo>
                    <a:pt x="114" y="565"/>
                  </a:moveTo>
                  <a:lnTo>
                    <a:pt x="114" y="565"/>
                  </a:lnTo>
                  <a:cubicBezTo>
                    <a:pt x="122" y="535"/>
                    <a:pt x="137" y="504"/>
                    <a:pt x="122" y="474"/>
                  </a:cubicBezTo>
                  <a:cubicBezTo>
                    <a:pt x="114" y="451"/>
                    <a:pt x="76" y="443"/>
                    <a:pt x="61" y="420"/>
                  </a:cubicBezTo>
                  <a:cubicBezTo>
                    <a:pt x="46" y="398"/>
                    <a:pt x="15" y="375"/>
                    <a:pt x="15" y="352"/>
                  </a:cubicBezTo>
                  <a:cubicBezTo>
                    <a:pt x="23" y="329"/>
                    <a:pt x="69" y="344"/>
                    <a:pt x="76" y="329"/>
                  </a:cubicBezTo>
                  <a:cubicBezTo>
                    <a:pt x="91" y="313"/>
                    <a:pt x="91" y="290"/>
                    <a:pt x="84" y="267"/>
                  </a:cubicBezTo>
                  <a:cubicBezTo>
                    <a:pt x="69" y="245"/>
                    <a:pt x="38" y="229"/>
                    <a:pt x="30" y="206"/>
                  </a:cubicBezTo>
                  <a:cubicBezTo>
                    <a:pt x="15" y="168"/>
                    <a:pt x="7" y="123"/>
                    <a:pt x="0" y="84"/>
                  </a:cubicBezTo>
                  <a:lnTo>
                    <a:pt x="0" y="84"/>
                  </a:lnTo>
                  <a:cubicBezTo>
                    <a:pt x="15" y="61"/>
                    <a:pt x="15" y="23"/>
                    <a:pt x="38" y="15"/>
                  </a:cubicBezTo>
                  <a:cubicBezTo>
                    <a:pt x="69" y="8"/>
                    <a:pt x="91" y="23"/>
                    <a:pt x="114" y="31"/>
                  </a:cubicBezTo>
                  <a:cubicBezTo>
                    <a:pt x="145" y="38"/>
                    <a:pt x="160" y="69"/>
                    <a:pt x="191" y="69"/>
                  </a:cubicBezTo>
                  <a:cubicBezTo>
                    <a:pt x="221" y="69"/>
                    <a:pt x="259" y="54"/>
                    <a:pt x="290" y="38"/>
                  </a:cubicBezTo>
                  <a:cubicBezTo>
                    <a:pt x="313" y="38"/>
                    <a:pt x="336" y="23"/>
                    <a:pt x="359" y="23"/>
                  </a:cubicBezTo>
                  <a:cubicBezTo>
                    <a:pt x="359" y="23"/>
                    <a:pt x="366" y="31"/>
                    <a:pt x="374" y="31"/>
                  </a:cubicBezTo>
                  <a:cubicBezTo>
                    <a:pt x="382" y="23"/>
                    <a:pt x="382" y="0"/>
                    <a:pt x="397" y="0"/>
                  </a:cubicBezTo>
                  <a:cubicBezTo>
                    <a:pt x="443" y="8"/>
                    <a:pt x="489" y="38"/>
                    <a:pt x="534" y="61"/>
                  </a:cubicBezTo>
                  <a:cubicBezTo>
                    <a:pt x="550" y="69"/>
                    <a:pt x="573" y="84"/>
                    <a:pt x="595" y="84"/>
                  </a:cubicBezTo>
                  <a:cubicBezTo>
                    <a:pt x="626" y="77"/>
                    <a:pt x="657" y="38"/>
                    <a:pt x="687" y="46"/>
                  </a:cubicBezTo>
                  <a:cubicBezTo>
                    <a:pt x="710" y="54"/>
                    <a:pt x="680" y="92"/>
                    <a:pt x="687" y="107"/>
                  </a:cubicBezTo>
                  <a:cubicBezTo>
                    <a:pt x="695" y="138"/>
                    <a:pt x="718" y="176"/>
                    <a:pt x="748" y="191"/>
                  </a:cubicBezTo>
                  <a:cubicBezTo>
                    <a:pt x="771" y="199"/>
                    <a:pt x="802" y="168"/>
                    <a:pt x="825" y="176"/>
                  </a:cubicBezTo>
                  <a:cubicBezTo>
                    <a:pt x="840" y="184"/>
                    <a:pt x="840" y="206"/>
                    <a:pt x="848" y="222"/>
                  </a:cubicBezTo>
                  <a:lnTo>
                    <a:pt x="848" y="222"/>
                  </a:lnTo>
                  <a:cubicBezTo>
                    <a:pt x="840" y="237"/>
                    <a:pt x="825" y="252"/>
                    <a:pt x="825" y="275"/>
                  </a:cubicBezTo>
                  <a:cubicBezTo>
                    <a:pt x="825" y="290"/>
                    <a:pt x="855" y="283"/>
                    <a:pt x="863" y="290"/>
                  </a:cubicBezTo>
                  <a:cubicBezTo>
                    <a:pt x="878" y="313"/>
                    <a:pt x="886" y="336"/>
                    <a:pt x="901" y="359"/>
                  </a:cubicBezTo>
                  <a:lnTo>
                    <a:pt x="901" y="359"/>
                  </a:lnTo>
                  <a:cubicBezTo>
                    <a:pt x="893" y="375"/>
                    <a:pt x="878" y="390"/>
                    <a:pt x="886" y="413"/>
                  </a:cubicBezTo>
                  <a:cubicBezTo>
                    <a:pt x="886" y="428"/>
                    <a:pt x="909" y="436"/>
                    <a:pt x="909" y="459"/>
                  </a:cubicBezTo>
                  <a:cubicBezTo>
                    <a:pt x="916" y="474"/>
                    <a:pt x="909" y="489"/>
                    <a:pt x="901" y="504"/>
                  </a:cubicBezTo>
                  <a:lnTo>
                    <a:pt x="901" y="504"/>
                  </a:lnTo>
                  <a:cubicBezTo>
                    <a:pt x="878" y="504"/>
                    <a:pt x="855" y="520"/>
                    <a:pt x="832" y="512"/>
                  </a:cubicBezTo>
                  <a:cubicBezTo>
                    <a:pt x="802" y="504"/>
                    <a:pt x="787" y="459"/>
                    <a:pt x="756" y="451"/>
                  </a:cubicBezTo>
                  <a:cubicBezTo>
                    <a:pt x="748" y="443"/>
                    <a:pt x="733" y="451"/>
                    <a:pt x="718" y="466"/>
                  </a:cubicBezTo>
                  <a:cubicBezTo>
                    <a:pt x="710" y="474"/>
                    <a:pt x="718" y="504"/>
                    <a:pt x="710" y="504"/>
                  </a:cubicBezTo>
                  <a:cubicBezTo>
                    <a:pt x="680" y="512"/>
                    <a:pt x="657" y="497"/>
                    <a:pt x="626" y="489"/>
                  </a:cubicBezTo>
                  <a:cubicBezTo>
                    <a:pt x="504" y="481"/>
                    <a:pt x="389" y="459"/>
                    <a:pt x="267" y="466"/>
                  </a:cubicBezTo>
                  <a:cubicBezTo>
                    <a:pt x="244" y="466"/>
                    <a:pt x="221" y="497"/>
                    <a:pt x="214" y="520"/>
                  </a:cubicBezTo>
                  <a:cubicBezTo>
                    <a:pt x="214" y="535"/>
                    <a:pt x="244" y="558"/>
                    <a:pt x="229" y="565"/>
                  </a:cubicBezTo>
                  <a:cubicBezTo>
                    <a:pt x="198" y="581"/>
                    <a:pt x="153" y="565"/>
                    <a:pt x="114" y="5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" name="Freeform 97"/>
            <p:cNvSpPr>
              <a:spLocks noChangeArrowheads="1"/>
            </p:cNvSpPr>
            <p:nvPr/>
          </p:nvSpPr>
          <p:spPr bwMode="auto">
            <a:xfrm>
              <a:off x="7387744" y="8993188"/>
              <a:ext cx="66671" cy="80962"/>
            </a:xfrm>
            <a:custGeom>
              <a:avLst/>
              <a:gdLst>
                <a:gd name="T0" fmla="*/ 23 w 184"/>
                <a:gd name="T1" fmla="*/ 54 h 223"/>
                <a:gd name="T2" fmla="*/ 23 w 184"/>
                <a:gd name="T3" fmla="*/ 54 h 223"/>
                <a:gd name="T4" fmla="*/ 68 w 184"/>
                <a:gd name="T5" fmla="*/ 69 h 223"/>
                <a:gd name="T6" fmla="*/ 84 w 184"/>
                <a:gd name="T7" fmla="*/ 31 h 223"/>
                <a:gd name="T8" fmla="*/ 145 w 184"/>
                <a:gd name="T9" fmla="*/ 8 h 223"/>
                <a:gd name="T10" fmla="*/ 153 w 184"/>
                <a:gd name="T11" fmla="*/ 46 h 223"/>
                <a:gd name="T12" fmla="*/ 183 w 184"/>
                <a:gd name="T13" fmla="*/ 92 h 223"/>
                <a:gd name="T14" fmla="*/ 183 w 184"/>
                <a:gd name="T15" fmla="*/ 92 h 223"/>
                <a:gd name="T16" fmla="*/ 153 w 184"/>
                <a:gd name="T17" fmla="*/ 130 h 223"/>
                <a:gd name="T18" fmla="*/ 168 w 184"/>
                <a:gd name="T19" fmla="*/ 161 h 223"/>
                <a:gd name="T20" fmla="*/ 122 w 184"/>
                <a:gd name="T21" fmla="*/ 214 h 223"/>
                <a:gd name="T22" fmla="*/ 76 w 184"/>
                <a:gd name="T23" fmla="*/ 191 h 223"/>
                <a:gd name="T24" fmla="*/ 76 w 184"/>
                <a:gd name="T25" fmla="*/ 191 h 223"/>
                <a:gd name="T26" fmla="*/ 38 w 184"/>
                <a:gd name="T27" fmla="*/ 122 h 223"/>
                <a:gd name="T28" fmla="*/ 0 w 184"/>
                <a:gd name="T29" fmla="*/ 107 h 223"/>
                <a:gd name="T30" fmla="*/ 23 w 184"/>
                <a:gd name="T31" fmla="*/ 5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23">
                  <a:moveTo>
                    <a:pt x="23" y="54"/>
                  </a:moveTo>
                  <a:lnTo>
                    <a:pt x="23" y="54"/>
                  </a:lnTo>
                  <a:cubicBezTo>
                    <a:pt x="38" y="61"/>
                    <a:pt x="53" y="77"/>
                    <a:pt x="68" y="69"/>
                  </a:cubicBezTo>
                  <a:cubicBezTo>
                    <a:pt x="84" y="61"/>
                    <a:pt x="68" y="38"/>
                    <a:pt x="84" y="31"/>
                  </a:cubicBezTo>
                  <a:cubicBezTo>
                    <a:pt x="99" y="16"/>
                    <a:pt x="122" y="0"/>
                    <a:pt x="145" y="8"/>
                  </a:cubicBezTo>
                  <a:cubicBezTo>
                    <a:pt x="160" y="8"/>
                    <a:pt x="145" y="38"/>
                    <a:pt x="153" y="46"/>
                  </a:cubicBezTo>
                  <a:cubicBezTo>
                    <a:pt x="160" y="69"/>
                    <a:pt x="168" y="77"/>
                    <a:pt x="183" y="92"/>
                  </a:cubicBezTo>
                  <a:lnTo>
                    <a:pt x="183" y="92"/>
                  </a:lnTo>
                  <a:cubicBezTo>
                    <a:pt x="168" y="107"/>
                    <a:pt x="160" y="115"/>
                    <a:pt x="153" y="130"/>
                  </a:cubicBezTo>
                  <a:cubicBezTo>
                    <a:pt x="153" y="138"/>
                    <a:pt x="168" y="153"/>
                    <a:pt x="168" y="161"/>
                  </a:cubicBezTo>
                  <a:cubicBezTo>
                    <a:pt x="153" y="184"/>
                    <a:pt x="145" y="207"/>
                    <a:pt x="122" y="214"/>
                  </a:cubicBezTo>
                  <a:cubicBezTo>
                    <a:pt x="107" y="222"/>
                    <a:pt x="91" y="199"/>
                    <a:pt x="76" y="191"/>
                  </a:cubicBezTo>
                  <a:lnTo>
                    <a:pt x="76" y="191"/>
                  </a:lnTo>
                  <a:cubicBezTo>
                    <a:pt x="61" y="168"/>
                    <a:pt x="53" y="145"/>
                    <a:pt x="38" y="122"/>
                  </a:cubicBezTo>
                  <a:cubicBezTo>
                    <a:pt x="30" y="115"/>
                    <a:pt x="0" y="122"/>
                    <a:pt x="0" y="107"/>
                  </a:cubicBezTo>
                  <a:cubicBezTo>
                    <a:pt x="0" y="84"/>
                    <a:pt x="15" y="69"/>
                    <a:pt x="23" y="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" name="Freeform 98"/>
            <p:cNvSpPr>
              <a:spLocks noChangeArrowheads="1"/>
            </p:cNvSpPr>
            <p:nvPr/>
          </p:nvSpPr>
          <p:spPr bwMode="auto">
            <a:xfrm>
              <a:off x="7406793" y="8932863"/>
              <a:ext cx="123817" cy="190500"/>
            </a:xfrm>
            <a:custGeom>
              <a:avLst/>
              <a:gdLst>
                <a:gd name="T0" fmla="*/ 176 w 345"/>
                <a:gd name="T1" fmla="*/ 46 h 528"/>
                <a:gd name="T2" fmla="*/ 176 w 345"/>
                <a:gd name="T3" fmla="*/ 46 h 528"/>
                <a:gd name="T4" fmla="*/ 222 w 345"/>
                <a:gd name="T5" fmla="*/ 0 h 528"/>
                <a:gd name="T6" fmla="*/ 267 w 345"/>
                <a:gd name="T7" fmla="*/ 54 h 528"/>
                <a:gd name="T8" fmla="*/ 267 w 345"/>
                <a:gd name="T9" fmla="*/ 54 h 528"/>
                <a:gd name="T10" fmla="*/ 260 w 345"/>
                <a:gd name="T11" fmla="*/ 107 h 528"/>
                <a:gd name="T12" fmla="*/ 306 w 345"/>
                <a:gd name="T13" fmla="*/ 145 h 528"/>
                <a:gd name="T14" fmla="*/ 290 w 345"/>
                <a:gd name="T15" fmla="*/ 260 h 528"/>
                <a:gd name="T16" fmla="*/ 283 w 345"/>
                <a:gd name="T17" fmla="*/ 260 h 528"/>
                <a:gd name="T18" fmla="*/ 329 w 345"/>
                <a:gd name="T19" fmla="*/ 306 h 528"/>
                <a:gd name="T20" fmla="*/ 329 w 345"/>
                <a:gd name="T21" fmla="*/ 306 h 528"/>
                <a:gd name="T22" fmla="*/ 336 w 345"/>
                <a:gd name="T23" fmla="*/ 367 h 528"/>
                <a:gd name="T24" fmla="*/ 336 w 345"/>
                <a:gd name="T25" fmla="*/ 481 h 528"/>
                <a:gd name="T26" fmla="*/ 306 w 345"/>
                <a:gd name="T27" fmla="*/ 481 h 528"/>
                <a:gd name="T28" fmla="*/ 283 w 345"/>
                <a:gd name="T29" fmla="*/ 527 h 528"/>
                <a:gd name="T30" fmla="*/ 283 w 345"/>
                <a:gd name="T31" fmla="*/ 527 h 528"/>
                <a:gd name="T32" fmla="*/ 115 w 345"/>
                <a:gd name="T33" fmla="*/ 489 h 528"/>
                <a:gd name="T34" fmla="*/ 84 w 345"/>
                <a:gd name="T35" fmla="*/ 504 h 528"/>
                <a:gd name="T36" fmla="*/ 23 w 345"/>
                <a:gd name="T37" fmla="*/ 504 h 528"/>
                <a:gd name="T38" fmla="*/ 23 w 345"/>
                <a:gd name="T39" fmla="*/ 504 h 528"/>
                <a:gd name="T40" fmla="*/ 31 w 345"/>
                <a:gd name="T41" fmla="*/ 459 h 528"/>
                <a:gd name="T42" fmla="*/ 8 w 345"/>
                <a:gd name="T43" fmla="*/ 413 h 528"/>
                <a:gd name="T44" fmla="*/ 23 w 345"/>
                <a:gd name="T45" fmla="*/ 359 h 528"/>
                <a:gd name="T46" fmla="*/ 23 w 345"/>
                <a:gd name="T47" fmla="*/ 359 h 528"/>
                <a:gd name="T48" fmla="*/ 69 w 345"/>
                <a:gd name="T49" fmla="*/ 382 h 528"/>
                <a:gd name="T50" fmla="*/ 115 w 345"/>
                <a:gd name="T51" fmla="*/ 329 h 528"/>
                <a:gd name="T52" fmla="*/ 100 w 345"/>
                <a:gd name="T53" fmla="*/ 298 h 528"/>
                <a:gd name="T54" fmla="*/ 130 w 345"/>
                <a:gd name="T55" fmla="*/ 260 h 528"/>
                <a:gd name="T56" fmla="*/ 130 w 345"/>
                <a:gd name="T57" fmla="*/ 260 h 528"/>
                <a:gd name="T58" fmla="*/ 168 w 345"/>
                <a:gd name="T59" fmla="*/ 199 h 528"/>
                <a:gd name="T60" fmla="*/ 214 w 345"/>
                <a:gd name="T61" fmla="*/ 153 h 528"/>
                <a:gd name="T62" fmla="*/ 176 w 345"/>
                <a:gd name="T63" fmla="*/ 46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5" h="528">
                  <a:moveTo>
                    <a:pt x="176" y="46"/>
                  </a:moveTo>
                  <a:lnTo>
                    <a:pt x="176" y="46"/>
                  </a:lnTo>
                  <a:cubicBezTo>
                    <a:pt x="191" y="31"/>
                    <a:pt x="199" y="0"/>
                    <a:pt x="222" y="0"/>
                  </a:cubicBezTo>
                  <a:cubicBezTo>
                    <a:pt x="245" y="0"/>
                    <a:pt x="252" y="38"/>
                    <a:pt x="267" y="54"/>
                  </a:cubicBezTo>
                  <a:lnTo>
                    <a:pt x="267" y="54"/>
                  </a:lnTo>
                  <a:cubicBezTo>
                    <a:pt x="267" y="69"/>
                    <a:pt x="260" y="84"/>
                    <a:pt x="260" y="107"/>
                  </a:cubicBezTo>
                  <a:cubicBezTo>
                    <a:pt x="267" y="123"/>
                    <a:pt x="298" y="123"/>
                    <a:pt x="306" y="145"/>
                  </a:cubicBezTo>
                  <a:cubicBezTo>
                    <a:pt x="313" y="184"/>
                    <a:pt x="290" y="222"/>
                    <a:pt x="290" y="260"/>
                  </a:cubicBezTo>
                  <a:cubicBezTo>
                    <a:pt x="283" y="260"/>
                    <a:pt x="283" y="260"/>
                    <a:pt x="283" y="260"/>
                  </a:cubicBezTo>
                  <a:cubicBezTo>
                    <a:pt x="329" y="306"/>
                    <a:pt x="329" y="306"/>
                    <a:pt x="329" y="306"/>
                  </a:cubicBezTo>
                  <a:lnTo>
                    <a:pt x="329" y="306"/>
                  </a:lnTo>
                  <a:cubicBezTo>
                    <a:pt x="329" y="329"/>
                    <a:pt x="336" y="344"/>
                    <a:pt x="336" y="367"/>
                  </a:cubicBezTo>
                  <a:cubicBezTo>
                    <a:pt x="336" y="405"/>
                    <a:pt x="344" y="443"/>
                    <a:pt x="336" y="481"/>
                  </a:cubicBezTo>
                  <a:cubicBezTo>
                    <a:pt x="336" y="489"/>
                    <a:pt x="313" y="474"/>
                    <a:pt x="306" y="481"/>
                  </a:cubicBezTo>
                  <a:cubicBezTo>
                    <a:pt x="290" y="489"/>
                    <a:pt x="290" y="512"/>
                    <a:pt x="283" y="527"/>
                  </a:cubicBezTo>
                  <a:lnTo>
                    <a:pt x="283" y="527"/>
                  </a:lnTo>
                  <a:cubicBezTo>
                    <a:pt x="222" y="512"/>
                    <a:pt x="168" y="497"/>
                    <a:pt x="115" y="489"/>
                  </a:cubicBezTo>
                  <a:cubicBezTo>
                    <a:pt x="100" y="489"/>
                    <a:pt x="92" y="504"/>
                    <a:pt x="84" y="504"/>
                  </a:cubicBezTo>
                  <a:cubicBezTo>
                    <a:pt x="61" y="504"/>
                    <a:pt x="46" y="504"/>
                    <a:pt x="23" y="504"/>
                  </a:cubicBezTo>
                  <a:lnTo>
                    <a:pt x="23" y="504"/>
                  </a:lnTo>
                  <a:cubicBezTo>
                    <a:pt x="31" y="489"/>
                    <a:pt x="38" y="474"/>
                    <a:pt x="31" y="459"/>
                  </a:cubicBezTo>
                  <a:cubicBezTo>
                    <a:pt x="31" y="436"/>
                    <a:pt x="8" y="428"/>
                    <a:pt x="8" y="413"/>
                  </a:cubicBezTo>
                  <a:cubicBezTo>
                    <a:pt x="0" y="390"/>
                    <a:pt x="15" y="375"/>
                    <a:pt x="23" y="359"/>
                  </a:cubicBezTo>
                  <a:lnTo>
                    <a:pt x="23" y="359"/>
                  </a:lnTo>
                  <a:cubicBezTo>
                    <a:pt x="38" y="367"/>
                    <a:pt x="54" y="390"/>
                    <a:pt x="69" y="382"/>
                  </a:cubicBezTo>
                  <a:cubicBezTo>
                    <a:pt x="92" y="375"/>
                    <a:pt x="100" y="352"/>
                    <a:pt x="115" y="329"/>
                  </a:cubicBezTo>
                  <a:cubicBezTo>
                    <a:pt x="115" y="321"/>
                    <a:pt x="100" y="306"/>
                    <a:pt x="100" y="298"/>
                  </a:cubicBezTo>
                  <a:cubicBezTo>
                    <a:pt x="107" y="283"/>
                    <a:pt x="115" y="275"/>
                    <a:pt x="130" y="260"/>
                  </a:cubicBezTo>
                  <a:lnTo>
                    <a:pt x="130" y="260"/>
                  </a:lnTo>
                  <a:cubicBezTo>
                    <a:pt x="145" y="237"/>
                    <a:pt x="153" y="222"/>
                    <a:pt x="168" y="199"/>
                  </a:cubicBezTo>
                  <a:cubicBezTo>
                    <a:pt x="184" y="184"/>
                    <a:pt x="214" y="168"/>
                    <a:pt x="214" y="153"/>
                  </a:cubicBezTo>
                  <a:cubicBezTo>
                    <a:pt x="214" y="115"/>
                    <a:pt x="191" y="84"/>
                    <a:pt x="176" y="4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" name="Freeform 99"/>
            <p:cNvSpPr>
              <a:spLocks noChangeArrowheads="1"/>
            </p:cNvSpPr>
            <p:nvPr/>
          </p:nvSpPr>
          <p:spPr bwMode="auto">
            <a:xfrm>
              <a:off x="7500449" y="8921751"/>
              <a:ext cx="184138" cy="182563"/>
            </a:xfrm>
            <a:custGeom>
              <a:avLst/>
              <a:gdLst>
                <a:gd name="T0" fmla="*/ 321 w 513"/>
                <a:gd name="T1" fmla="*/ 191 h 505"/>
                <a:gd name="T2" fmla="*/ 321 w 513"/>
                <a:gd name="T3" fmla="*/ 191 h 505"/>
                <a:gd name="T4" fmla="*/ 305 w 513"/>
                <a:gd name="T5" fmla="*/ 221 h 505"/>
                <a:gd name="T6" fmla="*/ 221 w 513"/>
                <a:gd name="T7" fmla="*/ 160 h 505"/>
                <a:gd name="T8" fmla="*/ 244 w 513"/>
                <a:gd name="T9" fmla="*/ 30 h 505"/>
                <a:gd name="T10" fmla="*/ 199 w 513"/>
                <a:gd name="T11" fmla="*/ 0 h 505"/>
                <a:gd name="T12" fmla="*/ 122 w 513"/>
                <a:gd name="T13" fmla="*/ 30 h 505"/>
                <a:gd name="T14" fmla="*/ 76 w 513"/>
                <a:gd name="T15" fmla="*/ 53 h 505"/>
                <a:gd name="T16" fmla="*/ 7 w 513"/>
                <a:gd name="T17" fmla="*/ 84 h 505"/>
                <a:gd name="T18" fmla="*/ 7 w 513"/>
                <a:gd name="T19" fmla="*/ 84 h 505"/>
                <a:gd name="T20" fmla="*/ 0 w 513"/>
                <a:gd name="T21" fmla="*/ 137 h 505"/>
                <a:gd name="T22" fmla="*/ 46 w 513"/>
                <a:gd name="T23" fmla="*/ 175 h 505"/>
                <a:gd name="T24" fmla="*/ 30 w 513"/>
                <a:gd name="T25" fmla="*/ 290 h 505"/>
                <a:gd name="T26" fmla="*/ 23 w 513"/>
                <a:gd name="T27" fmla="*/ 290 h 505"/>
                <a:gd name="T28" fmla="*/ 69 w 513"/>
                <a:gd name="T29" fmla="*/ 336 h 505"/>
                <a:gd name="T30" fmla="*/ 69 w 513"/>
                <a:gd name="T31" fmla="*/ 336 h 505"/>
                <a:gd name="T32" fmla="*/ 122 w 513"/>
                <a:gd name="T33" fmla="*/ 267 h 505"/>
                <a:gd name="T34" fmla="*/ 183 w 513"/>
                <a:gd name="T35" fmla="*/ 297 h 505"/>
                <a:gd name="T36" fmla="*/ 244 w 513"/>
                <a:gd name="T37" fmla="*/ 290 h 505"/>
                <a:gd name="T38" fmla="*/ 290 w 513"/>
                <a:gd name="T39" fmla="*/ 290 h 505"/>
                <a:gd name="T40" fmla="*/ 290 w 513"/>
                <a:gd name="T41" fmla="*/ 328 h 505"/>
                <a:gd name="T42" fmla="*/ 328 w 513"/>
                <a:gd name="T43" fmla="*/ 343 h 505"/>
                <a:gd name="T44" fmla="*/ 336 w 513"/>
                <a:gd name="T45" fmla="*/ 397 h 505"/>
                <a:gd name="T46" fmla="*/ 260 w 513"/>
                <a:gd name="T47" fmla="*/ 366 h 505"/>
                <a:gd name="T48" fmla="*/ 244 w 513"/>
                <a:gd name="T49" fmla="*/ 412 h 505"/>
                <a:gd name="T50" fmla="*/ 275 w 513"/>
                <a:gd name="T51" fmla="*/ 481 h 505"/>
                <a:gd name="T52" fmla="*/ 275 w 513"/>
                <a:gd name="T53" fmla="*/ 481 h 505"/>
                <a:gd name="T54" fmla="*/ 359 w 513"/>
                <a:gd name="T55" fmla="*/ 481 h 505"/>
                <a:gd name="T56" fmla="*/ 412 w 513"/>
                <a:gd name="T57" fmla="*/ 328 h 505"/>
                <a:gd name="T58" fmla="*/ 496 w 513"/>
                <a:gd name="T59" fmla="*/ 351 h 505"/>
                <a:gd name="T60" fmla="*/ 474 w 513"/>
                <a:gd name="T61" fmla="*/ 282 h 505"/>
                <a:gd name="T62" fmla="*/ 504 w 513"/>
                <a:gd name="T63" fmla="*/ 267 h 505"/>
                <a:gd name="T64" fmla="*/ 504 w 513"/>
                <a:gd name="T65" fmla="*/ 267 h 505"/>
                <a:gd name="T66" fmla="*/ 458 w 513"/>
                <a:gd name="T67" fmla="*/ 214 h 505"/>
                <a:gd name="T68" fmla="*/ 366 w 513"/>
                <a:gd name="T69" fmla="*/ 191 h 505"/>
                <a:gd name="T70" fmla="*/ 321 w 513"/>
                <a:gd name="T71" fmla="*/ 19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3" h="505">
                  <a:moveTo>
                    <a:pt x="321" y="191"/>
                  </a:moveTo>
                  <a:lnTo>
                    <a:pt x="321" y="191"/>
                  </a:lnTo>
                  <a:cubicBezTo>
                    <a:pt x="313" y="198"/>
                    <a:pt x="313" y="221"/>
                    <a:pt x="305" y="221"/>
                  </a:cubicBezTo>
                  <a:cubicBezTo>
                    <a:pt x="275" y="206"/>
                    <a:pt x="237" y="191"/>
                    <a:pt x="221" y="160"/>
                  </a:cubicBezTo>
                  <a:cubicBezTo>
                    <a:pt x="206" y="122"/>
                    <a:pt x="244" y="76"/>
                    <a:pt x="244" y="30"/>
                  </a:cubicBezTo>
                  <a:cubicBezTo>
                    <a:pt x="237" y="15"/>
                    <a:pt x="221" y="0"/>
                    <a:pt x="199" y="0"/>
                  </a:cubicBezTo>
                  <a:cubicBezTo>
                    <a:pt x="176" y="0"/>
                    <a:pt x="153" y="15"/>
                    <a:pt x="122" y="30"/>
                  </a:cubicBezTo>
                  <a:cubicBezTo>
                    <a:pt x="107" y="30"/>
                    <a:pt x="92" y="45"/>
                    <a:pt x="76" y="53"/>
                  </a:cubicBezTo>
                  <a:cubicBezTo>
                    <a:pt x="53" y="61"/>
                    <a:pt x="30" y="76"/>
                    <a:pt x="7" y="84"/>
                  </a:cubicBezTo>
                  <a:lnTo>
                    <a:pt x="7" y="84"/>
                  </a:lnTo>
                  <a:cubicBezTo>
                    <a:pt x="7" y="99"/>
                    <a:pt x="0" y="114"/>
                    <a:pt x="0" y="137"/>
                  </a:cubicBezTo>
                  <a:cubicBezTo>
                    <a:pt x="7" y="153"/>
                    <a:pt x="38" y="153"/>
                    <a:pt x="46" y="175"/>
                  </a:cubicBezTo>
                  <a:cubicBezTo>
                    <a:pt x="53" y="214"/>
                    <a:pt x="30" y="252"/>
                    <a:pt x="30" y="290"/>
                  </a:cubicBezTo>
                  <a:cubicBezTo>
                    <a:pt x="23" y="290"/>
                    <a:pt x="23" y="290"/>
                    <a:pt x="23" y="290"/>
                  </a:cubicBezTo>
                  <a:cubicBezTo>
                    <a:pt x="69" y="336"/>
                    <a:pt x="69" y="336"/>
                    <a:pt x="69" y="336"/>
                  </a:cubicBezTo>
                  <a:lnTo>
                    <a:pt x="69" y="336"/>
                  </a:lnTo>
                  <a:cubicBezTo>
                    <a:pt x="84" y="313"/>
                    <a:pt x="92" y="275"/>
                    <a:pt x="122" y="267"/>
                  </a:cubicBezTo>
                  <a:cubicBezTo>
                    <a:pt x="145" y="259"/>
                    <a:pt x="160" y="290"/>
                    <a:pt x="183" y="297"/>
                  </a:cubicBezTo>
                  <a:cubicBezTo>
                    <a:pt x="206" y="297"/>
                    <a:pt x="221" y="290"/>
                    <a:pt x="244" y="290"/>
                  </a:cubicBezTo>
                  <a:cubicBezTo>
                    <a:pt x="260" y="290"/>
                    <a:pt x="282" y="282"/>
                    <a:pt x="290" y="290"/>
                  </a:cubicBezTo>
                  <a:cubicBezTo>
                    <a:pt x="298" y="297"/>
                    <a:pt x="282" y="320"/>
                    <a:pt x="290" y="328"/>
                  </a:cubicBezTo>
                  <a:cubicBezTo>
                    <a:pt x="298" y="336"/>
                    <a:pt x="321" y="328"/>
                    <a:pt x="328" y="343"/>
                  </a:cubicBezTo>
                  <a:cubicBezTo>
                    <a:pt x="336" y="359"/>
                    <a:pt x="351" y="389"/>
                    <a:pt x="336" y="397"/>
                  </a:cubicBezTo>
                  <a:cubicBezTo>
                    <a:pt x="305" y="405"/>
                    <a:pt x="282" y="359"/>
                    <a:pt x="260" y="366"/>
                  </a:cubicBezTo>
                  <a:cubicBezTo>
                    <a:pt x="244" y="366"/>
                    <a:pt x="244" y="397"/>
                    <a:pt x="244" y="412"/>
                  </a:cubicBezTo>
                  <a:cubicBezTo>
                    <a:pt x="252" y="435"/>
                    <a:pt x="267" y="458"/>
                    <a:pt x="275" y="481"/>
                  </a:cubicBezTo>
                  <a:lnTo>
                    <a:pt x="275" y="481"/>
                  </a:lnTo>
                  <a:cubicBezTo>
                    <a:pt x="305" y="481"/>
                    <a:pt x="336" y="504"/>
                    <a:pt x="359" y="481"/>
                  </a:cubicBezTo>
                  <a:cubicBezTo>
                    <a:pt x="389" y="443"/>
                    <a:pt x="366" y="366"/>
                    <a:pt x="412" y="328"/>
                  </a:cubicBezTo>
                  <a:cubicBezTo>
                    <a:pt x="435" y="305"/>
                    <a:pt x="474" y="366"/>
                    <a:pt x="496" y="351"/>
                  </a:cubicBezTo>
                  <a:cubicBezTo>
                    <a:pt x="512" y="336"/>
                    <a:pt x="474" y="305"/>
                    <a:pt x="474" y="282"/>
                  </a:cubicBezTo>
                  <a:cubicBezTo>
                    <a:pt x="481" y="275"/>
                    <a:pt x="496" y="267"/>
                    <a:pt x="504" y="267"/>
                  </a:cubicBezTo>
                  <a:lnTo>
                    <a:pt x="504" y="267"/>
                  </a:lnTo>
                  <a:cubicBezTo>
                    <a:pt x="489" y="244"/>
                    <a:pt x="481" y="229"/>
                    <a:pt x="458" y="214"/>
                  </a:cubicBezTo>
                  <a:cubicBezTo>
                    <a:pt x="435" y="198"/>
                    <a:pt x="397" y="198"/>
                    <a:pt x="366" y="191"/>
                  </a:cubicBezTo>
                  <a:cubicBezTo>
                    <a:pt x="351" y="191"/>
                    <a:pt x="336" y="191"/>
                    <a:pt x="321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" name="Freeform 100"/>
            <p:cNvSpPr>
              <a:spLocks noChangeArrowheads="1"/>
            </p:cNvSpPr>
            <p:nvPr/>
          </p:nvSpPr>
          <p:spPr bwMode="auto">
            <a:xfrm>
              <a:off x="7605218" y="8956676"/>
              <a:ext cx="93656" cy="60325"/>
            </a:xfrm>
            <a:custGeom>
              <a:avLst/>
              <a:gdLst>
                <a:gd name="T0" fmla="*/ 214 w 261"/>
                <a:gd name="T1" fmla="*/ 168 h 169"/>
                <a:gd name="T2" fmla="*/ 214 w 261"/>
                <a:gd name="T3" fmla="*/ 168 h 169"/>
                <a:gd name="T4" fmla="*/ 168 w 261"/>
                <a:gd name="T5" fmla="*/ 115 h 169"/>
                <a:gd name="T6" fmla="*/ 76 w 261"/>
                <a:gd name="T7" fmla="*/ 92 h 169"/>
                <a:gd name="T8" fmla="*/ 31 w 261"/>
                <a:gd name="T9" fmla="*/ 92 h 169"/>
                <a:gd name="T10" fmla="*/ 31 w 261"/>
                <a:gd name="T11" fmla="*/ 92 h 169"/>
                <a:gd name="T12" fmla="*/ 8 w 261"/>
                <a:gd name="T13" fmla="*/ 31 h 169"/>
                <a:gd name="T14" fmla="*/ 38 w 261"/>
                <a:gd name="T15" fmla="*/ 0 h 169"/>
                <a:gd name="T16" fmla="*/ 107 w 261"/>
                <a:gd name="T17" fmla="*/ 23 h 169"/>
                <a:gd name="T18" fmla="*/ 138 w 261"/>
                <a:gd name="T19" fmla="*/ 15 h 169"/>
                <a:gd name="T20" fmla="*/ 199 w 261"/>
                <a:gd name="T21" fmla="*/ 61 h 169"/>
                <a:gd name="T22" fmla="*/ 206 w 261"/>
                <a:gd name="T23" fmla="*/ 99 h 169"/>
                <a:gd name="T24" fmla="*/ 260 w 261"/>
                <a:gd name="T25" fmla="*/ 107 h 169"/>
                <a:gd name="T26" fmla="*/ 260 w 261"/>
                <a:gd name="T27" fmla="*/ 107 h 169"/>
                <a:gd name="T28" fmla="*/ 245 w 261"/>
                <a:gd name="T29" fmla="*/ 168 h 169"/>
                <a:gd name="T30" fmla="*/ 245 w 261"/>
                <a:gd name="T31" fmla="*/ 168 h 169"/>
                <a:gd name="T32" fmla="*/ 214 w 261"/>
                <a:gd name="T33" fmla="*/ 16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1" h="169">
                  <a:moveTo>
                    <a:pt x="214" y="168"/>
                  </a:moveTo>
                  <a:lnTo>
                    <a:pt x="214" y="168"/>
                  </a:lnTo>
                  <a:cubicBezTo>
                    <a:pt x="199" y="145"/>
                    <a:pt x="191" y="130"/>
                    <a:pt x="168" y="115"/>
                  </a:cubicBezTo>
                  <a:cubicBezTo>
                    <a:pt x="145" y="99"/>
                    <a:pt x="107" y="99"/>
                    <a:pt x="76" y="92"/>
                  </a:cubicBezTo>
                  <a:cubicBezTo>
                    <a:pt x="61" y="92"/>
                    <a:pt x="46" y="92"/>
                    <a:pt x="31" y="92"/>
                  </a:cubicBezTo>
                  <a:lnTo>
                    <a:pt x="31" y="92"/>
                  </a:lnTo>
                  <a:cubicBezTo>
                    <a:pt x="23" y="76"/>
                    <a:pt x="0" y="54"/>
                    <a:pt x="8" y="31"/>
                  </a:cubicBezTo>
                  <a:cubicBezTo>
                    <a:pt x="8" y="15"/>
                    <a:pt x="23" y="0"/>
                    <a:pt x="38" y="0"/>
                  </a:cubicBezTo>
                  <a:cubicBezTo>
                    <a:pt x="61" y="0"/>
                    <a:pt x="84" y="23"/>
                    <a:pt x="107" y="23"/>
                  </a:cubicBezTo>
                  <a:cubicBezTo>
                    <a:pt x="115" y="23"/>
                    <a:pt x="130" y="15"/>
                    <a:pt x="138" y="15"/>
                  </a:cubicBezTo>
                  <a:cubicBezTo>
                    <a:pt x="161" y="23"/>
                    <a:pt x="184" y="38"/>
                    <a:pt x="199" y="61"/>
                  </a:cubicBezTo>
                  <a:cubicBezTo>
                    <a:pt x="206" y="69"/>
                    <a:pt x="191" y="92"/>
                    <a:pt x="206" y="99"/>
                  </a:cubicBezTo>
                  <a:cubicBezTo>
                    <a:pt x="222" y="115"/>
                    <a:pt x="237" y="107"/>
                    <a:pt x="260" y="107"/>
                  </a:cubicBezTo>
                  <a:lnTo>
                    <a:pt x="260" y="107"/>
                  </a:lnTo>
                  <a:cubicBezTo>
                    <a:pt x="245" y="168"/>
                    <a:pt x="245" y="168"/>
                    <a:pt x="245" y="168"/>
                  </a:cubicBezTo>
                  <a:lnTo>
                    <a:pt x="245" y="168"/>
                  </a:lnTo>
                  <a:cubicBezTo>
                    <a:pt x="214" y="168"/>
                    <a:pt x="214" y="168"/>
                    <a:pt x="214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" name="Freeform 101"/>
            <p:cNvSpPr>
              <a:spLocks noChangeArrowheads="1"/>
            </p:cNvSpPr>
            <p:nvPr/>
          </p:nvSpPr>
          <p:spPr bwMode="auto">
            <a:xfrm>
              <a:off x="7508387" y="9015413"/>
              <a:ext cx="119055" cy="127000"/>
            </a:xfrm>
            <a:custGeom>
              <a:avLst/>
              <a:gdLst>
                <a:gd name="T0" fmla="*/ 46 w 329"/>
                <a:gd name="T1" fmla="*/ 77 h 353"/>
                <a:gd name="T2" fmla="*/ 46 w 329"/>
                <a:gd name="T3" fmla="*/ 77 h 353"/>
                <a:gd name="T4" fmla="*/ 99 w 329"/>
                <a:gd name="T5" fmla="*/ 8 h 353"/>
                <a:gd name="T6" fmla="*/ 160 w 329"/>
                <a:gd name="T7" fmla="*/ 38 h 353"/>
                <a:gd name="T8" fmla="*/ 221 w 329"/>
                <a:gd name="T9" fmla="*/ 31 h 353"/>
                <a:gd name="T10" fmla="*/ 267 w 329"/>
                <a:gd name="T11" fmla="*/ 31 h 353"/>
                <a:gd name="T12" fmla="*/ 267 w 329"/>
                <a:gd name="T13" fmla="*/ 69 h 353"/>
                <a:gd name="T14" fmla="*/ 305 w 329"/>
                <a:gd name="T15" fmla="*/ 84 h 353"/>
                <a:gd name="T16" fmla="*/ 313 w 329"/>
                <a:gd name="T17" fmla="*/ 138 h 353"/>
                <a:gd name="T18" fmla="*/ 237 w 329"/>
                <a:gd name="T19" fmla="*/ 107 h 353"/>
                <a:gd name="T20" fmla="*/ 221 w 329"/>
                <a:gd name="T21" fmla="*/ 153 h 353"/>
                <a:gd name="T22" fmla="*/ 252 w 329"/>
                <a:gd name="T23" fmla="*/ 222 h 353"/>
                <a:gd name="T24" fmla="*/ 252 w 329"/>
                <a:gd name="T25" fmla="*/ 222 h 353"/>
                <a:gd name="T26" fmla="*/ 160 w 329"/>
                <a:gd name="T27" fmla="*/ 268 h 353"/>
                <a:gd name="T28" fmla="*/ 84 w 329"/>
                <a:gd name="T29" fmla="*/ 352 h 353"/>
                <a:gd name="T30" fmla="*/ 84 w 329"/>
                <a:gd name="T31" fmla="*/ 352 h 353"/>
                <a:gd name="T32" fmla="*/ 0 w 329"/>
                <a:gd name="T33" fmla="*/ 298 h 353"/>
                <a:gd name="T34" fmla="*/ 0 w 329"/>
                <a:gd name="T35" fmla="*/ 298 h 353"/>
                <a:gd name="T36" fmla="*/ 23 w 329"/>
                <a:gd name="T37" fmla="*/ 252 h 353"/>
                <a:gd name="T38" fmla="*/ 53 w 329"/>
                <a:gd name="T39" fmla="*/ 252 h 353"/>
                <a:gd name="T40" fmla="*/ 53 w 329"/>
                <a:gd name="T41" fmla="*/ 138 h 353"/>
                <a:gd name="T42" fmla="*/ 46 w 329"/>
                <a:gd name="T43" fmla="*/ 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9" h="353">
                  <a:moveTo>
                    <a:pt x="46" y="77"/>
                  </a:moveTo>
                  <a:lnTo>
                    <a:pt x="46" y="77"/>
                  </a:lnTo>
                  <a:cubicBezTo>
                    <a:pt x="61" y="54"/>
                    <a:pt x="69" y="16"/>
                    <a:pt x="99" y="8"/>
                  </a:cubicBezTo>
                  <a:cubicBezTo>
                    <a:pt x="122" y="0"/>
                    <a:pt x="137" y="31"/>
                    <a:pt x="160" y="38"/>
                  </a:cubicBezTo>
                  <a:cubicBezTo>
                    <a:pt x="183" y="38"/>
                    <a:pt x="198" y="31"/>
                    <a:pt x="221" y="31"/>
                  </a:cubicBezTo>
                  <a:cubicBezTo>
                    <a:pt x="237" y="31"/>
                    <a:pt x="259" y="23"/>
                    <a:pt x="267" y="31"/>
                  </a:cubicBezTo>
                  <a:cubicBezTo>
                    <a:pt x="275" y="38"/>
                    <a:pt x="259" y="61"/>
                    <a:pt x="267" y="69"/>
                  </a:cubicBezTo>
                  <a:cubicBezTo>
                    <a:pt x="275" y="77"/>
                    <a:pt x="298" y="69"/>
                    <a:pt x="305" y="84"/>
                  </a:cubicBezTo>
                  <a:cubicBezTo>
                    <a:pt x="313" y="100"/>
                    <a:pt x="328" y="130"/>
                    <a:pt x="313" y="138"/>
                  </a:cubicBezTo>
                  <a:cubicBezTo>
                    <a:pt x="282" y="146"/>
                    <a:pt x="259" y="100"/>
                    <a:pt x="237" y="107"/>
                  </a:cubicBezTo>
                  <a:cubicBezTo>
                    <a:pt x="221" y="107"/>
                    <a:pt x="221" y="138"/>
                    <a:pt x="221" y="153"/>
                  </a:cubicBezTo>
                  <a:cubicBezTo>
                    <a:pt x="229" y="176"/>
                    <a:pt x="244" y="199"/>
                    <a:pt x="252" y="222"/>
                  </a:cubicBezTo>
                  <a:lnTo>
                    <a:pt x="252" y="222"/>
                  </a:lnTo>
                  <a:cubicBezTo>
                    <a:pt x="221" y="237"/>
                    <a:pt x="183" y="245"/>
                    <a:pt x="160" y="268"/>
                  </a:cubicBezTo>
                  <a:cubicBezTo>
                    <a:pt x="130" y="291"/>
                    <a:pt x="107" y="321"/>
                    <a:pt x="84" y="352"/>
                  </a:cubicBezTo>
                  <a:lnTo>
                    <a:pt x="84" y="352"/>
                  </a:lnTo>
                  <a:cubicBezTo>
                    <a:pt x="0" y="298"/>
                    <a:pt x="0" y="298"/>
                    <a:pt x="0" y="298"/>
                  </a:cubicBezTo>
                  <a:lnTo>
                    <a:pt x="0" y="298"/>
                  </a:lnTo>
                  <a:cubicBezTo>
                    <a:pt x="7" y="283"/>
                    <a:pt x="7" y="260"/>
                    <a:pt x="23" y="252"/>
                  </a:cubicBezTo>
                  <a:cubicBezTo>
                    <a:pt x="30" y="245"/>
                    <a:pt x="53" y="260"/>
                    <a:pt x="53" y="252"/>
                  </a:cubicBezTo>
                  <a:cubicBezTo>
                    <a:pt x="61" y="214"/>
                    <a:pt x="53" y="176"/>
                    <a:pt x="53" y="138"/>
                  </a:cubicBezTo>
                  <a:cubicBezTo>
                    <a:pt x="53" y="115"/>
                    <a:pt x="46" y="100"/>
                    <a:pt x="46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" name="Freeform 102"/>
            <p:cNvSpPr>
              <a:spLocks noChangeArrowheads="1"/>
            </p:cNvSpPr>
            <p:nvPr/>
          </p:nvSpPr>
          <p:spPr bwMode="auto">
            <a:xfrm>
              <a:off x="7692524" y="8821738"/>
              <a:ext cx="476219" cy="360362"/>
            </a:xfrm>
            <a:custGeom>
              <a:avLst/>
              <a:gdLst>
                <a:gd name="T0" fmla="*/ 0 w 1322"/>
                <a:gd name="T1" fmla="*/ 542 h 1001"/>
                <a:gd name="T2" fmla="*/ 0 w 1322"/>
                <a:gd name="T3" fmla="*/ 542 h 1001"/>
                <a:gd name="T4" fmla="*/ 15 w 1322"/>
                <a:gd name="T5" fmla="*/ 481 h 1001"/>
                <a:gd name="T6" fmla="*/ 15 w 1322"/>
                <a:gd name="T7" fmla="*/ 481 h 1001"/>
                <a:gd name="T8" fmla="*/ 30 w 1322"/>
                <a:gd name="T9" fmla="*/ 428 h 1001"/>
                <a:gd name="T10" fmla="*/ 15 w 1322"/>
                <a:gd name="T11" fmla="*/ 359 h 1001"/>
                <a:gd name="T12" fmla="*/ 38 w 1322"/>
                <a:gd name="T13" fmla="*/ 313 h 1001"/>
                <a:gd name="T14" fmla="*/ 7 w 1322"/>
                <a:gd name="T15" fmla="*/ 221 h 1001"/>
                <a:gd name="T16" fmla="*/ 7 w 1322"/>
                <a:gd name="T17" fmla="*/ 221 h 1001"/>
                <a:gd name="T18" fmla="*/ 38 w 1322"/>
                <a:gd name="T19" fmla="*/ 153 h 1001"/>
                <a:gd name="T20" fmla="*/ 76 w 1322"/>
                <a:gd name="T21" fmla="*/ 191 h 1001"/>
                <a:gd name="T22" fmla="*/ 183 w 1322"/>
                <a:gd name="T23" fmla="*/ 183 h 1001"/>
                <a:gd name="T24" fmla="*/ 297 w 1322"/>
                <a:gd name="T25" fmla="*/ 130 h 1001"/>
                <a:gd name="T26" fmla="*/ 397 w 1322"/>
                <a:gd name="T27" fmla="*/ 122 h 1001"/>
                <a:gd name="T28" fmla="*/ 504 w 1322"/>
                <a:gd name="T29" fmla="*/ 53 h 1001"/>
                <a:gd name="T30" fmla="*/ 534 w 1322"/>
                <a:gd name="T31" fmla="*/ 7 h 1001"/>
                <a:gd name="T32" fmla="*/ 695 w 1322"/>
                <a:gd name="T33" fmla="*/ 0 h 1001"/>
                <a:gd name="T34" fmla="*/ 763 w 1322"/>
                <a:gd name="T35" fmla="*/ 23 h 1001"/>
                <a:gd name="T36" fmla="*/ 763 w 1322"/>
                <a:gd name="T37" fmla="*/ 23 h 1001"/>
                <a:gd name="T38" fmla="*/ 763 w 1322"/>
                <a:gd name="T39" fmla="*/ 107 h 1001"/>
                <a:gd name="T40" fmla="*/ 817 w 1322"/>
                <a:gd name="T41" fmla="*/ 114 h 1001"/>
                <a:gd name="T42" fmla="*/ 901 w 1322"/>
                <a:gd name="T43" fmla="*/ 206 h 1001"/>
                <a:gd name="T44" fmla="*/ 1031 w 1322"/>
                <a:gd name="T45" fmla="*/ 153 h 1001"/>
                <a:gd name="T46" fmla="*/ 1100 w 1322"/>
                <a:gd name="T47" fmla="*/ 153 h 1001"/>
                <a:gd name="T48" fmla="*/ 1145 w 1322"/>
                <a:gd name="T49" fmla="*/ 137 h 1001"/>
                <a:gd name="T50" fmla="*/ 1191 w 1322"/>
                <a:gd name="T51" fmla="*/ 206 h 1001"/>
                <a:gd name="T52" fmla="*/ 1191 w 1322"/>
                <a:gd name="T53" fmla="*/ 244 h 1001"/>
                <a:gd name="T54" fmla="*/ 1267 w 1322"/>
                <a:gd name="T55" fmla="*/ 313 h 1001"/>
                <a:gd name="T56" fmla="*/ 1260 w 1322"/>
                <a:gd name="T57" fmla="*/ 313 h 1001"/>
                <a:gd name="T58" fmla="*/ 1306 w 1322"/>
                <a:gd name="T59" fmla="*/ 366 h 1001"/>
                <a:gd name="T60" fmla="*/ 1222 w 1322"/>
                <a:gd name="T61" fmla="*/ 382 h 1001"/>
                <a:gd name="T62" fmla="*/ 1153 w 1322"/>
                <a:gd name="T63" fmla="*/ 389 h 1001"/>
                <a:gd name="T64" fmla="*/ 1138 w 1322"/>
                <a:gd name="T65" fmla="*/ 458 h 1001"/>
                <a:gd name="T66" fmla="*/ 1130 w 1322"/>
                <a:gd name="T67" fmla="*/ 511 h 1001"/>
                <a:gd name="T68" fmla="*/ 1130 w 1322"/>
                <a:gd name="T69" fmla="*/ 511 h 1001"/>
                <a:gd name="T70" fmla="*/ 1100 w 1322"/>
                <a:gd name="T71" fmla="*/ 580 h 1001"/>
                <a:gd name="T72" fmla="*/ 1031 w 1322"/>
                <a:gd name="T73" fmla="*/ 626 h 1001"/>
                <a:gd name="T74" fmla="*/ 1031 w 1322"/>
                <a:gd name="T75" fmla="*/ 718 h 1001"/>
                <a:gd name="T76" fmla="*/ 1015 w 1322"/>
                <a:gd name="T77" fmla="*/ 748 h 1001"/>
                <a:gd name="T78" fmla="*/ 1008 w 1322"/>
                <a:gd name="T79" fmla="*/ 847 h 1001"/>
                <a:gd name="T80" fmla="*/ 977 w 1322"/>
                <a:gd name="T81" fmla="*/ 893 h 1001"/>
                <a:gd name="T82" fmla="*/ 931 w 1322"/>
                <a:gd name="T83" fmla="*/ 916 h 1001"/>
                <a:gd name="T84" fmla="*/ 908 w 1322"/>
                <a:gd name="T85" fmla="*/ 985 h 1001"/>
                <a:gd name="T86" fmla="*/ 855 w 1322"/>
                <a:gd name="T87" fmla="*/ 985 h 1001"/>
                <a:gd name="T88" fmla="*/ 855 w 1322"/>
                <a:gd name="T89" fmla="*/ 985 h 1001"/>
                <a:gd name="T90" fmla="*/ 832 w 1322"/>
                <a:gd name="T91" fmla="*/ 939 h 1001"/>
                <a:gd name="T92" fmla="*/ 809 w 1322"/>
                <a:gd name="T93" fmla="*/ 962 h 1001"/>
                <a:gd name="T94" fmla="*/ 748 w 1322"/>
                <a:gd name="T95" fmla="*/ 870 h 1001"/>
                <a:gd name="T96" fmla="*/ 656 w 1322"/>
                <a:gd name="T97" fmla="*/ 947 h 1001"/>
                <a:gd name="T98" fmla="*/ 588 w 1322"/>
                <a:gd name="T99" fmla="*/ 993 h 1001"/>
                <a:gd name="T100" fmla="*/ 534 w 1322"/>
                <a:gd name="T101" fmla="*/ 939 h 1001"/>
                <a:gd name="T102" fmla="*/ 496 w 1322"/>
                <a:gd name="T103" fmla="*/ 863 h 1001"/>
                <a:gd name="T104" fmla="*/ 435 w 1322"/>
                <a:gd name="T105" fmla="*/ 878 h 1001"/>
                <a:gd name="T106" fmla="*/ 397 w 1322"/>
                <a:gd name="T107" fmla="*/ 771 h 1001"/>
                <a:gd name="T108" fmla="*/ 320 w 1322"/>
                <a:gd name="T109" fmla="*/ 832 h 1001"/>
                <a:gd name="T110" fmla="*/ 275 w 1322"/>
                <a:gd name="T111" fmla="*/ 901 h 1001"/>
                <a:gd name="T112" fmla="*/ 275 w 1322"/>
                <a:gd name="T113" fmla="*/ 847 h 1001"/>
                <a:gd name="T114" fmla="*/ 290 w 1322"/>
                <a:gd name="T115" fmla="*/ 748 h 1001"/>
                <a:gd name="T116" fmla="*/ 183 w 1322"/>
                <a:gd name="T117" fmla="*/ 680 h 1001"/>
                <a:gd name="T118" fmla="*/ 83 w 1322"/>
                <a:gd name="T119" fmla="*/ 611 h 1001"/>
                <a:gd name="T120" fmla="*/ 68 w 1322"/>
                <a:gd name="T121" fmla="*/ 580 h 1001"/>
                <a:gd name="T122" fmla="*/ 0 w 1322"/>
                <a:gd name="T123" fmla="*/ 542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2" h="1001">
                  <a:moveTo>
                    <a:pt x="0" y="542"/>
                  </a:moveTo>
                  <a:lnTo>
                    <a:pt x="0" y="542"/>
                  </a:lnTo>
                  <a:cubicBezTo>
                    <a:pt x="15" y="481"/>
                    <a:pt x="15" y="481"/>
                    <a:pt x="15" y="481"/>
                  </a:cubicBezTo>
                  <a:lnTo>
                    <a:pt x="15" y="481"/>
                  </a:lnTo>
                  <a:cubicBezTo>
                    <a:pt x="22" y="466"/>
                    <a:pt x="30" y="443"/>
                    <a:pt x="30" y="428"/>
                  </a:cubicBezTo>
                  <a:cubicBezTo>
                    <a:pt x="30" y="405"/>
                    <a:pt x="15" y="382"/>
                    <a:pt x="15" y="359"/>
                  </a:cubicBezTo>
                  <a:cubicBezTo>
                    <a:pt x="15" y="343"/>
                    <a:pt x="38" y="328"/>
                    <a:pt x="38" y="313"/>
                  </a:cubicBezTo>
                  <a:cubicBezTo>
                    <a:pt x="38" y="282"/>
                    <a:pt x="15" y="252"/>
                    <a:pt x="7" y="221"/>
                  </a:cubicBezTo>
                  <a:lnTo>
                    <a:pt x="7" y="221"/>
                  </a:lnTo>
                  <a:cubicBezTo>
                    <a:pt x="15" y="198"/>
                    <a:pt x="7" y="160"/>
                    <a:pt x="38" y="153"/>
                  </a:cubicBezTo>
                  <a:cubicBezTo>
                    <a:pt x="53" y="145"/>
                    <a:pt x="61" y="183"/>
                    <a:pt x="76" y="191"/>
                  </a:cubicBezTo>
                  <a:cubicBezTo>
                    <a:pt x="114" y="198"/>
                    <a:pt x="152" y="191"/>
                    <a:pt x="183" y="183"/>
                  </a:cubicBezTo>
                  <a:cubicBezTo>
                    <a:pt x="221" y="175"/>
                    <a:pt x="259" y="145"/>
                    <a:pt x="297" y="130"/>
                  </a:cubicBezTo>
                  <a:cubicBezTo>
                    <a:pt x="336" y="122"/>
                    <a:pt x="366" y="130"/>
                    <a:pt x="397" y="122"/>
                  </a:cubicBezTo>
                  <a:cubicBezTo>
                    <a:pt x="435" y="107"/>
                    <a:pt x="465" y="76"/>
                    <a:pt x="504" y="53"/>
                  </a:cubicBezTo>
                  <a:cubicBezTo>
                    <a:pt x="504" y="53"/>
                    <a:pt x="527" y="7"/>
                    <a:pt x="534" y="7"/>
                  </a:cubicBezTo>
                  <a:cubicBezTo>
                    <a:pt x="550" y="7"/>
                    <a:pt x="695" y="0"/>
                    <a:pt x="695" y="0"/>
                  </a:cubicBezTo>
                  <a:cubicBezTo>
                    <a:pt x="717" y="7"/>
                    <a:pt x="740" y="15"/>
                    <a:pt x="763" y="23"/>
                  </a:cubicBezTo>
                  <a:lnTo>
                    <a:pt x="763" y="23"/>
                  </a:lnTo>
                  <a:cubicBezTo>
                    <a:pt x="763" y="53"/>
                    <a:pt x="748" y="84"/>
                    <a:pt x="763" y="107"/>
                  </a:cubicBezTo>
                  <a:cubicBezTo>
                    <a:pt x="771" y="122"/>
                    <a:pt x="802" y="107"/>
                    <a:pt x="817" y="114"/>
                  </a:cubicBezTo>
                  <a:cubicBezTo>
                    <a:pt x="847" y="137"/>
                    <a:pt x="863" y="198"/>
                    <a:pt x="901" y="206"/>
                  </a:cubicBezTo>
                  <a:cubicBezTo>
                    <a:pt x="947" y="214"/>
                    <a:pt x="985" y="160"/>
                    <a:pt x="1031" y="153"/>
                  </a:cubicBezTo>
                  <a:cubicBezTo>
                    <a:pt x="1054" y="145"/>
                    <a:pt x="1077" y="160"/>
                    <a:pt x="1100" y="153"/>
                  </a:cubicBezTo>
                  <a:cubicBezTo>
                    <a:pt x="1115" y="153"/>
                    <a:pt x="1130" y="130"/>
                    <a:pt x="1145" y="137"/>
                  </a:cubicBezTo>
                  <a:cubicBezTo>
                    <a:pt x="1168" y="153"/>
                    <a:pt x="1183" y="183"/>
                    <a:pt x="1191" y="206"/>
                  </a:cubicBezTo>
                  <a:cubicBezTo>
                    <a:pt x="1199" y="221"/>
                    <a:pt x="1183" y="229"/>
                    <a:pt x="1191" y="244"/>
                  </a:cubicBezTo>
                  <a:cubicBezTo>
                    <a:pt x="1214" y="267"/>
                    <a:pt x="1244" y="290"/>
                    <a:pt x="1267" y="313"/>
                  </a:cubicBezTo>
                  <a:cubicBezTo>
                    <a:pt x="1260" y="313"/>
                    <a:pt x="1260" y="313"/>
                    <a:pt x="1260" y="313"/>
                  </a:cubicBezTo>
                  <a:cubicBezTo>
                    <a:pt x="1275" y="328"/>
                    <a:pt x="1321" y="351"/>
                    <a:pt x="1306" y="366"/>
                  </a:cubicBezTo>
                  <a:cubicBezTo>
                    <a:pt x="1290" y="397"/>
                    <a:pt x="1252" y="382"/>
                    <a:pt x="1222" y="382"/>
                  </a:cubicBezTo>
                  <a:cubicBezTo>
                    <a:pt x="1199" y="382"/>
                    <a:pt x="1168" y="374"/>
                    <a:pt x="1153" y="389"/>
                  </a:cubicBezTo>
                  <a:cubicBezTo>
                    <a:pt x="1130" y="405"/>
                    <a:pt x="1138" y="435"/>
                    <a:pt x="1138" y="458"/>
                  </a:cubicBezTo>
                  <a:cubicBezTo>
                    <a:pt x="1130" y="473"/>
                    <a:pt x="1130" y="496"/>
                    <a:pt x="1130" y="511"/>
                  </a:cubicBezTo>
                  <a:lnTo>
                    <a:pt x="1130" y="511"/>
                  </a:lnTo>
                  <a:cubicBezTo>
                    <a:pt x="1115" y="534"/>
                    <a:pt x="1115" y="565"/>
                    <a:pt x="1100" y="580"/>
                  </a:cubicBezTo>
                  <a:cubicBezTo>
                    <a:pt x="1084" y="603"/>
                    <a:pt x="1046" y="603"/>
                    <a:pt x="1031" y="626"/>
                  </a:cubicBezTo>
                  <a:cubicBezTo>
                    <a:pt x="1023" y="657"/>
                    <a:pt x="1038" y="687"/>
                    <a:pt x="1031" y="718"/>
                  </a:cubicBezTo>
                  <a:cubicBezTo>
                    <a:pt x="1031" y="733"/>
                    <a:pt x="1015" y="741"/>
                    <a:pt x="1015" y="748"/>
                  </a:cubicBezTo>
                  <a:cubicBezTo>
                    <a:pt x="1008" y="779"/>
                    <a:pt x="1015" y="817"/>
                    <a:pt x="1008" y="847"/>
                  </a:cubicBezTo>
                  <a:cubicBezTo>
                    <a:pt x="1000" y="870"/>
                    <a:pt x="985" y="878"/>
                    <a:pt x="977" y="893"/>
                  </a:cubicBezTo>
                  <a:cubicBezTo>
                    <a:pt x="962" y="901"/>
                    <a:pt x="939" y="901"/>
                    <a:pt x="931" y="916"/>
                  </a:cubicBezTo>
                  <a:cubicBezTo>
                    <a:pt x="916" y="932"/>
                    <a:pt x="931" y="970"/>
                    <a:pt x="908" y="985"/>
                  </a:cubicBezTo>
                  <a:cubicBezTo>
                    <a:pt x="901" y="993"/>
                    <a:pt x="878" y="985"/>
                    <a:pt x="855" y="985"/>
                  </a:cubicBezTo>
                  <a:lnTo>
                    <a:pt x="855" y="985"/>
                  </a:lnTo>
                  <a:cubicBezTo>
                    <a:pt x="847" y="970"/>
                    <a:pt x="847" y="947"/>
                    <a:pt x="832" y="939"/>
                  </a:cubicBezTo>
                  <a:cubicBezTo>
                    <a:pt x="825" y="939"/>
                    <a:pt x="817" y="970"/>
                    <a:pt x="809" y="962"/>
                  </a:cubicBezTo>
                  <a:cubicBezTo>
                    <a:pt x="779" y="939"/>
                    <a:pt x="786" y="870"/>
                    <a:pt x="748" y="870"/>
                  </a:cubicBezTo>
                  <a:cubicBezTo>
                    <a:pt x="702" y="863"/>
                    <a:pt x="687" y="924"/>
                    <a:pt x="656" y="947"/>
                  </a:cubicBezTo>
                  <a:cubicBezTo>
                    <a:pt x="633" y="970"/>
                    <a:pt x="618" y="1000"/>
                    <a:pt x="588" y="993"/>
                  </a:cubicBezTo>
                  <a:cubicBezTo>
                    <a:pt x="565" y="993"/>
                    <a:pt x="550" y="962"/>
                    <a:pt x="534" y="939"/>
                  </a:cubicBezTo>
                  <a:cubicBezTo>
                    <a:pt x="519" y="916"/>
                    <a:pt x="519" y="878"/>
                    <a:pt x="496" y="863"/>
                  </a:cubicBezTo>
                  <a:cubicBezTo>
                    <a:pt x="481" y="855"/>
                    <a:pt x="450" y="893"/>
                    <a:pt x="435" y="878"/>
                  </a:cubicBezTo>
                  <a:cubicBezTo>
                    <a:pt x="412" y="855"/>
                    <a:pt x="435" y="786"/>
                    <a:pt x="397" y="771"/>
                  </a:cubicBezTo>
                  <a:cubicBezTo>
                    <a:pt x="366" y="756"/>
                    <a:pt x="343" y="809"/>
                    <a:pt x="320" y="832"/>
                  </a:cubicBezTo>
                  <a:cubicBezTo>
                    <a:pt x="305" y="855"/>
                    <a:pt x="297" y="893"/>
                    <a:pt x="275" y="901"/>
                  </a:cubicBezTo>
                  <a:cubicBezTo>
                    <a:pt x="252" y="901"/>
                    <a:pt x="267" y="863"/>
                    <a:pt x="275" y="847"/>
                  </a:cubicBezTo>
                  <a:cubicBezTo>
                    <a:pt x="275" y="809"/>
                    <a:pt x="305" y="779"/>
                    <a:pt x="290" y="748"/>
                  </a:cubicBezTo>
                  <a:cubicBezTo>
                    <a:pt x="275" y="710"/>
                    <a:pt x="221" y="703"/>
                    <a:pt x="183" y="680"/>
                  </a:cubicBezTo>
                  <a:cubicBezTo>
                    <a:pt x="152" y="657"/>
                    <a:pt x="114" y="641"/>
                    <a:pt x="83" y="611"/>
                  </a:cubicBezTo>
                  <a:cubicBezTo>
                    <a:pt x="76" y="603"/>
                    <a:pt x="76" y="588"/>
                    <a:pt x="68" y="580"/>
                  </a:cubicBezTo>
                  <a:cubicBezTo>
                    <a:pt x="53" y="565"/>
                    <a:pt x="22" y="557"/>
                    <a:pt x="0" y="5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" name="Freeform 103"/>
            <p:cNvSpPr>
              <a:spLocks noChangeArrowheads="1"/>
            </p:cNvSpPr>
            <p:nvPr/>
          </p:nvSpPr>
          <p:spPr bwMode="auto">
            <a:xfrm>
              <a:off x="7500449" y="9017000"/>
              <a:ext cx="506379" cy="355600"/>
            </a:xfrm>
            <a:custGeom>
              <a:avLst/>
              <a:gdLst>
                <a:gd name="T0" fmla="*/ 275 w 1406"/>
                <a:gd name="T1" fmla="*/ 214 h 986"/>
                <a:gd name="T2" fmla="*/ 275 w 1406"/>
                <a:gd name="T3" fmla="*/ 214 h 986"/>
                <a:gd name="T4" fmla="*/ 359 w 1406"/>
                <a:gd name="T5" fmla="*/ 214 h 986"/>
                <a:gd name="T6" fmla="*/ 412 w 1406"/>
                <a:gd name="T7" fmla="*/ 61 h 986"/>
                <a:gd name="T8" fmla="*/ 496 w 1406"/>
                <a:gd name="T9" fmla="*/ 84 h 986"/>
                <a:gd name="T10" fmla="*/ 474 w 1406"/>
                <a:gd name="T11" fmla="*/ 15 h 986"/>
                <a:gd name="T12" fmla="*/ 504 w 1406"/>
                <a:gd name="T13" fmla="*/ 0 h 986"/>
                <a:gd name="T14" fmla="*/ 504 w 1406"/>
                <a:gd name="T15" fmla="*/ 0 h 986"/>
                <a:gd name="T16" fmla="*/ 535 w 1406"/>
                <a:gd name="T17" fmla="*/ 0 h 986"/>
                <a:gd name="T18" fmla="*/ 535 w 1406"/>
                <a:gd name="T19" fmla="*/ 0 h 986"/>
                <a:gd name="T20" fmla="*/ 603 w 1406"/>
                <a:gd name="T21" fmla="*/ 38 h 986"/>
                <a:gd name="T22" fmla="*/ 618 w 1406"/>
                <a:gd name="T23" fmla="*/ 69 h 986"/>
                <a:gd name="T24" fmla="*/ 718 w 1406"/>
                <a:gd name="T25" fmla="*/ 138 h 986"/>
                <a:gd name="T26" fmla="*/ 825 w 1406"/>
                <a:gd name="T27" fmla="*/ 206 h 986"/>
                <a:gd name="T28" fmla="*/ 810 w 1406"/>
                <a:gd name="T29" fmla="*/ 305 h 986"/>
                <a:gd name="T30" fmla="*/ 810 w 1406"/>
                <a:gd name="T31" fmla="*/ 359 h 986"/>
                <a:gd name="T32" fmla="*/ 855 w 1406"/>
                <a:gd name="T33" fmla="*/ 290 h 986"/>
                <a:gd name="T34" fmla="*/ 932 w 1406"/>
                <a:gd name="T35" fmla="*/ 229 h 986"/>
                <a:gd name="T36" fmla="*/ 970 w 1406"/>
                <a:gd name="T37" fmla="*/ 336 h 986"/>
                <a:gd name="T38" fmla="*/ 1031 w 1406"/>
                <a:gd name="T39" fmla="*/ 321 h 986"/>
                <a:gd name="T40" fmla="*/ 1069 w 1406"/>
                <a:gd name="T41" fmla="*/ 397 h 986"/>
                <a:gd name="T42" fmla="*/ 1123 w 1406"/>
                <a:gd name="T43" fmla="*/ 451 h 986"/>
                <a:gd name="T44" fmla="*/ 1191 w 1406"/>
                <a:gd name="T45" fmla="*/ 405 h 986"/>
                <a:gd name="T46" fmla="*/ 1283 w 1406"/>
                <a:gd name="T47" fmla="*/ 328 h 986"/>
                <a:gd name="T48" fmla="*/ 1344 w 1406"/>
                <a:gd name="T49" fmla="*/ 420 h 986"/>
                <a:gd name="T50" fmla="*/ 1367 w 1406"/>
                <a:gd name="T51" fmla="*/ 397 h 986"/>
                <a:gd name="T52" fmla="*/ 1390 w 1406"/>
                <a:gd name="T53" fmla="*/ 443 h 986"/>
                <a:gd name="T54" fmla="*/ 1390 w 1406"/>
                <a:gd name="T55" fmla="*/ 443 h 986"/>
                <a:gd name="T56" fmla="*/ 1405 w 1406"/>
                <a:gd name="T57" fmla="*/ 542 h 986"/>
                <a:gd name="T58" fmla="*/ 1382 w 1406"/>
                <a:gd name="T59" fmla="*/ 634 h 986"/>
                <a:gd name="T60" fmla="*/ 1382 w 1406"/>
                <a:gd name="T61" fmla="*/ 688 h 986"/>
                <a:gd name="T62" fmla="*/ 1398 w 1406"/>
                <a:gd name="T63" fmla="*/ 817 h 986"/>
                <a:gd name="T64" fmla="*/ 1352 w 1406"/>
                <a:gd name="T65" fmla="*/ 833 h 986"/>
                <a:gd name="T66" fmla="*/ 1207 w 1406"/>
                <a:gd name="T67" fmla="*/ 825 h 986"/>
                <a:gd name="T68" fmla="*/ 1115 w 1406"/>
                <a:gd name="T69" fmla="*/ 833 h 986"/>
                <a:gd name="T70" fmla="*/ 1077 w 1406"/>
                <a:gd name="T71" fmla="*/ 772 h 986"/>
                <a:gd name="T72" fmla="*/ 1016 w 1406"/>
                <a:gd name="T73" fmla="*/ 764 h 986"/>
                <a:gd name="T74" fmla="*/ 916 w 1406"/>
                <a:gd name="T75" fmla="*/ 833 h 986"/>
                <a:gd name="T76" fmla="*/ 649 w 1406"/>
                <a:gd name="T77" fmla="*/ 924 h 986"/>
                <a:gd name="T78" fmla="*/ 443 w 1406"/>
                <a:gd name="T79" fmla="*/ 970 h 986"/>
                <a:gd name="T80" fmla="*/ 343 w 1406"/>
                <a:gd name="T81" fmla="*/ 962 h 986"/>
                <a:gd name="T82" fmla="*/ 237 w 1406"/>
                <a:gd name="T83" fmla="*/ 985 h 986"/>
                <a:gd name="T84" fmla="*/ 137 w 1406"/>
                <a:gd name="T85" fmla="*/ 962 h 986"/>
                <a:gd name="T86" fmla="*/ 137 w 1406"/>
                <a:gd name="T87" fmla="*/ 962 h 986"/>
                <a:gd name="T88" fmla="*/ 153 w 1406"/>
                <a:gd name="T89" fmla="*/ 894 h 986"/>
                <a:gd name="T90" fmla="*/ 61 w 1406"/>
                <a:gd name="T91" fmla="*/ 794 h 986"/>
                <a:gd name="T92" fmla="*/ 15 w 1406"/>
                <a:gd name="T93" fmla="*/ 810 h 986"/>
                <a:gd name="T94" fmla="*/ 23 w 1406"/>
                <a:gd name="T95" fmla="*/ 710 h 986"/>
                <a:gd name="T96" fmla="*/ 0 w 1406"/>
                <a:gd name="T97" fmla="*/ 649 h 986"/>
                <a:gd name="T98" fmla="*/ 23 w 1406"/>
                <a:gd name="T99" fmla="*/ 580 h 986"/>
                <a:gd name="T100" fmla="*/ 84 w 1406"/>
                <a:gd name="T101" fmla="*/ 558 h 986"/>
                <a:gd name="T102" fmla="*/ 160 w 1406"/>
                <a:gd name="T103" fmla="*/ 588 h 986"/>
                <a:gd name="T104" fmla="*/ 176 w 1406"/>
                <a:gd name="T105" fmla="*/ 550 h 986"/>
                <a:gd name="T106" fmla="*/ 168 w 1406"/>
                <a:gd name="T107" fmla="*/ 451 h 986"/>
                <a:gd name="T108" fmla="*/ 107 w 1406"/>
                <a:gd name="T109" fmla="*/ 344 h 986"/>
                <a:gd name="T110" fmla="*/ 107 w 1406"/>
                <a:gd name="T111" fmla="*/ 344 h 986"/>
                <a:gd name="T112" fmla="*/ 183 w 1406"/>
                <a:gd name="T113" fmla="*/ 260 h 986"/>
                <a:gd name="T114" fmla="*/ 275 w 1406"/>
                <a:gd name="T115" fmla="*/ 21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6" h="986">
                  <a:moveTo>
                    <a:pt x="275" y="214"/>
                  </a:moveTo>
                  <a:lnTo>
                    <a:pt x="275" y="214"/>
                  </a:lnTo>
                  <a:cubicBezTo>
                    <a:pt x="305" y="214"/>
                    <a:pt x="336" y="237"/>
                    <a:pt x="359" y="214"/>
                  </a:cubicBezTo>
                  <a:cubicBezTo>
                    <a:pt x="389" y="176"/>
                    <a:pt x="366" y="99"/>
                    <a:pt x="412" y="61"/>
                  </a:cubicBezTo>
                  <a:cubicBezTo>
                    <a:pt x="435" y="38"/>
                    <a:pt x="474" y="99"/>
                    <a:pt x="496" y="84"/>
                  </a:cubicBezTo>
                  <a:cubicBezTo>
                    <a:pt x="512" y="69"/>
                    <a:pt x="474" y="38"/>
                    <a:pt x="474" y="15"/>
                  </a:cubicBezTo>
                  <a:cubicBezTo>
                    <a:pt x="481" y="8"/>
                    <a:pt x="496" y="0"/>
                    <a:pt x="504" y="0"/>
                  </a:cubicBezTo>
                  <a:lnTo>
                    <a:pt x="504" y="0"/>
                  </a:lnTo>
                  <a:cubicBezTo>
                    <a:pt x="535" y="0"/>
                    <a:pt x="535" y="0"/>
                    <a:pt x="535" y="0"/>
                  </a:cubicBezTo>
                  <a:lnTo>
                    <a:pt x="535" y="0"/>
                  </a:lnTo>
                  <a:cubicBezTo>
                    <a:pt x="557" y="15"/>
                    <a:pt x="588" y="23"/>
                    <a:pt x="603" y="38"/>
                  </a:cubicBezTo>
                  <a:cubicBezTo>
                    <a:pt x="611" y="46"/>
                    <a:pt x="611" y="61"/>
                    <a:pt x="618" y="69"/>
                  </a:cubicBezTo>
                  <a:cubicBezTo>
                    <a:pt x="649" y="99"/>
                    <a:pt x="687" y="115"/>
                    <a:pt x="718" y="138"/>
                  </a:cubicBezTo>
                  <a:cubicBezTo>
                    <a:pt x="756" y="161"/>
                    <a:pt x="810" y="168"/>
                    <a:pt x="825" y="206"/>
                  </a:cubicBezTo>
                  <a:cubicBezTo>
                    <a:pt x="840" y="237"/>
                    <a:pt x="810" y="267"/>
                    <a:pt x="810" y="305"/>
                  </a:cubicBezTo>
                  <a:cubicBezTo>
                    <a:pt x="802" y="321"/>
                    <a:pt x="787" y="359"/>
                    <a:pt x="810" y="359"/>
                  </a:cubicBezTo>
                  <a:cubicBezTo>
                    <a:pt x="832" y="351"/>
                    <a:pt x="840" y="313"/>
                    <a:pt x="855" y="290"/>
                  </a:cubicBezTo>
                  <a:cubicBezTo>
                    <a:pt x="878" y="267"/>
                    <a:pt x="901" y="214"/>
                    <a:pt x="932" y="229"/>
                  </a:cubicBezTo>
                  <a:cubicBezTo>
                    <a:pt x="970" y="244"/>
                    <a:pt x="947" y="313"/>
                    <a:pt x="970" y="336"/>
                  </a:cubicBezTo>
                  <a:cubicBezTo>
                    <a:pt x="985" y="351"/>
                    <a:pt x="1016" y="313"/>
                    <a:pt x="1031" y="321"/>
                  </a:cubicBezTo>
                  <a:cubicBezTo>
                    <a:pt x="1054" y="336"/>
                    <a:pt x="1054" y="374"/>
                    <a:pt x="1069" y="397"/>
                  </a:cubicBezTo>
                  <a:cubicBezTo>
                    <a:pt x="1085" y="420"/>
                    <a:pt x="1100" y="451"/>
                    <a:pt x="1123" y="451"/>
                  </a:cubicBezTo>
                  <a:cubicBezTo>
                    <a:pt x="1153" y="458"/>
                    <a:pt x="1168" y="428"/>
                    <a:pt x="1191" y="405"/>
                  </a:cubicBezTo>
                  <a:cubicBezTo>
                    <a:pt x="1222" y="382"/>
                    <a:pt x="1237" y="321"/>
                    <a:pt x="1283" y="328"/>
                  </a:cubicBezTo>
                  <a:cubicBezTo>
                    <a:pt x="1321" y="328"/>
                    <a:pt x="1314" y="397"/>
                    <a:pt x="1344" y="420"/>
                  </a:cubicBezTo>
                  <a:cubicBezTo>
                    <a:pt x="1352" y="428"/>
                    <a:pt x="1360" y="397"/>
                    <a:pt x="1367" y="397"/>
                  </a:cubicBezTo>
                  <a:cubicBezTo>
                    <a:pt x="1382" y="405"/>
                    <a:pt x="1382" y="428"/>
                    <a:pt x="1390" y="443"/>
                  </a:cubicBezTo>
                  <a:lnTo>
                    <a:pt x="1390" y="443"/>
                  </a:lnTo>
                  <a:cubicBezTo>
                    <a:pt x="1398" y="474"/>
                    <a:pt x="1405" y="504"/>
                    <a:pt x="1405" y="542"/>
                  </a:cubicBezTo>
                  <a:cubicBezTo>
                    <a:pt x="1405" y="573"/>
                    <a:pt x="1390" y="603"/>
                    <a:pt x="1382" y="634"/>
                  </a:cubicBezTo>
                  <a:cubicBezTo>
                    <a:pt x="1375" y="649"/>
                    <a:pt x="1382" y="665"/>
                    <a:pt x="1382" y="688"/>
                  </a:cubicBezTo>
                  <a:cubicBezTo>
                    <a:pt x="1382" y="726"/>
                    <a:pt x="1390" y="772"/>
                    <a:pt x="1398" y="817"/>
                  </a:cubicBezTo>
                  <a:cubicBezTo>
                    <a:pt x="1352" y="833"/>
                    <a:pt x="1352" y="833"/>
                    <a:pt x="1352" y="833"/>
                  </a:cubicBezTo>
                  <a:cubicBezTo>
                    <a:pt x="1306" y="833"/>
                    <a:pt x="1260" y="825"/>
                    <a:pt x="1207" y="825"/>
                  </a:cubicBezTo>
                  <a:cubicBezTo>
                    <a:pt x="1176" y="833"/>
                    <a:pt x="1146" y="848"/>
                    <a:pt x="1115" y="833"/>
                  </a:cubicBezTo>
                  <a:cubicBezTo>
                    <a:pt x="1092" y="825"/>
                    <a:pt x="1092" y="794"/>
                    <a:pt x="1077" y="772"/>
                  </a:cubicBezTo>
                  <a:cubicBezTo>
                    <a:pt x="1077" y="772"/>
                    <a:pt x="1023" y="764"/>
                    <a:pt x="1016" y="764"/>
                  </a:cubicBezTo>
                  <a:cubicBezTo>
                    <a:pt x="1008" y="764"/>
                    <a:pt x="916" y="833"/>
                    <a:pt x="916" y="833"/>
                  </a:cubicBezTo>
                  <a:cubicBezTo>
                    <a:pt x="825" y="863"/>
                    <a:pt x="741" y="894"/>
                    <a:pt x="649" y="924"/>
                  </a:cubicBezTo>
                  <a:cubicBezTo>
                    <a:pt x="580" y="940"/>
                    <a:pt x="512" y="962"/>
                    <a:pt x="443" y="970"/>
                  </a:cubicBezTo>
                  <a:cubicBezTo>
                    <a:pt x="412" y="970"/>
                    <a:pt x="374" y="955"/>
                    <a:pt x="343" y="962"/>
                  </a:cubicBezTo>
                  <a:cubicBezTo>
                    <a:pt x="305" y="962"/>
                    <a:pt x="275" y="985"/>
                    <a:pt x="237" y="985"/>
                  </a:cubicBezTo>
                  <a:cubicBezTo>
                    <a:pt x="199" y="985"/>
                    <a:pt x="168" y="970"/>
                    <a:pt x="137" y="962"/>
                  </a:cubicBezTo>
                  <a:lnTo>
                    <a:pt x="137" y="962"/>
                  </a:lnTo>
                  <a:cubicBezTo>
                    <a:pt x="137" y="940"/>
                    <a:pt x="160" y="917"/>
                    <a:pt x="153" y="894"/>
                  </a:cubicBezTo>
                  <a:cubicBezTo>
                    <a:pt x="130" y="855"/>
                    <a:pt x="99" y="817"/>
                    <a:pt x="61" y="794"/>
                  </a:cubicBezTo>
                  <a:cubicBezTo>
                    <a:pt x="46" y="787"/>
                    <a:pt x="23" y="825"/>
                    <a:pt x="15" y="810"/>
                  </a:cubicBezTo>
                  <a:cubicBezTo>
                    <a:pt x="0" y="779"/>
                    <a:pt x="23" y="741"/>
                    <a:pt x="23" y="710"/>
                  </a:cubicBezTo>
                  <a:cubicBezTo>
                    <a:pt x="23" y="688"/>
                    <a:pt x="0" y="672"/>
                    <a:pt x="0" y="649"/>
                  </a:cubicBezTo>
                  <a:cubicBezTo>
                    <a:pt x="0" y="626"/>
                    <a:pt x="7" y="603"/>
                    <a:pt x="23" y="580"/>
                  </a:cubicBezTo>
                  <a:cubicBezTo>
                    <a:pt x="38" y="565"/>
                    <a:pt x="61" y="550"/>
                    <a:pt x="84" y="558"/>
                  </a:cubicBezTo>
                  <a:cubicBezTo>
                    <a:pt x="107" y="558"/>
                    <a:pt x="130" y="588"/>
                    <a:pt x="160" y="588"/>
                  </a:cubicBezTo>
                  <a:cubicBezTo>
                    <a:pt x="176" y="588"/>
                    <a:pt x="168" y="565"/>
                    <a:pt x="176" y="550"/>
                  </a:cubicBezTo>
                  <a:cubicBezTo>
                    <a:pt x="176" y="519"/>
                    <a:pt x="176" y="481"/>
                    <a:pt x="168" y="451"/>
                  </a:cubicBezTo>
                  <a:cubicBezTo>
                    <a:pt x="153" y="413"/>
                    <a:pt x="130" y="374"/>
                    <a:pt x="107" y="344"/>
                  </a:cubicBezTo>
                  <a:lnTo>
                    <a:pt x="107" y="344"/>
                  </a:lnTo>
                  <a:cubicBezTo>
                    <a:pt x="130" y="313"/>
                    <a:pt x="153" y="283"/>
                    <a:pt x="183" y="260"/>
                  </a:cubicBezTo>
                  <a:cubicBezTo>
                    <a:pt x="206" y="237"/>
                    <a:pt x="244" y="229"/>
                    <a:pt x="275" y="2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" name="Freeform 104"/>
            <p:cNvSpPr>
              <a:spLocks noChangeArrowheads="1"/>
            </p:cNvSpPr>
            <p:nvPr/>
          </p:nvSpPr>
          <p:spPr bwMode="auto">
            <a:xfrm>
              <a:off x="8100486" y="8929688"/>
              <a:ext cx="193662" cy="112712"/>
            </a:xfrm>
            <a:custGeom>
              <a:avLst/>
              <a:gdLst>
                <a:gd name="T0" fmla="*/ 298 w 536"/>
                <a:gd name="T1" fmla="*/ 305 h 314"/>
                <a:gd name="T2" fmla="*/ 298 w 536"/>
                <a:gd name="T3" fmla="*/ 305 h 314"/>
                <a:gd name="T4" fmla="*/ 336 w 536"/>
                <a:gd name="T5" fmla="*/ 252 h 314"/>
                <a:gd name="T6" fmla="*/ 458 w 536"/>
                <a:gd name="T7" fmla="*/ 183 h 314"/>
                <a:gd name="T8" fmla="*/ 535 w 536"/>
                <a:gd name="T9" fmla="*/ 175 h 314"/>
                <a:gd name="T10" fmla="*/ 535 w 536"/>
                <a:gd name="T11" fmla="*/ 175 h 314"/>
                <a:gd name="T12" fmla="*/ 374 w 536"/>
                <a:gd name="T13" fmla="*/ 30 h 314"/>
                <a:gd name="T14" fmla="*/ 298 w 536"/>
                <a:gd name="T15" fmla="*/ 38 h 314"/>
                <a:gd name="T16" fmla="*/ 260 w 536"/>
                <a:gd name="T17" fmla="*/ 7 h 314"/>
                <a:gd name="T18" fmla="*/ 130 w 536"/>
                <a:gd name="T19" fmla="*/ 15 h 314"/>
                <a:gd name="T20" fmla="*/ 130 w 536"/>
                <a:gd name="T21" fmla="*/ 15 h 314"/>
                <a:gd name="T22" fmla="*/ 176 w 536"/>
                <a:gd name="T23" fmla="*/ 68 h 314"/>
                <a:gd name="T24" fmla="*/ 92 w 536"/>
                <a:gd name="T25" fmla="*/ 84 h 314"/>
                <a:gd name="T26" fmla="*/ 23 w 536"/>
                <a:gd name="T27" fmla="*/ 91 h 314"/>
                <a:gd name="T28" fmla="*/ 8 w 536"/>
                <a:gd name="T29" fmla="*/ 160 h 314"/>
                <a:gd name="T30" fmla="*/ 0 w 536"/>
                <a:gd name="T31" fmla="*/ 213 h 314"/>
                <a:gd name="T32" fmla="*/ 0 w 536"/>
                <a:gd name="T33" fmla="*/ 213 h 314"/>
                <a:gd name="T34" fmla="*/ 84 w 536"/>
                <a:gd name="T35" fmla="*/ 274 h 314"/>
                <a:gd name="T36" fmla="*/ 145 w 536"/>
                <a:gd name="T37" fmla="*/ 244 h 314"/>
                <a:gd name="T38" fmla="*/ 183 w 536"/>
                <a:gd name="T39" fmla="*/ 297 h 314"/>
                <a:gd name="T40" fmla="*/ 298 w 536"/>
                <a:gd name="T41" fmla="*/ 30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6" h="314">
                  <a:moveTo>
                    <a:pt x="298" y="305"/>
                  </a:moveTo>
                  <a:lnTo>
                    <a:pt x="298" y="305"/>
                  </a:lnTo>
                  <a:cubicBezTo>
                    <a:pt x="313" y="290"/>
                    <a:pt x="328" y="274"/>
                    <a:pt x="336" y="252"/>
                  </a:cubicBezTo>
                  <a:cubicBezTo>
                    <a:pt x="359" y="175"/>
                    <a:pt x="374" y="183"/>
                    <a:pt x="458" y="183"/>
                  </a:cubicBezTo>
                  <a:cubicBezTo>
                    <a:pt x="481" y="183"/>
                    <a:pt x="504" y="183"/>
                    <a:pt x="535" y="175"/>
                  </a:cubicBezTo>
                  <a:lnTo>
                    <a:pt x="535" y="175"/>
                  </a:lnTo>
                  <a:cubicBezTo>
                    <a:pt x="489" y="137"/>
                    <a:pt x="428" y="53"/>
                    <a:pt x="374" y="30"/>
                  </a:cubicBezTo>
                  <a:cubicBezTo>
                    <a:pt x="351" y="22"/>
                    <a:pt x="328" y="45"/>
                    <a:pt x="298" y="38"/>
                  </a:cubicBezTo>
                  <a:cubicBezTo>
                    <a:pt x="283" y="38"/>
                    <a:pt x="275" y="7"/>
                    <a:pt x="260" y="7"/>
                  </a:cubicBezTo>
                  <a:cubicBezTo>
                    <a:pt x="214" y="0"/>
                    <a:pt x="176" y="7"/>
                    <a:pt x="130" y="15"/>
                  </a:cubicBezTo>
                  <a:lnTo>
                    <a:pt x="130" y="15"/>
                  </a:lnTo>
                  <a:cubicBezTo>
                    <a:pt x="145" y="30"/>
                    <a:pt x="191" y="53"/>
                    <a:pt x="176" y="68"/>
                  </a:cubicBezTo>
                  <a:cubicBezTo>
                    <a:pt x="160" y="99"/>
                    <a:pt x="122" y="84"/>
                    <a:pt x="92" y="84"/>
                  </a:cubicBezTo>
                  <a:cubicBezTo>
                    <a:pt x="69" y="84"/>
                    <a:pt x="38" y="76"/>
                    <a:pt x="23" y="91"/>
                  </a:cubicBezTo>
                  <a:cubicBezTo>
                    <a:pt x="0" y="107"/>
                    <a:pt x="8" y="137"/>
                    <a:pt x="8" y="160"/>
                  </a:cubicBezTo>
                  <a:cubicBezTo>
                    <a:pt x="0" y="175"/>
                    <a:pt x="0" y="198"/>
                    <a:pt x="0" y="213"/>
                  </a:cubicBezTo>
                  <a:lnTo>
                    <a:pt x="0" y="213"/>
                  </a:lnTo>
                  <a:cubicBezTo>
                    <a:pt x="23" y="236"/>
                    <a:pt x="53" y="267"/>
                    <a:pt x="84" y="274"/>
                  </a:cubicBezTo>
                  <a:cubicBezTo>
                    <a:pt x="107" y="282"/>
                    <a:pt x="122" y="236"/>
                    <a:pt x="145" y="244"/>
                  </a:cubicBezTo>
                  <a:cubicBezTo>
                    <a:pt x="168" y="244"/>
                    <a:pt x="160" y="290"/>
                    <a:pt x="183" y="297"/>
                  </a:cubicBezTo>
                  <a:cubicBezTo>
                    <a:pt x="229" y="313"/>
                    <a:pt x="244" y="297"/>
                    <a:pt x="298" y="30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" name="Freeform 105"/>
            <p:cNvSpPr>
              <a:spLocks noChangeArrowheads="1"/>
            </p:cNvSpPr>
            <p:nvPr/>
          </p:nvSpPr>
          <p:spPr bwMode="auto">
            <a:xfrm>
              <a:off x="8316371" y="8907463"/>
              <a:ext cx="126992" cy="74612"/>
            </a:xfrm>
            <a:custGeom>
              <a:avLst/>
              <a:gdLst>
                <a:gd name="T0" fmla="*/ 46 w 353"/>
                <a:gd name="T1" fmla="*/ 192 h 208"/>
                <a:gd name="T2" fmla="*/ 46 w 353"/>
                <a:gd name="T3" fmla="*/ 192 h 208"/>
                <a:gd name="T4" fmla="*/ 123 w 353"/>
                <a:gd name="T5" fmla="*/ 176 h 208"/>
                <a:gd name="T6" fmla="*/ 291 w 353"/>
                <a:gd name="T7" fmla="*/ 199 h 208"/>
                <a:gd name="T8" fmla="*/ 352 w 353"/>
                <a:gd name="T9" fmla="*/ 169 h 208"/>
                <a:gd name="T10" fmla="*/ 352 w 353"/>
                <a:gd name="T11" fmla="*/ 169 h 208"/>
                <a:gd name="T12" fmla="*/ 230 w 353"/>
                <a:gd name="T13" fmla="*/ 62 h 208"/>
                <a:gd name="T14" fmla="*/ 31 w 353"/>
                <a:gd name="T15" fmla="*/ 23 h 208"/>
                <a:gd name="T16" fmla="*/ 46 w 353"/>
                <a:gd name="T17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08">
                  <a:moveTo>
                    <a:pt x="46" y="192"/>
                  </a:moveTo>
                  <a:lnTo>
                    <a:pt x="46" y="192"/>
                  </a:lnTo>
                  <a:cubicBezTo>
                    <a:pt x="69" y="176"/>
                    <a:pt x="100" y="169"/>
                    <a:pt x="123" y="176"/>
                  </a:cubicBezTo>
                  <a:cubicBezTo>
                    <a:pt x="176" y="184"/>
                    <a:pt x="237" y="207"/>
                    <a:pt x="291" y="199"/>
                  </a:cubicBezTo>
                  <a:cubicBezTo>
                    <a:pt x="314" y="192"/>
                    <a:pt x="329" y="184"/>
                    <a:pt x="352" y="169"/>
                  </a:cubicBezTo>
                  <a:lnTo>
                    <a:pt x="352" y="169"/>
                  </a:lnTo>
                  <a:cubicBezTo>
                    <a:pt x="321" y="146"/>
                    <a:pt x="268" y="77"/>
                    <a:pt x="230" y="62"/>
                  </a:cubicBezTo>
                  <a:cubicBezTo>
                    <a:pt x="168" y="39"/>
                    <a:pt x="100" y="0"/>
                    <a:pt x="31" y="23"/>
                  </a:cubicBezTo>
                  <a:cubicBezTo>
                    <a:pt x="0" y="31"/>
                    <a:pt x="46" y="161"/>
                    <a:pt x="46" y="1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" name="Freeform 106"/>
            <p:cNvSpPr>
              <a:spLocks noChangeArrowheads="1"/>
            </p:cNvSpPr>
            <p:nvPr/>
          </p:nvSpPr>
          <p:spPr bwMode="auto">
            <a:xfrm>
              <a:off x="7995717" y="9005888"/>
              <a:ext cx="844495" cy="531812"/>
            </a:xfrm>
            <a:custGeom>
              <a:avLst/>
              <a:gdLst>
                <a:gd name="T0" fmla="*/ 672 w 2346"/>
                <a:gd name="T1" fmla="*/ 69 h 1476"/>
                <a:gd name="T2" fmla="*/ 328 w 2346"/>
                <a:gd name="T3" fmla="*/ 84 h 1476"/>
                <a:gd name="T4" fmla="*/ 588 w 2346"/>
                <a:gd name="T5" fmla="*/ 92 h 1476"/>
                <a:gd name="T6" fmla="*/ 435 w 2346"/>
                <a:gd name="T7" fmla="*/ 31 h 1476"/>
                <a:gd name="T8" fmla="*/ 290 w 2346"/>
                <a:gd name="T9" fmla="*/ 0 h 1476"/>
                <a:gd name="T10" fmla="*/ 260 w 2346"/>
                <a:gd name="T11" fmla="*/ 69 h 1476"/>
                <a:gd name="T12" fmla="*/ 191 w 2346"/>
                <a:gd name="T13" fmla="*/ 207 h 1476"/>
                <a:gd name="T14" fmla="*/ 168 w 2346"/>
                <a:gd name="T15" fmla="*/ 336 h 1476"/>
                <a:gd name="T16" fmla="*/ 91 w 2346"/>
                <a:gd name="T17" fmla="*/ 405 h 1476"/>
                <a:gd name="T18" fmla="*/ 15 w 2346"/>
                <a:gd name="T19" fmla="*/ 474 h 1476"/>
                <a:gd name="T20" fmla="*/ 30 w 2346"/>
                <a:gd name="T21" fmla="*/ 573 h 1476"/>
                <a:gd name="T22" fmla="*/ 7 w 2346"/>
                <a:gd name="T23" fmla="*/ 719 h 1476"/>
                <a:gd name="T24" fmla="*/ 23 w 2346"/>
                <a:gd name="T25" fmla="*/ 848 h 1476"/>
                <a:gd name="T26" fmla="*/ 198 w 2346"/>
                <a:gd name="T27" fmla="*/ 917 h 1476"/>
                <a:gd name="T28" fmla="*/ 458 w 2346"/>
                <a:gd name="T29" fmla="*/ 909 h 1476"/>
                <a:gd name="T30" fmla="*/ 641 w 2346"/>
                <a:gd name="T31" fmla="*/ 1055 h 1476"/>
                <a:gd name="T32" fmla="*/ 832 w 2346"/>
                <a:gd name="T33" fmla="*/ 1200 h 1476"/>
                <a:gd name="T34" fmla="*/ 1023 w 2346"/>
                <a:gd name="T35" fmla="*/ 1200 h 1476"/>
                <a:gd name="T36" fmla="*/ 1229 w 2346"/>
                <a:gd name="T37" fmla="*/ 1330 h 1476"/>
                <a:gd name="T38" fmla="*/ 1275 w 2346"/>
                <a:gd name="T39" fmla="*/ 1436 h 1476"/>
                <a:gd name="T40" fmla="*/ 1321 w 2346"/>
                <a:gd name="T41" fmla="*/ 1444 h 1476"/>
                <a:gd name="T42" fmla="*/ 1443 w 2346"/>
                <a:gd name="T43" fmla="*/ 1337 h 1476"/>
                <a:gd name="T44" fmla="*/ 1909 w 2346"/>
                <a:gd name="T45" fmla="*/ 986 h 1476"/>
                <a:gd name="T46" fmla="*/ 2169 w 2346"/>
                <a:gd name="T47" fmla="*/ 390 h 1476"/>
                <a:gd name="T48" fmla="*/ 1520 w 2346"/>
                <a:gd name="T49" fmla="*/ 359 h 1476"/>
                <a:gd name="T50" fmla="*/ 1077 w 2346"/>
                <a:gd name="T51" fmla="*/ 169 h 1476"/>
                <a:gd name="T52" fmla="*/ 939 w 2346"/>
                <a:gd name="T53" fmla="*/ 260 h 1476"/>
                <a:gd name="T54" fmla="*/ 909 w 2346"/>
                <a:gd name="T55" fmla="*/ 375 h 1476"/>
                <a:gd name="T56" fmla="*/ 718 w 2346"/>
                <a:gd name="T57" fmla="*/ 321 h 1476"/>
                <a:gd name="T58" fmla="*/ 641 w 2346"/>
                <a:gd name="T59" fmla="*/ 352 h 1476"/>
                <a:gd name="T60" fmla="*/ 573 w 2346"/>
                <a:gd name="T61" fmla="*/ 306 h 1476"/>
                <a:gd name="T62" fmla="*/ 702 w 2346"/>
                <a:gd name="T63" fmla="*/ 161 h 1476"/>
                <a:gd name="T64" fmla="*/ 672 w 2346"/>
                <a:gd name="T65" fmla="*/ 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6" h="1476">
                  <a:moveTo>
                    <a:pt x="672" y="69"/>
                  </a:moveTo>
                  <a:lnTo>
                    <a:pt x="672" y="69"/>
                  </a:lnTo>
                  <a:cubicBezTo>
                    <a:pt x="641" y="92"/>
                    <a:pt x="618" y="123"/>
                    <a:pt x="565" y="123"/>
                  </a:cubicBezTo>
                  <a:cubicBezTo>
                    <a:pt x="504" y="130"/>
                    <a:pt x="374" y="123"/>
                    <a:pt x="328" y="84"/>
                  </a:cubicBezTo>
                  <a:cubicBezTo>
                    <a:pt x="404" y="84"/>
                    <a:pt x="519" y="123"/>
                    <a:pt x="588" y="92"/>
                  </a:cubicBezTo>
                  <a:lnTo>
                    <a:pt x="588" y="92"/>
                  </a:lnTo>
                  <a:cubicBezTo>
                    <a:pt x="534" y="84"/>
                    <a:pt x="519" y="100"/>
                    <a:pt x="473" y="84"/>
                  </a:cubicBezTo>
                  <a:cubicBezTo>
                    <a:pt x="450" y="77"/>
                    <a:pt x="458" y="31"/>
                    <a:pt x="435" y="31"/>
                  </a:cubicBezTo>
                  <a:cubicBezTo>
                    <a:pt x="412" y="23"/>
                    <a:pt x="397" y="69"/>
                    <a:pt x="374" y="61"/>
                  </a:cubicBezTo>
                  <a:cubicBezTo>
                    <a:pt x="343" y="54"/>
                    <a:pt x="313" y="23"/>
                    <a:pt x="290" y="0"/>
                  </a:cubicBezTo>
                  <a:lnTo>
                    <a:pt x="290" y="0"/>
                  </a:lnTo>
                  <a:cubicBezTo>
                    <a:pt x="275" y="23"/>
                    <a:pt x="275" y="54"/>
                    <a:pt x="260" y="69"/>
                  </a:cubicBezTo>
                  <a:cubicBezTo>
                    <a:pt x="244" y="92"/>
                    <a:pt x="206" y="92"/>
                    <a:pt x="191" y="115"/>
                  </a:cubicBezTo>
                  <a:cubicBezTo>
                    <a:pt x="183" y="146"/>
                    <a:pt x="198" y="176"/>
                    <a:pt x="191" y="207"/>
                  </a:cubicBezTo>
                  <a:cubicBezTo>
                    <a:pt x="191" y="222"/>
                    <a:pt x="175" y="230"/>
                    <a:pt x="175" y="237"/>
                  </a:cubicBezTo>
                  <a:cubicBezTo>
                    <a:pt x="168" y="268"/>
                    <a:pt x="175" y="306"/>
                    <a:pt x="168" y="336"/>
                  </a:cubicBezTo>
                  <a:cubicBezTo>
                    <a:pt x="160" y="359"/>
                    <a:pt x="145" y="367"/>
                    <a:pt x="137" y="382"/>
                  </a:cubicBezTo>
                  <a:cubicBezTo>
                    <a:pt x="122" y="390"/>
                    <a:pt x="99" y="390"/>
                    <a:pt x="91" y="405"/>
                  </a:cubicBezTo>
                  <a:cubicBezTo>
                    <a:pt x="76" y="421"/>
                    <a:pt x="91" y="459"/>
                    <a:pt x="68" y="474"/>
                  </a:cubicBezTo>
                  <a:cubicBezTo>
                    <a:pt x="61" y="482"/>
                    <a:pt x="38" y="474"/>
                    <a:pt x="15" y="474"/>
                  </a:cubicBezTo>
                  <a:lnTo>
                    <a:pt x="15" y="474"/>
                  </a:lnTo>
                  <a:cubicBezTo>
                    <a:pt x="23" y="505"/>
                    <a:pt x="30" y="535"/>
                    <a:pt x="30" y="573"/>
                  </a:cubicBezTo>
                  <a:cubicBezTo>
                    <a:pt x="30" y="604"/>
                    <a:pt x="15" y="634"/>
                    <a:pt x="7" y="665"/>
                  </a:cubicBezTo>
                  <a:cubicBezTo>
                    <a:pt x="0" y="680"/>
                    <a:pt x="7" y="696"/>
                    <a:pt x="7" y="719"/>
                  </a:cubicBezTo>
                  <a:cubicBezTo>
                    <a:pt x="7" y="757"/>
                    <a:pt x="15" y="803"/>
                    <a:pt x="23" y="848"/>
                  </a:cubicBezTo>
                  <a:lnTo>
                    <a:pt x="23" y="848"/>
                  </a:lnTo>
                  <a:cubicBezTo>
                    <a:pt x="76" y="848"/>
                    <a:pt x="137" y="825"/>
                    <a:pt x="183" y="841"/>
                  </a:cubicBezTo>
                  <a:cubicBezTo>
                    <a:pt x="206" y="856"/>
                    <a:pt x="175" y="909"/>
                    <a:pt x="198" y="917"/>
                  </a:cubicBezTo>
                  <a:cubicBezTo>
                    <a:pt x="244" y="932"/>
                    <a:pt x="298" y="917"/>
                    <a:pt x="343" y="909"/>
                  </a:cubicBezTo>
                  <a:cubicBezTo>
                    <a:pt x="382" y="909"/>
                    <a:pt x="420" y="894"/>
                    <a:pt x="458" y="909"/>
                  </a:cubicBezTo>
                  <a:cubicBezTo>
                    <a:pt x="489" y="925"/>
                    <a:pt x="504" y="963"/>
                    <a:pt x="527" y="986"/>
                  </a:cubicBezTo>
                  <a:cubicBezTo>
                    <a:pt x="565" y="1016"/>
                    <a:pt x="603" y="1032"/>
                    <a:pt x="641" y="1055"/>
                  </a:cubicBezTo>
                  <a:cubicBezTo>
                    <a:pt x="664" y="1078"/>
                    <a:pt x="672" y="1108"/>
                    <a:pt x="695" y="1123"/>
                  </a:cubicBezTo>
                  <a:cubicBezTo>
                    <a:pt x="733" y="1154"/>
                    <a:pt x="779" y="1184"/>
                    <a:pt x="832" y="1200"/>
                  </a:cubicBezTo>
                  <a:cubicBezTo>
                    <a:pt x="871" y="1200"/>
                    <a:pt x="901" y="1161"/>
                    <a:pt x="939" y="1161"/>
                  </a:cubicBezTo>
                  <a:cubicBezTo>
                    <a:pt x="970" y="1161"/>
                    <a:pt x="993" y="1192"/>
                    <a:pt x="1023" y="1200"/>
                  </a:cubicBezTo>
                  <a:cubicBezTo>
                    <a:pt x="1054" y="1200"/>
                    <a:pt x="1092" y="1169"/>
                    <a:pt x="1123" y="1184"/>
                  </a:cubicBezTo>
                  <a:cubicBezTo>
                    <a:pt x="1168" y="1215"/>
                    <a:pt x="1184" y="1291"/>
                    <a:pt x="1229" y="1330"/>
                  </a:cubicBezTo>
                  <a:cubicBezTo>
                    <a:pt x="1245" y="1345"/>
                    <a:pt x="1283" y="1307"/>
                    <a:pt x="1298" y="1330"/>
                  </a:cubicBezTo>
                  <a:cubicBezTo>
                    <a:pt x="1306" y="1353"/>
                    <a:pt x="1275" y="1414"/>
                    <a:pt x="1275" y="1436"/>
                  </a:cubicBezTo>
                  <a:lnTo>
                    <a:pt x="1275" y="1436"/>
                  </a:lnTo>
                  <a:cubicBezTo>
                    <a:pt x="1290" y="1444"/>
                    <a:pt x="1306" y="1444"/>
                    <a:pt x="1321" y="1444"/>
                  </a:cubicBezTo>
                  <a:cubicBezTo>
                    <a:pt x="1367" y="1444"/>
                    <a:pt x="1413" y="1475"/>
                    <a:pt x="1459" y="1475"/>
                  </a:cubicBezTo>
                  <a:cubicBezTo>
                    <a:pt x="1459" y="1436"/>
                    <a:pt x="1451" y="1383"/>
                    <a:pt x="1443" y="1337"/>
                  </a:cubicBezTo>
                  <a:cubicBezTo>
                    <a:pt x="1482" y="1230"/>
                    <a:pt x="1474" y="1146"/>
                    <a:pt x="1596" y="1100"/>
                  </a:cubicBezTo>
                  <a:cubicBezTo>
                    <a:pt x="1703" y="1055"/>
                    <a:pt x="1802" y="1009"/>
                    <a:pt x="1909" y="986"/>
                  </a:cubicBezTo>
                  <a:cubicBezTo>
                    <a:pt x="2169" y="932"/>
                    <a:pt x="2169" y="665"/>
                    <a:pt x="2077" y="474"/>
                  </a:cubicBezTo>
                  <a:cubicBezTo>
                    <a:pt x="2054" y="413"/>
                    <a:pt x="2138" y="428"/>
                    <a:pt x="2169" y="390"/>
                  </a:cubicBezTo>
                  <a:cubicBezTo>
                    <a:pt x="2345" y="222"/>
                    <a:pt x="1963" y="268"/>
                    <a:pt x="1886" y="291"/>
                  </a:cubicBezTo>
                  <a:cubicBezTo>
                    <a:pt x="1764" y="321"/>
                    <a:pt x="1627" y="291"/>
                    <a:pt x="1520" y="359"/>
                  </a:cubicBezTo>
                  <a:cubicBezTo>
                    <a:pt x="1489" y="375"/>
                    <a:pt x="1298" y="405"/>
                    <a:pt x="1382" y="344"/>
                  </a:cubicBezTo>
                  <a:cubicBezTo>
                    <a:pt x="1497" y="268"/>
                    <a:pt x="1084" y="39"/>
                    <a:pt x="1077" y="169"/>
                  </a:cubicBezTo>
                  <a:cubicBezTo>
                    <a:pt x="1077" y="268"/>
                    <a:pt x="1000" y="268"/>
                    <a:pt x="939" y="260"/>
                  </a:cubicBezTo>
                  <a:lnTo>
                    <a:pt x="939" y="260"/>
                  </a:lnTo>
                  <a:cubicBezTo>
                    <a:pt x="932" y="291"/>
                    <a:pt x="924" y="291"/>
                    <a:pt x="916" y="314"/>
                  </a:cubicBezTo>
                  <a:cubicBezTo>
                    <a:pt x="909" y="336"/>
                    <a:pt x="924" y="367"/>
                    <a:pt x="909" y="375"/>
                  </a:cubicBezTo>
                  <a:cubicBezTo>
                    <a:pt x="863" y="390"/>
                    <a:pt x="817" y="382"/>
                    <a:pt x="771" y="367"/>
                  </a:cubicBezTo>
                  <a:cubicBezTo>
                    <a:pt x="748" y="359"/>
                    <a:pt x="741" y="336"/>
                    <a:pt x="718" y="321"/>
                  </a:cubicBezTo>
                  <a:cubicBezTo>
                    <a:pt x="702" y="306"/>
                    <a:pt x="672" y="275"/>
                    <a:pt x="657" y="291"/>
                  </a:cubicBezTo>
                  <a:cubicBezTo>
                    <a:pt x="634" y="298"/>
                    <a:pt x="664" y="344"/>
                    <a:pt x="641" y="352"/>
                  </a:cubicBezTo>
                  <a:cubicBezTo>
                    <a:pt x="618" y="367"/>
                    <a:pt x="580" y="359"/>
                    <a:pt x="557" y="344"/>
                  </a:cubicBezTo>
                  <a:cubicBezTo>
                    <a:pt x="542" y="336"/>
                    <a:pt x="565" y="314"/>
                    <a:pt x="573" y="306"/>
                  </a:cubicBezTo>
                  <a:cubicBezTo>
                    <a:pt x="588" y="283"/>
                    <a:pt x="588" y="260"/>
                    <a:pt x="603" y="245"/>
                  </a:cubicBezTo>
                  <a:cubicBezTo>
                    <a:pt x="634" y="207"/>
                    <a:pt x="679" y="199"/>
                    <a:pt x="702" y="161"/>
                  </a:cubicBezTo>
                  <a:cubicBezTo>
                    <a:pt x="718" y="146"/>
                    <a:pt x="702" y="115"/>
                    <a:pt x="695" y="100"/>
                  </a:cubicBezTo>
                  <a:cubicBezTo>
                    <a:pt x="679" y="77"/>
                    <a:pt x="687" y="92"/>
                    <a:pt x="672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" name="Freeform 107"/>
            <p:cNvSpPr>
              <a:spLocks noChangeArrowheads="1"/>
            </p:cNvSpPr>
            <p:nvPr/>
          </p:nvSpPr>
          <p:spPr bwMode="auto">
            <a:xfrm>
              <a:off x="8190966" y="9015413"/>
              <a:ext cx="203187" cy="131762"/>
            </a:xfrm>
            <a:custGeom>
              <a:avLst/>
              <a:gdLst>
                <a:gd name="T0" fmla="*/ 397 w 566"/>
                <a:gd name="T1" fmla="*/ 237 h 368"/>
                <a:gd name="T2" fmla="*/ 397 w 566"/>
                <a:gd name="T3" fmla="*/ 237 h 368"/>
                <a:gd name="T4" fmla="*/ 321 w 566"/>
                <a:gd name="T5" fmla="*/ 207 h 368"/>
                <a:gd name="T6" fmla="*/ 382 w 566"/>
                <a:gd name="T7" fmla="*/ 153 h 368"/>
                <a:gd name="T8" fmla="*/ 512 w 566"/>
                <a:gd name="T9" fmla="*/ 61 h 368"/>
                <a:gd name="T10" fmla="*/ 275 w 566"/>
                <a:gd name="T11" fmla="*/ 16 h 368"/>
                <a:gd name="T12" fmla="*/ 130 w 566"/>
                <a:gd name="T13" fmla="*/ 46 h 368"/>
                <a:gd name="T14" fmla="*/ 130 w 566"/>
                <a:gd name="T15" fmla="*/ 46 h 368"/>
                <a:gd name="T16" fmla="*/ 153 w 566"/>
                <a:gd name="T17" fmla="*/ 77 h 368"/>
                <a:gd name="T18" fmla="*/ 160 w 566"/>
                <a:gd name="T19" fmla="*/ 138 h 368"/>
                <a:gd name="T20" fmla="*/ 61 w 566"/>
                <a:gd name="T21" fmla="*/ 222 h 368"/>
                <a:gd name="T22" fmla="*/ 31 w 566"/>
                <a:gd name="T23" fmla="*/ 283 h 368"/>
                <a:gd name="T24" fmla="*/ 15 w 566"/>
                <a:gd name="T25" fmla="*/ 321 h 368"/>
                <a:gd name="T26" fmla="*/ 99 w 566"/>
                <a:gd name="T27" fmla="*/ 329 h 368"/>
                <a:gd name="T28" fmla="*/ 115 w 566"/>
                <a:gd name="T29" fmla="*/ 268 h 368"/>
                <a:gd name="T30" fmla="*/ 176 w 566"/>
                <a:gd name="T31" fmla="*/ 298 h 368"/>
                <a:gd name="T32" fmla="*/ 229 w 566"/>
                <a:gd name="T33" fmla="*/ 344 h 368"/>
                <a:gd name="T34" fmla="*/ 367 w 566"/>
                <a:gd name="T35" fmla="*/ 352 h 368"/>
                <a:gd name="T36" fmla="*/ 374 w 566"/>
                <a:gd name="T37" fmla="*/ 291 h 368"/>
                <a:gd name="T38" fmla="*/ 397 w 566"/>
                <a:gd name="T39" fmla="*/ 23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6" h="368">
                  <a:moveTo>
                    <a:pt x="397" y="237"/>
                  </a:moveTo>
                  <a:lnTo>
                    <a:pt x="397" y="237"/>
                  </a:lnTo>
                  <a:cubicBezTo>
                    <a:pt x="351" y="230"/>
                    <a:pt x="313" y="207"/>
                    <a:pt x="321" y="207"/>
                  </a:cubicBezTo>
                  <a:cubicBezTo>
                    <a:pt x="336" y="191"/>
                    <a:pt x="359" y="153"/>
                    <a:pt x="382" y="153"/>
                  </a:cubicBezTo>
                  <a:cubicBezTo>
                    <a:pt x="412" y="146"/>
                    <a:pt x="565" y="138"/>
                    <a:pt x="512" y="61"/>
                  </a:cubicBezTo>
                  <a:cubicBezTo>
                    <a:pt x="466" y="0"/>
                    <a:pt x="351" y="31"/>
                    <a:pt x="275" y="16"/>
                  </a:cubicBezTo>
                  <a:cubicBezTo>
                    <a:pt x="191" y="0"/>
                    <a:pt x="160" y="23"/>
                    <a:pt x="130" y="46"/>
                  </a:cubicBezTo>
                  <a:lnTo>
                    <a:pt x="130" y="46"/>
                  </a:lnTo>
                  <a:cubicBezTo>
                    <a:pt x="145" y="69"/>
                    <a:pt x="137" y="54"/>
                    <a:pt x="153" y="77"/>
                  </a:cubicBezTo>
                  <a:cubicBezTo>
                    <a:pt x="160" y="92"/>
                    <a:pt x="176" y="123"/>
                    <a:pt x="160" y="138"/>
                  </a:cubicBezTo>
                  <a:cubicBezTo>
                    <a:pt x="137" y="176"/>
                    <a:pt x="92" y="184"/>
                    <a:pt x="61" y="222"/>
                  </a:cubicBezTo>
                  <a:cubicBezTo>
                    <a:pt x="46" y="237"/>
                    <a:pt x="46" y="260"/>
                    <a:pt x="31" y="283"/>
                  </a:cubicBezTo>
                  <a:cubicBezTo>
                    <a:pt x="23" y="291"/>
                    <a:pt x="0" y="313"/>
                    <a:pt x="15" y="321"/>
                  </a:cubicBezTo>
                  <a:cubicBezTo>
                    <a:pt x="38" y="336"/>
                    <a:pt x="76" y="344"/>
                    <a:pt x="99" y="329"/>
                  </a:cubicBezTo>
                  <a:cubicBezTo>
                    <a:pt x="122" y="321"/>
                    <a:pt x="92" y="275"/>
                    <a:pt x="115" y="268"/>
                  </a:cubicBezTo>
                  <a:cubicBezTo>
                    <a:pt x="130" y="252"/>
                    <a:pt x="160" y="283"/>
                    <a:pt x="176" y="298"/>
                  </a:cubicBezTo>
                  <a:cubicBezTo>
                    <a:pt x="199" y="313"/>
                    <a:pt x="206" y="336"/>
                    <a:pt x="229" y="344"/>
                  </a:cubicBezTo>
                  <a:cubicBezTo>
                    <a:pt x="275" y="359"/>
                    <a:pt x="321" y="367"/>
                    <a:pt x="367" y="352"/>
                  </a:cubicBezTo>
                  <a:cubicBezTo>
                    <a:pt x="382" y="344"/>
                    <a:pt x="367" y="313"/>
                    <a:pt x="374" y="291"/>
                  </a:cubicBezTo>
                  <a:cubicBezTo>
                    <a:pt x="382" y="268"/>
                    <a:pt x="390" y="268"/>
                    <a:pt x="397" y="2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" name="Freeform 108"/>
            <p:cNvSpPr>
              <a:spLocks noChangeArrowheads="1"/>
            </p:cNvSpPr>
            <p:nvPr/>
          </p:nvSpPr>
          <p:spPr bwMode="auto">
            <a:xfrm>
              <a:off x="7267102" y="6611938"/>
              <a:ext cx="169852" cy="169862"/>
            </a:xfrm>
            <a:custGeom>
              <a:avLst/>
              <a:gdLst>
                <a:gd name="T0" fmla="*/ 473 w 474"/>
                <a:gd name="T1" fmla="*/ 175 h 474"/>
                <a:gd name="T2" fmla="*/ 473 w 474"/>
                <a:gd name="T3" fmla="*/ 175 h 474"/>
                <a:gd name="T4" fmla="*/ 450 w 474"/>
                <a:gd name="T5" fmla="*/ 351 h 474"/>
                <a:gd name="T6" fmla="*/ 466 w 474"/>
                <a:gd name="T7" fmla="*/ 458 h 474"/>
                <a:gd name="T8" fmla="*/ 466 w 474"/>
                <a:gd name="T9" fmla="*/ 458 h 474"/>
                <a:gd name="T10" fmla="*/ 359 w 474"/>
                <a:gd name="T11" fmla="*/ 465 h 474"/>
                <a:gd name="T12" fmla="*/ 252 w 474"/>
                <a:gd name="T13" fmla="*/ 473 h 474"/>
                <a:gd name="T14" fmla="*/ 183 w 474"/>
                <a:gd name="T15" fmla="*/ 465 h 474"/>
                <a:gd name="T16" fmla="*/ 84 w 474"/>
                <a:gd name="T17" fmla="*/ 404 h 474"/>
                <a:gd name="T18" fmla="*/ 23 w 474"/>
                <a:gd name="T19" fmla="*/ 252 h 474"/>
                <a:gd name="T20" fmla="*/ 15 w 474"/>
                <a:gd name="T21" fmla="*/ 190 h 474"/>
                <a:gd name="T22" fmla="*/ 76 w 474"/>
                <a:gd name="T23" fmla="*/ 198 h 474"/>
                <a:gd name="T24" fmla="*/ 68 w 474"/>
                <a:gd name="T25" fmla="*/ 145 h 474"/>
                <a:gd name="T26" fmla="*/ 122 w 474"/>
                <a:gd name="T27" fmla="*/ 160 h 474"/>
                <a:gd name="T28" fmla="*/ 122 w 474"/>
                <a:gd name="T29" fmla="*/ 76 h 474"/>
                <a:gd name="T30" fmla="*/ 229 w 474"/>
                <a:gd name="T31" fmla="*/ 22 h 474"/>
                <a:gd name="T32" fmla="*/ 313 w 474"/>
                <a:gd name="T33" fmla="*/ 7 h 474"/>
                <a:gd name="T34" fmla="*/ 381 w 474"/>
                <a:gd name="T35" fmla="*/ 45 h 474"/>
                <a:gd name="T36" fmla="*/ 381 w 474"/>
                <a:gd name="T37" fmla="*/ 106 h 474"/>
                <a:gd name="T38" fmla="*/ 366 w 474"/>
                <a:gd name="T39" fmla="*/ 183 h 474"/>
                <a:gd name="T40" fmla="*/ 397 w 474"/>
                <a:gd name="T41" fmla="*/ 190 h 474"/>
                <a:gd name="T42" fmla="*/ 473 w 474"/>
                <a:gd name="T43" fmla="*/ 175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4" h="474">
                  <a:moveTo>
                    <a:pt x="473" y="175"/>
                  </a:moveTo>
                  <a:lnTo>
                    <a:pt x="473" y="175"/>
                  </a:lnTo>
                  <a:cubicBezTo>
                    <a:pt x="466" y="236"/>
                    <a:pt x="450" y="290"/>
                    <a:pt x="450" y="351"/>
                  </a:cubicBezTo>
                  <a:cubicBezTo>
                    <a:pt x="450" y="389"/>
                    <a:pt x="458" y="420"/>
                    <a:pt x="466" y="458"/>
                  </a:cubicBezTo>
                  <a:lnTo>
                    <a:pt x="466" y="458"/>
                  </a:lnTo>
                  <a:cubicBezTo>
                    <a:pt x="427" y="458"/>
                    <a:pt x="389" y="465"/>
                    <a:pt x="359" y="465"/>
                  </a:cubicBezTo>
                  <a:cubicBezTo>
                    <a:pt x="320" y="465"/>
                    <a:pt x="282" y="465"/>
                    <a:pt x="252" y="473"/>
                  </a:cubicBezTo>
                  <a:cubicBezTo>
                    <a:pt x="229" y="473"/>
                    <a:pt x="206" y="473"/>
                    <a:pt x="183" y="465"/>
                  </a:cubicBezTo>
                  <a:cubicBezTo>
                    <a:pt x="145" y="450"/>
                    <a:pt x="106" y="435"/>
                    <a:pt x="84" y="404"/>
                  </a:cubicBezTo>
                  <a:cubicBezTo>
                    <a:pt x="45" y="358"/>
                    <a:pt x="38" y="305"/>
                    <a:pt x="23" y="252"/>
                  </a:cubicBezTo>
                  <a:cubicBezTo>
                    <a:pt x="15" y="236"/>
                    <a:pt x="0" y="206"/>
                    <a:pt x="15" y="190"/>
                  </a:cubicBezTo>
                  <a:cubicBezTo>
                    <a:pt x="30" y="175"/>
                    <a:pt x="61" y="206"/>
                    <a:pt x="76" y="198"/>
                  </a:cubicBezTo>
                  <a:cubicBezTo>
                    <a:pt x="91" y="183"/>
                    <a:pt x="61" y="152"/>
                    <a:pt x="68" y="145"/>
                  </a:cubicBezTo>
                  <a:cubicBezTo>
                    <a:pt x="84" y="137"/>
                    <a:pt x="114" y="175"/>
                    <a:pt x="122" y="160"/>
                  </a:cubicBezTo>
                  <a:cubicBezTo>
                    <a:pt x="137" y="137"/>
                    <a:pt x="106" y="99"/>
                    <a:pt x="122" y="76"/>
                  </a:cubicBezTo>
                  <a:cubicBezTo>
                    <a:pt x="145" y="45"/>
                    <a:pt x="191" y="38"/>
                    <a:pt x="229" y="22"/>
                  </a:cubicBezTo>
                  <a:cubicBezTo>
                    <a:pt x="252" y="15"/>
                    <a:pt x="282" y="0"/>
                    <a:pt x="313" y="7"/>
                  </a:cubicBezTo>
                  <a:cubicBezTo>
                    <a:pt x="343" y="7"/>
                    <a:pt x="366" y="22"/>
                    <a:pt x="381" y="45"/>
                  </a:cubicBezTo>
                  <a:cubicBezTo>
                    <a:pt x="389" y="68"/>
                    <a:pt x="381" y="91"/>
                    <a:pt x="381" y="106"/>
                  </a:cubicBezTo>
                  <a:cubicBezTo>
                    <a:pt x="374" y="137"/>
                    <a:pt x="359" y="160"/>
                    <a:pt x="366" y="183"/>
                  </a:cubicBezTo>
                  <a:cubicBezTo>
                    <a:pt x="366" y="198"/>
                    <a:pt x="381" y="190"/>
                    <a:pt x="397" y="190"/>
                  </a:cubicBezTo>
                  <a:cubicBezTo>
                    <a:pt x="420" y="190"/>
                    <a:pt x="443" y="183"/>
                    <a:pt x="473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109"/>
            <p:cNvSpPr>
              <a:spLocks noChangeArrowheads="1"/>
            </p:cNvSpPr>
            <p:nvPr/>
          </p:nvSpPr>
          <p:spPr bwMode="auto">
            <a:xfrm>
              <a:off x="7338535" y="6503988"/>
              <a:ext cx="720678" cy="569912"/>
            </a:xfrm>
            <a:custGeom>
              <a:avLst/>
              <a:gdLst>
                <a:gd name="T0" fmla="*/ 1421 w 2002"/>
                <a:gd name="T1" fmla="*/ 7 h 1582"/>
                <a:gd name="T2" fmla="*/ 1421 w 2002"/>
                <a:gd name="T3" fmla="*/ 7 h 1582"/>
                <a:gd name="T4" fmla="*/ 1390 w 2002"/>
                <a:gd name="T5" fmla="*/ 76 h 1582"/>
                <a:gd name="T6" fmla="*/ 1207 w 2002"/>
                <a:gd name="T7" fmla="*/ 68 h 1582"/>
                <a:gd name="T8" fmla="*/ 1092 w 2002"/>
                <a:gd name="T9" fmla="*/ 0 h 1582"/>
                <a:gd name="T10" fmla="*/ 1024 w 2002"/>
                <a:gd name="T11" fmla="*/ 84 h 1582"/>
                <a:gd name="T12" fmla="*/ 894 w 2002"/>
                <a:gd name="T13" fmla="*/ 206 h 1582"/>
                <a:gd name="T14" fmla="*/ 794 w 2002"/>
                <a:gd name="T15" fmla="*/ 198 h 1582"/>
                <a:gd name="T16" fmla="*/ 695 w 2002"/>
                <a:gd name="T17" fmla="*/ 275 h 1582"/>
                <a:gd name="T18" fmla="*/ 650 w 2002"/>
                <a:gd name="T19" fmla="*/ 328 h 1582"/>
                <a:gd name="T20" fmla="*/ 642 w 2002"/>
                <a:gd name="T21" fmla="*/ 420 h 1582"/>
                <a:gd name="T22" fmla="*/ 550 w 2002"/>
                <a:gd name="T23" fmla="*/ 366 h 1582"/>
                <a:gd name="T24" fmla="*/ 382 w 2002"/>
                <a:gd name="T25" fmla="*/ 397 h 1582"/>
                <a:gd name="T26" fmla="*/ 275 w 2002"/>
                <a:gd name="T27" fmla="*/ 473 h 1582"/>
                <a:gd name="T28" fmla="*/ 275 w 2002"/>
                <a:gd name="T29" fmla="*/ 473 h 1582"/>
                <a:gd name="T30" fmla="*/ 252 w 2002"/>
                <a:gd name="T31" fmla="*/ 649 h 1582"/>
                <a:gd name="T32" fmla="*/ 268 w 2002"/>
                <a:gd name="T33" fmla="*/ 756 h 1582"/>
                <a:gd name="T34" fmla="*/ 268 w 2002"/>
                <a:gd name="T35" fmla="*/ 756 h 1582"/>
                <a:gd name="T36" fmla="*/ 245 w 2002"/>
                <a:gd name="T37" fmla="*/ 848 h 1582"/>
                <a:gd name="T38" fmla="*/ 268 w 2002"/>
                <a:gd name="T39" fmla="*/ 931 h 1582"/>
                <a:gd name="T40" fmla="*/ 252 w 2002"/>
                <a:gd name="T41" fmla="*/ 1054 h 1582"/>
                <a:gd name="T42" fmla="*/ 199 w 2002"/>
                <a:gd name="T43" fmla="*/ 1100 h 1582"/>
                <a:gd name="T44" fmla="*/ 214 w 2002"/>
                <a:gd name="T45" fmla="*/ 1130 h 1582"/>
                <a:gd name="T46" fmla="*/ 291 w 2002"/>
                <a:gd name="T47" fmla="*/ 1153 h 1582"/>
                <a:gd name="T48" fmla="*/ 291 w 2002"/>
                <a:gd name="T49" fmla="*/ 1184 h 1582"/>
                <a:gd name="T50" fmla="*/ 214 w 2002"/>
                <a:gd name="T51" fmla="*/ 1199 h 1582"/>
                <a:gd name="T52" fmla="*/ 168 w 2002"/>
                <a:gd name="T53" fmla="*/ 1237 h 1582"/>
                <a:gd name="T54" fmla="*/ 61 w 2002"/>
                <a:gd name="T55" fmla="*/ 1214 h 1582"/>
                <a:gd name="T56" fmla="*/ 0 w 2002"/>
                <a:gd name="T57" fmla="*/ 1298 h 1582"/>
                <a:gd name="T58" fmla="*/ 84 w 2002"/>
                <a:gd name="T59" fmla="*/ 1344 h 1582"/>
                <a:gd name="T60" fmla="*/ 84 w 2002"/>
                <a:gd name="T61" fmla="*/ 1344 h 1582"/>
                <a:gd name="T62" fmla="*/ 245 w 2002"/>
                <a:gd name="T63" fmla="*/ 1336 h 1582"/>
                <a:gd name="T64" fmla="*/ 359 w 2002"/>
                <a:gd name="T65" fmla="*/ 1390 h 1582"/>
                <a:gd name="T66" fmla="*/ 359 w 2002"/>
                <a:gd name="T67" fmla="*/ 1390 h 1582"/>
                <a:gd name="T68" fmla="*/ 413 w 2002"/>
                <a:gd name="T69" fmla="*/ 1405 h 1582"/>
                <a:gd name="T70" fmla="*/ 619 w 2002"/>
                <a:gd name="T71" fmla="*/ 1275 h 1582"/>
                <a:gd name="T72" fmla="*/ 657 w 2002"/>
                <a:gd name="T73" fmla="*/ 1222 h 1582"/>
                <a:gd name="T74" fmla="*/ 657 w 2002"/>
                <a:gd name="T75" fmla="*/ 1222 h 1582"/>
                <a:gd name="T76" fmla="*/ 741 w 2002"/>
                <a:gd name="T77" fmla="*/ 1168 h 1582"/>
                <a:gd name="T78" fmla="*/ 856 w 2002"/>
                <a:gd name="T79" fmla="*/ 1176 h 1582"/>
                <a:gd name="T80" fmla="*/ 925 w 2002"/>
                <a:gd name="T81" fmla="*/ 1206 h 1582"/>
                <a:gd name="T82" fmla="*/ 1031 w 2002"/>
                <a:gd name="T83" fmla="*/ 1184 h 1582"/>
                <a:gd name="T84" fmla="*/ 1054 w 2002"/>
                <a:gd name="T85" fmla="*/ 1184 h 1582"/>
                <a:gd name="T86" fmla="*/ 1054 w 2002"/>
                <a:gd name="T87" fmla="*/ 1184 h 1582"/>
                <a:gd name="T88" fmla="*/ 1085 w 2002"/>
                <a:gd name="T89" fmla="*/ 1015 h 1582"/>
                <a:gd name="T90" fmla="*/ 1123 w 2002"/>
                <a:gd name="T91" fmla="*/ 954 h 1582"/>
                <a:gd name="T92" fmla="*/ 1200 w 2002"/>
                <a:gd name="T93" fmla="*/ 939 h 1582"/>
                <a:gd name="T94" fmla="*/ 1314 w 2002"/>
                <a:gd name="T95" fmla="*/ 1008 h 1582"/>
                <a:gd name="T96" fmla="*/ 1299 w 2002"/>
                <a:gd name="T97" fmla="*/ 1130 h 1582"/>
                <a:gd name="T98" fmla="*/ 1299 w 2002"/>
                <a:gd name="T99" fmla="*/ 1130 h 1582"/>
                <a:gd name="T100" fmla="*/ 1383 w 2002"/>
                <a:gd name="T101" fmla="*/ 1199 h 1582"/>
                <a:gd name="T102" fmla="*/ 1658 w 2002"/>
                <a:gd name="T103" fmla="*/ 1420 h 1582"/>
                <a:gd name="T104" fmla="*/ 1872 w 2002"/>
                <a:gd name="T105" fmla="*/ 1413 h 1582"/>
                <a:gd name="T106" fmla="*/ 1917 w 2002"/>
                <a:gd name="T107" fmla="*/ 1581 h 1582"/>
                <a:gd name="T108" fmla="*/ 1978 w 2002"/>
                <a:gd name="T109" fmla="*/ 1497 h 1582"/>
                <a:gd name="T110" fmla="*/ 1940 w 2002"/>
                <a:gd name="T111" fmla="*/ 1359 h 1582"/>
                <a:gd name="T112" fmla="*/ 1726 w 2002"/>
                <a:gd name="T113" fmla="*/ 1023 h 1582"/>
                <a:gd name="T114" fmla="*/ 1551 w 2002"/>
                <a:gd name="T115" fmla="*/ 748 h 1582"/>
                <a:gd name="T116" fmla="*/ 1490 w 2002"/>
                <a:gd name="T117" fmla="*/ 175 h 1582"/>
                <a:gd name="T118" fmla="*/ 1627 w 2002"/>
                <a:gd name="T119" fmla="*/ 137 h 1582"/>
                <a:gd name="T120" fmla="*/ 1490 w 2002"/>
                <a:gd name="T121" fmla="*/ 45 h 1582"/>
                <a:gd name="T122" fmla="*/ 1421 w 2002"/>
                <a:gd name="T123" fmla="*/ 7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02" h="1582">
                  <a:moveTo>
                    <a:pt x="1421" y="7"/>
                  </a:moveTo>
                  <a:lnTo>
                    <a:pt x="1421" y="7"/>
                  </a:lnTo>
                  <a:cubicBezTo>
                    <a:pt x="1413" y="38"/>
                    <a:pt x="1421" y="68"/>
                    <a:pt x="1390" y="76"/>
                  </a:cubicBezTo>
                  <a:cubicBezTo>
                    <a:pt x="1329" y="99"/>
                    <a:pt x="1261" y="84"/>
                    <a:pt x="1207" y="68"/>
                  </a:cubicBezTo>
                  <a:cubicBezTo>
                    <a:pt x="1161" y="61"/>
                    <a:pt x="1138" y="0"/>
                    <a:pt x="1092" y="0"/>
                  </a:cubicBezTo>
                  <a:cubicBezTo>
                    <a:pt x="1054" y="7"/>
                    <a:pt x="1047" y="61"/>
                    <a:pt x="1024" y="84"/>
                  </a:cubicBezTo>
                  <a:cubicBezTo>
                    <a:pt x="986" y="129"/>
                    <a:pt x="947" y="183"/>
                    <a:pt x="894" y="206"/>
                  </a:cubicBezTo>
                  <a:cubicBezTo>
                    <a:pt x="863" y="221"/>
                    <a:pt x="825" y="191"/>
                    <a:pt x="794" y="198"/>
                  </a:cubicBezTo>
                  <a:cubicBezTo>
                    <a:pt x="756" y="213"/>
                    <a:pt x="726" y="252"/>
                    <a:pt x="695" y="275"/>
                  </a:cubicBezTo>
                  <a:cubicBezTo>
                    <a:pt x="680" y="290"/>
                    <a:pt x="657" y="305"/>
                    <a:pt x="650" y="328"/>
                  </a:cubicBezTo>
                  <a:cubicBezTo>
                    <a:pt x="642" y="359"/>
                    <a:pt x="665" y="412"/>
                    <a:pt x="642" y="420"/>
                  </a:cubicBezTo>
                  <a:cubicBezTo>
                    <a:pt x="611" y="435"/>
                    <a:pt x="588" y="374"/>
                    <a:pt x="550" y="366"/>
                  </a:cubicBezTo>
                  <a:cubicBezTo>
                    <a:pt x="497" y="366"/>
                    <a:pt x="436" y="374"/>
                    <a:pt x="382" y="397"/>
                  </a:cubicBezTo>
                  <a:cubicBezTo>
                    <a:pt x="336" y="412"/>
                    <a:pt x="306" y="450"/>
                    <a:pt x="275" y="473"/>
                  </a:cubicBezTo>
                  <a:lnTo>
                    <a:pt x="275" y="473"/>
                  </a:lnTo>
                  <a:cubicBezTo>
                    <a:pt x="268" y="534"/>
                    <a:pt x="252" y="588"/>
                    <a:pt x="252" y="649"/>
                  </a:cubicBezTo>
                  <a:cubicBezTo>
                    <a:pt x="252" y="687"/>
                    <a:pt x="260" y="718"/>
                    <a:pt x="268" y="756"/>
                  </a:cubicBezTo>
                  <a:lnTo>
                    <a:pt x="268" y="756"/>
                  </a:lnTo>
                  <a:cubicBezTo>
                    <a:pt x="260" y="786"/>
                    <a:pt x="245" y="817"/>
                    <a:pt x="245" y="848"/>
                  </a:cubicBezTo>
                  <a:cubicBezTo>
                    <a:pt x="245" y="878"/>
                    <a:pt x="268" y="901"/>
                    <a:pt x="268" y="931"/>
                  </a:cubicBezTo>
                  <a:cubicBezTo>
                    <a:pt x="275" y="970"/>
                    <a:pt x="268" y="1015"/>
                    <a:pt x="252" y="1054"/>
                  </a:cubicBezTo>
                  <a:cubicBezTo>
                    <a:pt x="245" y="1077"/>
                    <a:pt x="214" y="1077"/>
                    <a:pt x="199" y="1100"/>
                  </a:cubicBezTo>
                  <a:cubicBezTo>
                    <a:pt x="199" y="1107"/>
                    <a:pt x="206" y="1123"/>
                    <a:pt x="214" y="1130"/>
                  </a:cubicBezTo>
                  <a:cubicBezTo>
                    <a:pt x="237" y="1145"/>
                    <a:pt x="275" y="1138"/>
                    <a:pt x="291" y="1153"/>
                  </a:cubicBezTo>
                  <a:cubicBezTo>
                    <a:pt x="306" y="1161"/>
                    <a:pt x="306" y="1184"/>
                    <a:pt x="291" y="1184"/>
                  </a:cubicBezTo>
                  <a:cubicBezTo>
                    <a:pt x="268" y="1199"/>
                    <a:pt x="237" y="1191"/>
                    <a:pt x="214" y="1199"/>
                  </a:cubicBezTo>
                  <a:cubicBezTo>
                    <a:pt x="199" y="1206"/>
                    <a:pt x="183" y="1229"/>
                    <a:pt x="168" y="1237"/>
                  </a:cubicBezTo>
                  <a:cubicBezTo>
                    <a:pt x="130" y="1237"/>
                    <a:pt x="92" y="1199"/>
                    <a:pt x="61" y="1214"/>
                  </a:cubicBezTo>
                  <a:cubicBezTo>
                    <a:pt x="31" y="1229"/>
                    <a:pt x="0" y="1260"/>
                    <a:pt x="0" y="1298"/>
                  </a:cubicBezTo>
                  <a:cubicBezTo>
                    <a:pt x="8" y="1329"/>
                    <a:pt x="54" y="1329"/>
                    <a:pt x="84" y="1344"/>
                  </a:cubicBezTo>
                  <a:lnTo>
                    <a:pt x="84" y="1344"/>
                  </a:lnTo>
                  <a:cubicBezTo>
                    <a:pt x="138" y="1344"/>
                    <a:pt x="191" y="1329"/>
                    <a:pt x="245" y="1336"/>
                  </a:cubicBezTo>
                  <a:cubicBezTo>
                    <a:pt x="291" y="1344"/>
                    <a:pt x="321" y="1375"/>
                    <a:pt x="359" y="1390"/>
                  </a:cubicBezTo>
                  <a:lnTo>
                    <a:pt x="359" y="1390"/>
                  </a:lnTo>
                  <a:cubicBezTo>
                    <a:pt x="382" y="1397"/>
                    <a:pt x="397" y="1413"/>
                    <a:pt x="413" y="1405"/>
                  </a:cubicBezTo>
                  <a:cubicBezTo>
                    <a:pt x="489" y="1375"/>
                    <a:pt x="558" y="1329"/>
                    <a:pt x="619" y="1275"/>
                  </a:cubicBezTo>
                  <a:cubicBezTo>
                    <a:pt x="642" y="1252"/>
                    <a:pt x="634" y="1245"/>
                    <a:pt x="657" y="1222"/>
                  </a:cubicBezTo>
                  <a:lnTo>
                    <a:pt x="657" y="1222"/>
                  </a:lnTo>
                  <a:cubicBezTo>
                    <a:pt x="665" y="1206"/>
                    <a:pt x="733" y="1168"/>
                    <a:pt x="741" y="1168"/>
                  </a:cubicBezTo>
                  <a:cubicBezTo>
                    <a:pt x="772" y="1153"/>
                    <a:pt x="833" y="1153"/>
                    <a:pt x="856" y="1176"/>
                  </a:cubicBezTo>
                  <a:cubicBezTo>
                    <a:pt x="871" y="1199"/>
                    <a:pt x="902" y="1206"/>
                    <a:pt x="925" y="1206"/>
                  </a:cubicBezTo>
                  <a:cubicBezTo>
                    <a:pt x="963" y="1206"/>
                    <a:pt x="993" y="1184"/>
                    <a:pt x="1031" y="1184"/>
                  </a:cubicBezTo>
                  <a:cubicBezTo>
                    <a:pt x="1039" y="1184"/>
                    <a:pt x="1047" y="1184"/>
                    <a:pt x="1054" y="1184"/>
                  </a:cubicBezTo>
                  <a:lnTo>
                    <a:pt x="1054" y="1184"/>
                  </a:lnTo>
                  <a:cubicBezTo>
                    <a:pt x="1062" y="1123"/>
                    <a:pt x="1062" y="1069"/>
                    <a:pt x="1085" y="1015"/>
                  </a:cubicBezTo>
                  <a:cubicBezTo>
                    <a:pt x="1092" y="992"/>
                    <a:pt x="1108" y="970"/>
                    <a:pt x="1123" y="954"/>
                  </a:cubicBezTo>
                  <a:cubicBezTo>
                    <a:pt x="1146" y="939"/>
                    <a:pt x="1177" y="931"/>
                    <a:pt x="1200" y="939"/>
                  </a:cubicBezTo>
                  <a:cubicBezTo>
                    <a:pt x="1238" y="954"/>
                    <a:pt x="1283" y="970"/>
                    <a:pt x="1314" y="1008"/>
                  </a:cubicBezTo>
                  <a:cubicBezTo>
                    <a:pt x="1329" y="1031"/>
                    <a:pt x="1306" y="1100"/>
                    <a:pt x="1299" y="1130"/>
                  </a:cubicBezTo>
                  <a:lnTo>
                    <a:pt x="1299" y="1130"/>
                  </a:lnTo>
                  <a:cubicBezTo>
                    <a:pt x="1329" y="1145"/>
                    <a:pt x="1352" y="1161"/>
                    <a:pt x="1383" y="1199"/>
                  </a:cubicBezTo>
                  <a:cubicBezTo>
                    <a:pt x="1444" y="1275"/>
                    <a:pt x="1551" y="1443"/>
                    <a:pt x="1658" y="1420"/>
                  </a:cubicBezTo>
                  <a:cubicBezTo>
                    <a:pt x="1749" y="1405"/>
                    <a:pt x="1788" y="1375"/>
                    <a:pt x="1872" y="1413"/>
                  </a:cubicBezTo>
                  <a:cubicBezTo>
                    <a:pt x="2001" y="1466"/>
                    <a:pt x="1917" y="1504"/>
                    <a:pt x="1917" y="1581"/>
                  </a:cubicBezTo>
                  <a:cubicBezTo>
                    <a:pt x="1925" y="1558"/>
                    <a:pt x="1971" y="1550"/>
                    <a:pt x="1978" y="1497"/>
                  </a:cubicBezTo>
                  <a:cubicBezTo>
                    <a:pt x="1978" y="1436"/>
                    <a:pt x="1963" y="1405"/>
                    <a:pt x="1940" y="1359"/>
                  </a:cubicBezTo>
                  <a:cubicBezTo>
                    <a:pt x="1894" y="1237"/>
                    <a:pt x="1788" y="1130"/>
                    <a:pt x="1726" y="1023"/>
                  </a:cubicBezTo>
                  <a:cubicBezTo>
                    <a:pt x="1681" y="939"/>
                    <a:pt x="1574" y="825"/>
                    <a:pt x="1551" y="748"/>
                  </a:cubicBezTo>
                  <a:cubicBezTo>
                    <a:pt x="1467" y="580"/>
                    <a:pt x="1314" y="328"/>
                    <a:pt x="1490" y="175"/>
                  </a:cubicBezTo>
                  <a:cubicBezTo>
                    <a:pt x="1513" y="160"/>
                    <a:pt x="1619" y="160"/>
                    <a:pt x="1627" y="137"/>
                  </a:cubicBezTo>
                  <a:cubicBezTo>
                    <a:pt x="1642" y="106"/>
                    <a:pt x="1513" y="61"/>
                    <a:pt x="1490" y="45"/>
                  </a:cubicBezTo>
                  <a:cubicBezTo>
                    <a:pt x="1467" y="30"/>
                    <a:pt x="1444" y="15"/>
                    <a:pt x="1421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110"/>
            <p:cNvSpPr>
              <a:spLocks noChangeArrowheads="1"/>
            </p:cNvSpPr>
            <p:nvPr/>
          </p:nvSpPr>
          <p:spPr bwMode="auto">
            <a:xfrm>
              <a:off x="7717923" y="6838950"/>
              <a:ext cx="100006" cy="92075"/>
            </a:xfrm>
            <a:custGeom>
              <a:avLst/>
              <a:gdLst>
                <a:gd name="T0" fmla="*/ 0 w 276"/>
                <a:gd name="T1" fmla="*/ 253 h 254"/>
                <a:gd name="T2" fmla="*/ 0 w 276"/>
                <a:gd name="T3" fmla="*/ 253 h 254"/>
                <a:gd name="T4" fmla="*/ 245 w 276"/>
                <a:gd name="T5" fmla="*/ 199 h 254"/>
                <a:gd name="T6" fmla="*/ 245 w 276"/>
                <a:gd name="T7" fmla="*/ 199 h 254"/>
                <a:gd name="T8" fmla="*/ 260 w 276"/>
                <a:gd name="T9" fmla="*/ 77 h 254"/>
                <a:gd name="T10" fmla="*/ 146 w 276"/>
                <a:gd name="T11" fmla="*/ 8 h 254"/>
                <a:gd name="T12" fmla="*/ 69 w 276"/>
                <a:gd name="T13" fmla="*/ 23 h 254"/>
                <a:gd name="T14" fmla="*/ 31 w 276"/>
                <a:gd name="T15" fmla="*/ 84 h 254"/>
                <a:gd name="T16" fmla="*/ 0 w 276"/>
                <a:gd name="T17" fmla="*/ 25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254">
                  <a:moveTo>
                    <a:pt x="0" y="253"/>
                  </a:moveTo>
                  <a:lnTo>
                    <a:pt x="0" y="253"/>
                  </a:lnTo>
                  <a:cubicBezTo>
                    <a:pt x="100" y="245"/>
                    <a:pt x="168" y="176"/>
                    <a:pt x="245" y="199"/>
                  </a:cubicBezTo>
                  <a:lnTo>
                    <a:pt x="245" y="199"/>
                  </a:lnTo>
                  <a:cubicBezTo>
                    <a:pt x="252" y="169"/>
                    <a:pt x="275" y="100"/>
                    <a:pt x="260" y="77"/>
                  </a:cubicBezTo>
                  <a:cubicBezTo>
                    <a:pt x="229" y="39"/>
                    <a:pt x="184" y="23"/>
                    <a:pt x="146" y="8"/>
                  </a:cubicBezTo>
                  <a:cubicBezTo>
                    <a:pt x="123" y="0"/>
                    <a:pt x="92" y="8"/>
                    <a:pt x="69" y="23"/>
                  </a:cubicBezTo>
                  <a:cubicBezTo>
                    <a:pt x="54" y="39"/>
                    <a:pt x="38" y="61"/>
                    <a:pt x="31" y="84"/>
                  </a:cubicBezTo>
                  <a:cubicBezTo>
                    <a:pt x="8" y="138"/>
                    <a:pt x="8" y="192"/>
                    <a:pt x="0" y="2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111"/>
            <p:cNvSpPr>
              <a:spLocks noChangeArrowheads="1"/>
            </p:cNvSpPr>
            <p:nvPr/>
          </p:nvSpPr>
          <p:spPr bwMode="auto">
            <a:xfrm>
              <a:off x="7000419" y="6070601"/>
              <a:ext cx="169852" cy="150813"/>
            </a:xfrm>
            <a:custGeom>
              <a:avLst/>
              <a:gdLst>
                <a:gd name="T0" fmla="*/ 23 w 474"/>
                <a:gd name="T1" fmla="*/ 221 h 421"/>
                <a:gd name="T2" fmla="*/ 23 w 474"/>
                <a:gd name="T3" fmla="*/ 221 h 421"/>
                <a:gd name="T4" fmla="*/ 122 w 474"/>
                <a:gd name="T5" fmla="*/ 252 h 421"/>
                <a:gd name="T6" fmla="*/ 175 w 474"/>
                <a:gd name="T7" fmla="*/ 282 h 421"/>
                <a:gd name="T8" fmla="*/ 221 w 474"/>
                <a:gd name="T9" fmla="*/ 351 h 421"/>
                <a:gd name="T10" fmla="*/ 267 w 474"/>
                <a:gd name="T11" fmla="*/ 389 h 421"/>
                <a:gd name="T12" fmla="*/ 305 w 474"/>
                <a:gd name="T13" fmla="*/ 366 h 421"/>
                <a:gd name="T14" fmla="*/ 382 w 474"/>
                <a:gd name="T15" fmla="*/ 420 h 421"/>
                <a:gd name="T16" fmla="*/ 405 w 474"/>
                <a:gd name="T17" fmla="*/ 359 h 421"/>
                <a:gd name="T18" fmla="*/ 382 w 474"/>
                <a:gd name="T19" fmla="*/ 298 h 421"/>
                <a:gd name="T20" fmla="*/ 435 w 474"/>
                <a:gd name="T21" fmla="*/ 336 h 421"/>
                <a:gd name="T22" fmla="*/ 435 w 474"/>
                <a:gd name="T23" fmla="*/ 336 h 421"/>
                <a:gd name="T24" fmla="*/ 443 w 474"/>
                <a:gd name="T25" fmla="*/ 252 h 421"/>
                <a:gd name="T26" fmla="*/ 405 w 474"/>
                <a:gd name="T27" fmla="*/ 183 h 421"/>
                <a:gd name="T28" fmla="*/ 458 w 474"/>
                <a:gd name="T29" fmla="*/ 130 h 421"/>
                <a:gd name="T30" fmla="*/ 458 w 474"/>
                <a:gd name="T31" fmla="*/ 61 h 421"/>
                <a:gd name="T32" fmla="*/ 420 w 474"/>
                <a:gd name="T33" fmla="*/ 61 h 421"/>
                <a:gd name="T34" fmla="*/ 420 w 474"/>
                <a:gd name="T35" fmla="*/ 61 h 421"/>
                <a:gd name="T36" fmla="*/ 389 w 474"/>
                <a:gd name="T37" fmla="*/ 76 h 421"/>
                <a:gd name="T38" fmla="*/ 328 w 474"/>
                <a:gd name="T39" fmla="*/ 46 h 421"/>
                <a:gd name="T40" fmla="*/ 244 w 474"/>
                <a:gd name="T41" fmla="*/ 76 h 421"/>
                <a:gd name="T42" fmla="*/ 221 w 474"/>
                <a:gd name="T43" fmla="*/ 107 h 421"/>
                <a:gd name="T44" fmla="*/ 145 w 474"/>
                <a:gd name="T45" fmla="*/ 15 h 421"/>
                <a:gd name="T46" fmla="*/ 61 w 474"/>
                <a:gd name="T47" fmla="*/ 15 h 421"/>
                <a:gd name="T48" fmla="*/ 46 w 474"/>
                <a:gd name="T49" fmla="*/ 84 h 421"/>
                <a:gd name="T50" fmla="*/ 7 w 474"/>
                <a:gd name="T51" fmla="*/ 99 h 421"/>
                <a:gd name="T52" fmla="*/ 23 w 474"/>
                <a:gd name="T53" fmla="*/ 2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74" h="421">
                  <a:moveTo>
                    <a:pt x="23" y="221"/>
                  </a:moveTo>
                  <a:lnTo>
                    <a:pt x="23" y="221"/>
                  </a:lnTo>
                  <a:cubicBezTo>
                    <a:pt x="53" y="229"/>
                    <a:pt x="91" y="244"/>
                    <a:pt x="122" y="252"/>
                  </a:cubicBezTo>
                  <a:cubicBezTo>
                    <a:pt x="137" y="259"/>
                    <a:pt x="160" y="267"/>
                    <a:pt x="175" y="282"/>
                  </a:cubicBezTo>
                  <a:cubicBezTo>
                    <a:pt x="198" y="298"/>
                    <a:pt x="206" y="328"/>
                    <a:pt x="221" y="351"/>
                  </a:cubicBezTo>
                  <a:cubicBezTo>
                    <a:pt x="236" y="366"/>
                    <a:pt x="244" y="382"/>
                    <a:pt x="267" y="389"/>
                  </a:cubicBezTo>
                  <a:cubicBezTo>
                    <a:pt x="282" y="389"/>
                    <a:pt x="290" y="366"/>
                    <a:pt x="305" y="366"/>
                  </a:cubicBezTo>
                  <a:cubicBezTo>
                    <a:pt x="336" y="374"/>
                    <a:pt x="351" y="420"/>
                    <a:pt x="382" y="420"/>
                  </a:cubicBezTo>
                  <a:cubicBezTo>
                    <a:pt x="397" y="412"/>
                    <a:pt x="405" y="382"/>
                    <a:pt x="405" y="359"/>
                  </a:cubicBezTo>
                  <a:cubicBezTo>
                    <a:pt x="405" y="336"/>
                    <a:pt x="366" y="313"/>
                    <a:pt x="382" y="298"/>
                  </a:cubicBezTo>
                  <a:cubicBezTo>
                    <a:pt x="405" y="290"/>
                    <a:pt x="420" y="321"/>
                    <a:pt x="435" y="336"/>
                  </a:cubicBezTo>
                  <a:lnTo>
                    <a:pt x="435" y="336"/>
                  </a:lnTo>
                  <a:cubicBezTo>
                    <a:pt x="435" y="313"/>
                    <a:pt x="450" y="282"/>
                    <a:pt x="443" y="252"/>
                  </a:cubicBezTo>
                  <a:cubicBezTo>
                    <a:pt x="443" y="229"/>
                    <a:pt x="405" y="206"/>
                    <a:pt x="405" y="183"/>
                  </a:cubicBezTo>
                  <a:cubicBezTo>
                    <a:pt x="412" y="152"/>
                    <a:pt x="450" y="152"/>
                    <a:pt x="458" y="130"/>
                  </a:cubicBezTo>
                  <a:cubicBezTo>
                    <a:pt x="473" y="114"/>
                    <a:pt x="473" y="84"/>
                    <a:pt x="458" y="61"/>
                  </a:cubicBezTo>
                  <a:cubicBezTo>
                    <a:pt x="458" y="53"/>
                    <a:pt x="435" y="61"/>
                    <a:pt x="420" y="61"/>
                  </a:cubicBezTo>
                  <a:lnTo>
                    <a:pt x="420" y="61"/>
                  </a:lnTo>
                  <a:cubicBezTo>
                    <a:pt x="412" y="69"/>
                    <a:pt x="397" y="76"/>
                    <a:pt x="389" y="76"/>
                  </a:cubicBezTo>
                  <a:cubicBezTo>
                    <a:pt x="366" y="69"/>
                    <a:pt x="351" y="46"/>
                    <a:pt x="328" y="46"/>
                  </a:cubicBezTo>
                  <a:cubicBezTo>
                    <a:pt x="298" y="46"/>
                    <a:pt x="267" y="61"/>
                    <a:pt x="244" y="76"/>
                  </a:cubicBezTo>
                  <a:cubicBezTo>
                    <a:pt x="229" y="76"/>
                    <a:pt x="229" y="114"/>
                    <a:pt x="221" y="107"/>
                  </a:cubicBezTo>
                  <a:cubicBezTo>
                    <a:pt x="183" y="84"/>
                    <a:pt x="183" y="30"/>
                    <a:pt x="145" y="15"/>
                  </a:cubicBezTo>
                  <a:cubicBezTo>
                    <a:pt x="122" y="0"/>
                    <a:pt x="84" y="0"/>
                    <a:pt x="61" y="15"/>
                  </a:cubicBezTo>
                  <a:cubicBezTo>
                    <a:pt x="38" y="30"/>
                    <a:pt x="61" y="61"/>
                    <a:pt x="46" y="84"/>
                  </a:cubicBezTo>
                  <a:cubicBezTo>
                    <a:pt x="46" y="91"/>
                    <a:pt x="15" y="91"/>
                    <a:pt x="7" y="99"/>
                  </a:cubicBezTo>
                  <a:cubicBezTo>
                    <a:pt x="0" y="137"/>
                    <a:pt x="15" y="183"/>
                    <a:pt x="23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112"/>
            <p:cNvSpPr>
              <a:spLocks noChangeArrowheads="1"/>
            </p:cNvSpPr>
            <p:nvPr/>
          </p:nvSpPr>
          <p:spPr bwMode="auto">
            <a:xfrm>
              <a:off x="7230592" y="6091238"/>
              <a:ext cx="88894" cy="88900"/>
            </a:xfrm>
            <a:custGeom>
              <a:avLst/>
              <a:gdLst>
                <a:gd name="T0" fmla="*/ 100 w 246"/>
                <a:gd name="T1" fmla="*/ 221 h 245"/>
                <a:gd name="T2" fmla="*/ 100 w 246"/>
                <a:gd name="T3" fmla="*/ 221 h 245"/>
                <a:gd name="T4" fmla="*/ 237 w 246"/>
                <a:gd name="T5" fmla="*/ 244 h 245"/>
                <a:gd name="T6" fmla="*/ 237 w 246"/>
                <a:gd name="T7" fmla="*/ 244 h 245"/>
                <a:gd name="T8" fmla="*/ 237 w 246"/>
                <a:gd name="T9" fmla="*/ 198 h 245"/>
                <a:gd name="T10" fmla="*/ 184 w 246"/>
                <a:gd name="T11" fmla="*/ 175 h 245"/>
                <a:gd name="T12" fmla="*/ 153 w 246"/>
                <a:gd name="T13" fmla="*/ 130 h 245"/>
                <a:gd name="T14" fmla="*/ 199 w 246"/>
                <a:gd name="T15" fmla="*/ 107 h 245"/>
                <a:gd name="T16" fmla="*/ 153 w 246"/>
                <a:gd name="T17" fmla="*/ 38 h 245"/>
                <a:gd name="T18" fmla="*/ 153 w 246"/>
                <a:gd name="T19" fmla="*/ 38 h 245"/>
                <a:gd name="T20" fmla="*/ 69 w 246"/>
                <a:gd name="T21" fmla="*/ 8 h 245"/>
                <a:gd name="T22" fmla="*/ 46 w 246"/>
                <a:gd name="T23" fmla="*/ 61 h 245"/>
                <a:gd name="T24" fmla="*/ 31 w 246"/>
                <a:gd name="T25" fmla="*/ 76 h 245"/>
                <a:gd name="T26" fmla="*/ 46 w 246"/>
                <a:gd name="T27" fmla="*/ 99 h 245"/>
                <a:gd name="T28" fmla="*/ 16 w 246"/>
                <a:gd name="T29" fmla="*/ 206 h 245"/>
                <a:gd name="T30" fmla="*/ 100 w 246"/>
                <a:gd name="T31" fmla="*/ 22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6" h="245">
                  <a:moveTo>
                    <a:pt x="100" y="221"/>
                  </a:moveTo>
                  <a:lnTo>
                    <a:pt x="100" y="221"/>
                  </a:lnTo>
                  <a:cubicBezTo>
                    <a:pt x="237" y="244"/>
                    <a:pt x="237" y="244"/>
                    <a:pt x="237" y="244"/>
                  </a:cubicBezTo>
                  <a:lnTo>
                    <a:pt x="237" y="244"/>
                  </a:lnTo>
                  <a:cubicBezTo>
                    <a:pt x="237" y="229"/>
                    <a:pt x="245" y="214"/>
                    <a:pt x="237" y="198"/>
                  </a:cubicBezTo>
                  <a:cubicBezTo>
                    <a:pt x="229" y="183"/>
                    <a:pt x="199" y="191"/>
                    <a:pt x="184" y="175"/>
                  </a:cubicBezTo>
                  <a:cubicBezTo>
                    <a:pt x="168" y="168"/>
                    <a:pt x="153" y="145"/>
                    <a:pt x="153" y="130"/>
                  </a:cubicBezTo>
                  <a:cubicBezTo>
                    <a:pt x="161" y="114"/>
                    <a:pt x="199" y="122"/>
                    <a:pt x="199" y="107"/>
                  </a:cubicBezTo>
                  <a:cubicBezTo>
                    <a:pt x="199" y="76"/>
                    <a:pt x="168" y="61"/>
                    <a:pt x="153" y="38"/>
                  </a:cubicBezTo>
                  <a:lnTo>
                    <a:pt x="153" y="38"/>
                  </a:lnTo>
                  <a:cubicBezTo>
                    <a:pt x="123" y="30"/>
                    <a:pt x="100" y="0"/>
                    <a:pt x="69" y="8"/>
                  </a:cubicBezTo>
                  <a:cubicBezTo>
                    <a:pt x="54" y="8"/>
                    <a:pt x="62" y="46"/>
                    <a:pt x="46" y="61"/>
                  </a:cubicBezTo>
                  <a:cubicBezTo>
                    <a:pt x="39" y="69"/>
                    <a:pt x="31" y="69"/>
                    <a:pt x="31" y="76"/>
                  </a:cubicBezTo>
                  <a:cubicBezTo>
                    <a:pt x="23" y="84"/>
                    <a:pt x="46" y="91"/>
                    <a:pt x="46" y="99"/>
                  </a:cubicBezTo>
                  <a:cubicBezTo>
                    <a:pt x="39" y="137"/>
                    <a:pt x="0" y="168"/>
                    <a:pt x="16" y="206"/>
                  </a:cubicBezTo>
                  <a:cubicBezTo>
                    <a:pt x="23" y="229"/>
                    <a:pt x="69" y="214"/>
                    <a:pt x="100" y="2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113"/>
            <p:cNvSpPr>
              <a:spLocks noChangeArrowheads="1"/>
            </p:cNvSpPr>
            <p:nvPr/>
          </p:nvSpPr>
          <p:spPr bwMode="auto">
            <a:xfrm>
              <a:off x="7181383" y="5954714"/>
              <a:ext cx="131754" cy="109537"/>
            </a:xfrm>
            <a:custGeom>
              <a:avLst/>
              <a:gdLst>
                <a:gd name="T0" fmla="*/ 366 w 367"/>
                <a:gd name="T1" fmla="*/ 229 h 306"/>
                <a:gd name="T2" fmla="*/ 366 w 367"/>
                <a:gd name="T3" fmla="*/ 229 h 306"/>
                <a:gd name="T4" fmla="*/ 343 w 367"/>
                <a:gd name="T5" fmla="*/ 298 h 306"/>
                <a:gd name="T6" fmla="*/ 343 w 367"/>
                <a:gd name="T7" fmla="*/ 298 h 306"/>
                <a:gd name="T8" fmla="*/ 237 w 367"/>
                <a:gd name="T9" fmla="*/ 305 h 306"/>
                <a:gd name="T10" fmla="*/ 183 w 367"/>
                <a:gd name="T11" fmla="*/ 305 h 306"/>
                <a:gd name="T12" fmla="*/ 107 w 367"/>
                <a:gd name="T13" fmla="*/ 260 h 306"/>
                <a:gd name="T14" fmla="*/ 84 w 367"/>
                <a:gd name="T15" fmla="*/ 283 h 306"/>
                <a:gd name="T16" fmla="*/ 0 w 367"/>
                <a:gd name="T17" fmla="*/ 260 h 306"/>
                <a:gd name="T18" fmla="*/ 0 w 367"/>
                <a:gd name="T19" fmla="*/ 260 h 306"/>
                <a:gd name="T20" fmla="*/ 46 w 367"/>
                <a:gd name="T21" fmla="*/ 191 h 306"/>
                <a:gd name="T22" fmla="*/ 61 w 367"/>
                <a:gd name="T23" fmla="*/ 115 h 306"/>
                <a:gd name="T24" fmla="*/ 153 w 367"/>
                <a:gd name="T25" fmla="*/ 31 h 306"/>
                <a:gd name="T26" fmla="*/ 244 w 367"/>
                <a:gd name="T27" fmla="*/ 0 h 306"/>
                <a:gd name="T28" fmla="*/ 244 w 367"/>
                <a:gd name="T29" fmla="*/ 0 h 306"/>
                <a:gd name="T30" fmla="*/ 313 w 367"/>
                <a:gd name="T31" fmla="*/ 61 h 306"/>
                <a:gd name="T32" fmla="*/ 321 w 367"/>
                <a:gd name="T33" fmla="*/ 76 h 306"/>
                <a:gd name="T34" fmla="*/ 366 w 367"/>
                <a:gd name="T35" fmla="*/ 22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7" h="306">
                  <a:moveTo>
                    <a:pt x="366" y="229"/>
                  </a:moveTo>
                  <a:lnTo>
                    <a:pt x="366" y="229"/>
                  </a:lnTo>
                  <a:cubicBezTo>
                    <a:pt x="343" y="298"/>
                    <a:pt x="343" y="298"/>
                    <a:pt x="343" y="298"/>
                  </a:cubicBezTo>
                  <a:lnTo>
                    <a:pt x="343" y="298"/>
                  </a:lnTo>
                  <a:cubicBezTo>
                    <a:pt x="305" y="298"/>
                    <a:pt x="275" y="305"/>
                    <a:pt x="237" y="305"/>
                  </a:cubicBezTo>
                  <a:cubicBezTo>
                    <a:pt x="214" y="305"/>
                    <a:pt x="199" y="305"/>
                    <a:pt x="183" y="305"/>
                  </a:cubicBezTo>
                  <a:cubicBezTo>
                    <a:pt x="153" y="290"/>
                    <a:pt x="137" y="267"/>
                    <a:pt x="107" y="260"/>
                  </a:cubicBezTo>
                  <a:cubicBezTo>
                    <a:pt x="99" y="252"/>
                    <a:pt x="99" y="283"/>
                    <a:pt x="84" y="283"/>
                  </a:cubicBezTo>
                  <a:cubicBezTo>
                    <a:pt x="53" y="283"/>
                    <a:pt x="30" y="267"/>
                    <a:pt x="0" y="260"/>
                  </a:cubicBezTo>
                  <a:lnTo>
                    <a:pt x="0" y="260"/>
                  </a:lnTo>
                  <a:cubicBezTo>
                    <a:pt x="15" y="237"/>
                    <a:pt x="38" y="214"/>
                    <a:pt x="46" y="191"/>
                  </a:cubicBezTo>
                  <a:cubicBezTo>
                    <a:pt x="53" y="168"/>
                    <a:pt x="53" y="137"/>
                    <a:pt x="61" y="115"/>
                  </a:cubicBezTo>
                  <a:cubicBezTo>
                    <a:pt x="84" y="84"/>
                    <a:pt x="122" y="53"/>
                    <a:pt x="153" y="31"/>
                  </a:cubicBezTo>
                  <a:cubicBezTo>
                    <a:pt x="183" y="8"/>
                    <a:pt x="214" y="8"/>
                    <a:pt x="244" y="0"/>
                  </a:cubicBezTo>
                  <a:lnTo>
                    <a:pt x="244" y="0"/>
                  </a:lnTo>
                  <a:cubicBezTo>
                    <a:pt x="282" y="23"/>
                    <a:pt x="313" y="46"/>
                    <a:pt x="313" y="61"/>
                  </a:cubicBezTo>
                  <a:cubicBezTo>
                    <a:pt x="321" y="61"/>
                    <a:pt x="321" y="69"/>
                    <a:pt x="321" y="76"/>
                  </a:cubicBezTo>
                  <a:cubicBezTo>
                    <a:pt x="252" y="92"/>
                    <a:pt x="359" y="198"/>
                    <a:pt x="366" y="22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114"/>
            <p:cNvSpPr>
              <a:spLocks noChangeArrowheads="1"/>
            </p:cNvSpPr>
            <p:nvPr/>
          </p:nvSpPr>
          <p:spPr bwMode="auto">
            <a:xfrm>
              <a:off x="7143285" y="6045200"/>
              <a:ext cx="161914" cy="171450"/>
            </a:xfrm>
            <a:custGeom>
              <a:avLst/>
              <a:gdLst>
                <a:gd name="T0" fmla="*/ 23 w 451"/>
                <a:gd name="T1" fmla="*/ 130 h 475"/>
                <a:gd name="T2" fmla="*/ 23 w 451"/>
                <a:gd name="T3" fmla="*/ 130 h 475"/>
                <a:gd name="T4" fmla="*/ 15 w 451"/>
                <a:gd name="T5" fmla="*/ 84 h 475"/>
                <a:gd name="T6" fmla="*/ 84 w 451"/>
                <a:gd name="T7" fmla="*/ 69 h 475"/>
                <a:gd name="T8" fmla="*/ 107 w 451"/>
                <a:gd name="T9" fmla="*/ 8 h 475"/>
                <a:gd name="T10" fmla="*/ 107 w 451"/>
                <a:gd name="T11" fmla="*/ 8 h 475"/>
                <a:gd name="T12" fmla="*/ 191 w 451"/>
                <a:gd name="T13" fmla="*/ 31 h 475"/>
                <a:gd name="T14" fmla="*/ 214 w 451"/>
                <a:gd name="T15" fmla="*/ 8 h 475"/>
                <a:gd name="T16" fmla="*/ 290 w 451"/>
                <a:gd name="T17" fmla="*/ 53 h 475"/>
                <a:gd name="T18" fmla="*/ 344 w 451"/>
                <a:gd name="T19" fmla="*/ 53 h 475"/>
                <a:gd name="T20" fmla="*/ 450 w 451"/>
                <a:gd name="T21" fmla="*/ 46 h 475"/>
                <a:gd name="T22" fmla="*/ 450 w 451"/>
                <a:gd name="T23" fmla="*/ 46 h 475"/>
                <a:gd name="T24" fmla="*/ 443 w 451"/>
                <a:gd name="T25" fmla="*/ 99 h 475"/>
                <a:gd name="T26" fmla="*/ 397 w 451"/>
                <a:gd name="T27" fmla="*/ 168 h 475"/>
                <a:gd name="T28" fmla="*/ 397 w 451"/>
                <a:gd name="T29" fmla="*/ 168 h 475"/>
                <a:gd name="T30" fmla="*/ 313 w 451"/>
                <a:gd name="T31" fmla="*/ 138 h 475"/>
                <a:gd name="T32" fmla="*/ 290 w 451"/>
                <a:gd name="T33" fmla="*/ 191 h 475"/>
                <a:gd name="T34" fmla="*/ 275 w 451"/>
                <a:gd name="T35" fmla="*/ 206 h 475"/>
                <a:gd name="T36" fmla="*/ 290 w 451"/>
                <a:gd name="T37" fmla="*/ 229 h 475"/>
                <a:gd name="T38" fmla="*/ 260 w 451"/>
                <a:gd name="T39" fmla="*/ 336 h 475"/>
                <a:gd name="T40" fmla="*/ 344 w 451"/>
                <a:gd name="T41" fmla="*/ 351 h 475"/>
                <a:gd name="T42" fmla="*/ 344 w 451"/>
                <a:gd name="T43" fmla="*/ 351 h 475"/>
                <a:gd name="T44" fmla="*/ 321 w 451"/>
                <a:gd name="T45" fmla="*/ 397 h 475"/>
                <a:gd name="T46" fmla="*/ 275 w 451"/>
                <a:gd name="T47" fmla="*/ 420 h 475"/>
                <a:gd name="T48" fmla="*/ 176 w 451"/>
                <a:gd name="T49" fmla="*/ 474 h 475"/>
                <a:gd name="T50" fmla="*/ 168 w 451"/>
                <a:gd name="T51" fmla="*/ 458 h 475"/>
                <a:gd name="T52" fmla="*/ 137 w 451"/>
                <a:gd name="T53" fmla="*/ 466 h 475"/>
                <a:gd name="T54" fmla="*/ 130 w 451"/>
                <a:gd name="T55" fmla="*/ 413 h 475"/>
                <a:gd name="T56" fmla="*/ 99 w 451"/>
                <a:gd name="T57" fmla="*/ 413 h 475"/>
                <a:gd name="T58" fmla="*/ 76 w 451"/>
                <a:gd name="T59" fmla="*/ 397 h 475"/>
                <a:gd name="T60" fmla="*/ 69 w 451"/>
                <a:gd name="T61" fmla="*/ 443 h 475"/>
                <a:gd name="T62" fmla="*/ 38 w 451"/>
                <a:gd name="T63" fmla="*/ 405 h 475"/>
                <a:gd name="T64" fmla="*/ 38 w 451"/>
                <a:gd name="T65" fmla="*/ 405 h 475"/>
                <a:gd name="T66" fmla="*/ 46 w 451"/>
                <a:gd name="T67" fmla="*/ 321 h 475"/>
                <a:gd name="T68" fmla="*/ 8 w 451"/>
                <a:gd name="T69" fmla="*/ 252 h 475"/>
                <a:gd name="T70" fmla="*/ 61 w 451"/>
                <a:gd name="T71" fmla="*/ 199 h 475"/>
                <a:gd name="T72" fmla="*/ 61 w 451"/>
                <a:gd name="T73" fmla="*/ 130 h 475"/>
                <a:gd name="T74" fmla="*/ 23 w 451"/>
                <a:gd name="T75" fmla="*/ 13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1" h="475">
                  <a:moveTo>
                    <a:pt x="23" y="130"/>
                  </a:moveTo>
                  <a:lnTo>
                    <a:pt x="23" y="130"/>
                  </a:lnTo>
                  <a:cubicBezTo>
                    <a:pt x="23" y="115"/>
                    <a:pt x="0" y="99"/>
                    <a:pt x="15" y="84"/>
                  </a:cubicBezTo>
                  <a:cubicBezTo>
                    <a:pt x="31" y="69"/>
                    <a:pt x="69" y="84"/>
                    <a:pt x="84" y="69"/>
                  </a:cubicBezTo>
                  <a:cubicBezTo>
                    <a:pt x="107" y="53"/>
                    <a:pt x="99" y="23"/>
                    <a:pt x="107" y="8"/>
                  </a:cubicBezTo>
                  <a:lnTo>
                    <a:pt x="107" y="8"/>
                  </a:lnTo>
                  <a:cubicBezTo>
                    <a:pt x="137" y="15"/>
                    <a:pt x="160" y="31"/>
                    <a:pt x="191" y="31"/>
                  </a:cubicBezTo>
                  <a:cubicBezTo>
                    <a:pt x="206" y="31"/>
                    <a:pt x="206" y="0"/>
                    <a:pt x="214" y="8"/>
                  </a:cubicBezTo>
                  <a:cubicBezTo>
                    <a:pt x="244" y="15"/>
                    <a:pt x="260" y="38"/>
                    <a:pt x="290" y="53"/>
                  </a:cubicBezTo>
                  <a:cubicBezTo>
                    <a:pt x="306" y="53"/>
                    <a:pt x="321" y="53"/>
                    <a:pt x="344" y="53"/>
                  </a:cubicBezTo>
                  <a:cubicBezTo>
                    <a:pt x="382" y="53"/>
                    <a:pt x="412" y="46"/>
                    <a:pt x="450" y="46"/>
                  </a:cubicBezTo>
                  <a:lnTo>
                    <a:pt x="450" y="46"/>
                  </a:lnTo>
                  <a:cubicBezTo>
                    <a:pt x="443" y="99"/>
                    <a:pt x="443" y="99"/>
                    <a:pt x="443" y="99"/>
                  </a:cubicBezTo>
                  <a:cubicBezTo>
                    <a:pt x="397" y="168"/>
                    <a:pt x="397" y="168"/>
                    <a:pt x="397" y="168"/>
                  </a:cubicBezTo>
                  <a:lnTo>
                    <a:pt x="397" y="168"/>
                  </a:lnTo>
                  <a:cubicBezTo>
                    <a:pt x="367" y="160"/>
                    <a:pt x="344" y="130"/>
                    <a:pt x="313" y="138"/>
                  </a:cubicBezTo>
                  <a:cubicBezTo>
                    <a:pt x="298" y="138"/>
                    <a:pt x="306" y="176"/>
                    <a:pt x="290" y="191"/>
                  </a:cubicBezTo>
                  <a:cubicBezTo>
                    <a:pt x="283" y="199"/>
                    <a:pt x="275" y="199"/>
                    <a:pt x="275" y="206"/>
                  </a:cubicBezTo>
                  <a:cubicBezTo>
                    <a:pt x="267" y="214"/>
                    <a:pt x="290" y="221"/>
                    <a:pt x="290" y="229"/>
                  </a:cubicBezTo>
                  <a:cubicBezTo>
                    <a:pt x="283" y="267"/>
                    <a:pt x="244" y="298"/>
                    <a:pt x="260" y="336"/>
                  </a:cubicBezTo>
                  <a:cubicBezTo>
                    <a:pt x="267" y="359"/>
                    <a:pt x="313" y="344"/>
                    <a:pt x="344" y="351"/>
                  </a:cubicBezTo>
                  <a:lnTo>
                    <a:pt x="344" y="351"/>
                  </a:lnTo>
                  <a:cubicBezTo>
                    <a:pt x="336" y="367"/>
                    <a:pt x="336" y="382"/>
                    <a:pt x="321" y="397"/>
                  </a:cubicBezTo>
                  <a:cubicBezTo>
                    <a:pt x="313" y="405"/>
                    <a:pt x="290" y="413"/>
                    <a:pt x="275" y="420"/>
                  </a:cubicBezTo>
                  <a:cubicBezTo>
                    <a:pt x="244" y="435"/>
                    <a:pt x="214" y="458"/>
                    <a:pt x="176" y="474"/>
                  </a:cubicBezTo>
                  <a:cubicBezTo>
                    <a:pt x="176" y="474"/>
                    <a:pt x="176" y="458"/>
                    <a:pt x="168" y="458"/>
                  </a:cubicBezTo>
                  <a:cubicBezTo>
                    <a:pt x="160" y="458"/>
                    <a:pt x="145" y="474"/>
                    <a:pt x="137" y="466"/>
                  </a:cubicBezTo>
                  <a:cubicBezTo>
                    <a:pt x="122" y="451"/>
                    <a:pt x="137" y="428"/>
                    <a:pt x="130" y="413"/>
                  </a:cubicBezTo>
                  <a:cubicBezTo>
                    <a:pt x="122" y="405"/>
                    <a:pt x="107" y="420"/>
                    <a:pt x="99" y="413"/>
                  </a:cubicBezTo>
                  <a:cubicBezTo>
                    <a:pt x="92" y="413"/>
                    <a:pt x="84" y="397"/>
                    <a:pt x="76" y="397"/>
                  </a:cubicBezTo>
                  <a:cubicBezTo>
                    <a:pt x="69" y="413"/>
                    <a:pt x="84" y="443"/>
                    <a:pt x="69" y="443"/>
                  </a:cubicBezTo>
                  <a:cubicBezTo>
                    <a:pt x="53" y="443"/>
                    <a:pt x="46" y="420"/>
                    <a:pt x="38" y="405"/>
                  </a:cubicBezTo>
                  <a:lnTo>
                    <a:pt x="38" y="405"/>
                  </a:lnTo>
                  <a:cubicBezTo>
                    <a:pt x="38" y="382"/>
                    <a:pt x="53" y="351"/>
                    <a:pt x="46" y="321"/>
                  </a:cubicBezTo>
                  <a:cubicBezTo>
                    <a:pt x="46" y="298"/>
                    <a:pt x="8" y="275"/>
                    <a:pt x="8" y="252"/>
                  </a:cubicBezTo>
                  <a:cubicBezTo>
                    <a:pt x="15" y="221"/>
                    <a:pt x="53" y="221"/>
                    <a:pt x="61" y="199"/>
                  </a:cubicBezTo>
                  <a:cubicBezTo>
                    <a:pt x="76" y="183"/>
                    <a:pt x="76" y="153"/>
                    <a:pt x="61" y="130"/>
                  </a:cubicBezTo>
                  <a:cubicBezTo>
                    <a:pt x="61" y="122"/>
                    <a:pt x="38" y="130"/>
                    <a:pt x="23" y="1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115"/>
            <p:cNvSpPr>
              <a:spLocks noChangeArrowheads="1"/>
            </p:cNvSpPr>
            <p:nvPr/>
          </p:nvSpPr>
          <p:spPr bwMode="auto">
            <a:xfrm>
              <a:off x="7286151" y="6037263"/>
              <a:ext cx="225410" cy="157162"/>
            </a:xfrm>
            <a:custGeom>
              <a:avLst/>
              <a:gdLst>
                <a:gd name="T0" fmla="*/ 626 w 627"/>
                <a:gd name="T1" fmla="*/ 222 h 437"/>
                <a:gd name="T2" fmla="*/ 626 w 627"/>
                <a:gd name="T3" fmla="*/ 222 h 437"/>
                <a:gd name="T4" fmla="*/ 558 w 627"/>
                <a:gd name="T5" fmla="*/ 290 h 437"/>
                <a:gd name="T6" fmla="*/ 527 w 627"/>
                <a:gd name="T7" fmla="*/ 382 h 437"/>
                <a:gd name="T8" fmla="*/ 542 w 627"/>
                <a:gd name="T9" fmla="*/ 420 h 437"/>
                <a:gd name="T10" fmla="*/ 481 w 627"/>
                <a:gd name="T11" fmla="*/ 413 h 437"/>
                <a:gd name="T12" fmla="*/ 397 w 627"/>
                <a:gd name="T13" fmla="*/ 436 h 437"/>
                <a:gd name="T14" fmla="*/ 328 w 627"/>
                <a:gd name="T15" fmla="*/ 397 h 437"/>
                <a:gd name="T16" fmla="*/ 267 w 627"/>
                <a:gd name="T17" fmla="*/ 390 h 437"/>
                <a:gd name="T18" fmla="*/ 252 w 627"/>
                <a:gd name="T19" fmla="*/ 413 h 437"/>
                <a:gd name="T20" fmla="*/ 176 w 627"/>
                <a:gd name="T21" fmla="*/ 390 h 437"/>
                <a:gd name="T22" fmla="*/ 138 w 627"/>
                <a:gd name="T23" fmla="*/ 405 h 437"/>
                <a:gd name="T24" fmla="*/ 84 w 627"/>
                <a:gd name="T25" fmla="*/ 397 h 437"/>
                <a:gd name="T26" fmla="*/ 84 w 627"/>
                <a:gd name="T27" fmla="*/ 397 h 437"/>
                <a:gd name="T28" fmla="*/ 84 w 627"/>
                <a:gd name="T29" fmla="*/ 351 h 437"/>
                <a:gd name="T30" fmla="*/ 31 w 627"/>
                <a:gd name="T31" fmla="*/ 328 h 437"/>
                <a:gd name="T32" fmla="*/ 0 w 627"/>
                <a:gd name="T33" fmla="*/ 283 h 437"/>
                <a:gd name="T34" fmla="*/ 46 w 627"/>
                <a:gd name="T35" fmla="*/ 260 h 437"/>
                <a:gd name="T36" fmla="*/ 0 w 627"/>
                <a:gd name="T37" fmla="*/ 191 h 437"/>
                <a:gd name="T38" fmla="*/ 0 w 627"/>
                <a:gd name="T39" fmla="*/ 191 h 437"/>
                <a:gd name="T40" fmla="*/ 46 w 627"/>
                <a:gd name="T41" fmla="*/ 122 h 437"/>
                <a:gd name="T42" fmla="*/ 53 w 627"/>
                <a:gd name="T43" fmla="*/ 69 h 437"/>
                <a:gd name="T44" fmla="*/ 53 w 627"/>
                <a:gd name="T45" fmla="*/ 69 h 437"/>
                <a:gd name="T46" fmla="*/ 76 w 627"/>
                <a:gd name="T47" fmla="*/ 0 h 437"/>
                <a:gd name="T48" fmla="*/ 76 w 627"/>
                <a:gd name="T49" fmla="*/ 0 h 437"/>
                <a:gd name="T50" fmla="*/ 260 w 627"/>
                <a:gd name="T51" fmla="*/ 76 h 437"/>
                <a:gd name="T52" fmla="*/ 626 w 627"/>
                <a:gd name="T53" fmla="*/ 22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7" h="437">
                  <a:moveTo>
                    <a:pt x="626" y="222"/>
                  </a:moveTo>
                  <a:lnTo>
                    <a:pt x="626" y="222"/>
                  </a:lnTo>
                  <a:cubicBezTo>
                    <a:pt x="596" y="252"/>
                    <a:pt x="573" y="260"/>
                    <a:pt x="558" y="290"/>
                  </a:cubicBezTo>
                  <a:cubicBezTo>
                    <a:pt x="535" y="321"/>
                    <a:pt x="535" y="351"/>
                    <a:pt x="527" y="382"/>
                  </a:cubicBezTo>
                  <a:cubicBezTo>
                    <a:pt x="527" y="397"/>
                    <a:pt x="550" y="413"/>
                    <a:pt x="542" y="420"/>
                  </a:cubicBezTo>
                  <a:cubicBezTo>
                    <a:pt x="527" y="428"/>
                    <a:pt x="504" y="413"/>
                    <a:pt x="481" y="413"/>
                  </a:cubicBezTo>
                  <a:cubicBezTo>
                    <a:pt x="451" y="413"/>
                    <a:pt x="428" y="436"/>
                    <a:pt x="397" y="436"/>
                  </a:cubicBezTo>
                  <a:cubicBezTo>
                    <a:pt x="367" y="428"/>
                    <a:pt x="351" y="405"/>
                    <a:pt x="328" y="397"/>
                  </a:cubicBezTo>
                  <a:cubicBezTo>
                    <a:pt x="306" y="390"/>
                    <a:pt x="283" y="382"/>
                    <a:pt x="267" y="390"/>
                  </a:cubicBezTo>
                  <a:cubicBezTo>
                    <a:pt x="260" y="390"/>
                    <a:pt x="260" y="413"/>
                    <a:pt x="252" y="413"/>
                  </a:cubicBezTo>
                  <a:cubicBezTo>
                    <a:pt x="229" y="413"/>
                    <a:pt x="199" y="397"/>
                    <a:pt x="176" y="390"/>
                  </a:cubicBezTo>
                  <a:cubicBezTo>
                    <a:pt x="176" y="390"/>
                    <a:pt x="145" y="405"/>
                    <a:pt x="138" y="405"/>
                  </a:cubicBezTo>
                  <a:cubicBezTo>
                    <a:pt x="130" y="405"/>
                    <a:pt x="84" y="397"/>
                    <a:pt x="84" y="397"/>
                  </a:cubicBezTo>
                  <a:lnTo>
                    <a:pt x="84" y="397"/>
                  </a:lnTo>
                  <a:cubicBezTo>
                    <a:pt x="84" y="382"/>
                    <a:pt x="92" y="367"/>
                    <a:pt x="84" y="351"/>
                  </a:cubicBezTo>
                  <a:cubicBezTo>
                    <a:pt x="76" y="336"/>
                    <a:pt x="46" y="344"/>
                    <a:pt x="31" y="328"/>
                  </a:cubicBezTo>
                  <a:cubicBezTo>
                    <a:pt x="15" y="321"/>
                    <a:pt x="0" y="298"/>
                    <a:pt x="0" y="283"/>
                  </a:cubicBezTo>
                  <a:cubicBezTo>
                    <a:pt x="8" y="267"/>
                    <a:pt x="46" y="275"/>
                    <a:pt x="46" y="260"/>
                  </a:cubicBezTo>
                  <a:cubicBezTo>
                    <a:pt x="46" y="229"/>
                    <a:pt x="15" y="214"/>
                    <a:pt x="0" y="191"/>
                  </a:cubicBezTo>
                  <a:lnTo>
                    <a:pt x="0" y="191"/>
                  </a:lnTo>
                  <a:cubicBezTo>
                    <a:pt x="46" y="122"/>
                    <a:pt x="46" y="122"/>
                    <a:pt x="46" y="122"/>
                  </a:cubicBezTo>
                  <a:cubicBezTo>
                    <a:pt x="53" y="69"/>
                    <a:pt x="53" y="69"/>
                    <a:pt x="53" y="69"/>
                  </a:cubicBezTo>
                  <a:lnTo>
                    <a:pt x="53" y="69"/>
                  </a:lnTo>
                  <a:cubicBezTo>
                    <a:pt x="76" y="0"/>
                    <a:pt x="76" y="0"/>
                    <a:pt x="76" y="0"/>
                  </a:cubicBezTo>
                  <a:lnTo>
                    <a:pt x="76" y="0"/>
                  </a:lnTo>
                  <a:cubicBezTo>
                    <a:pt x="107" y="0"/>
                    <a:pt x="229" y="61"/>
                    <a:pt x="260" y="76"/>
                  </a:cubicBezTo>
                  <a:cubicBezTo>
                    <a:pt x="367" y="138"/>
                    <a:pt x="504" y="168"/>
                    <a:pt x="626" y="2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116"/>
            <p:cNvSpPr>
              <a:spLocks noChangeArrowheads="1"/>
            </p:cNvSpPr>
            <p:nvPr/>
          </p:nvSpPr>
          <p:spPr bwMode="auto">
            <a:xfrm>
              <a:off x="6436894" y="4873625"/>
              <a:ext cx="709566" cy="1036638"/>
            </a:xfrm>
            <a:custGeom>
              <a:avLst/>
              <a:gdLst>
                <a:gd name="T0" fmla="*/ 1482 w 1972"/>
                <a:gd name="T1" fmla="*/ 2360 h 2880"/>
                <a:gd name="T2" fmla="*/ 1413 w 1972"/>
                <a:gd name="T3" fmla="*/ 2375 h 2880"/>
                <a:gd name="T4" fmla="*/ 1390 w 1972"/>
                <a:gd name="T5" fmla="*/ 2474 h 2880"/>
                <a:gd name="T6" fmla="*/ 1390 w 1972"/>
                <a:gd name="T7" fmla="*/ 2558 h 2880"/>
                <a:gd name="T8" fmla="*/ 1352 w 1972"/>
                <a:gd name="T9" fmla="*/ 2604 h 2880"/>
                <a:gd name="T10" fmla="*/ 1260 w 1972"/>
                <a:gd name="T11" fmla="*/ 2734 h 2880"/>
                <a:gd name="T12" fmla="*/ 1138 w 1972"/>
                <a:gd name="T13" fmla="*/ 2657 h 2880"/>
                <a:gd name="T14" fmla="*/ 1000 w 1972"/>
                <a:gd name="T15" fmla="*/ 2734 h 2880"/>
                <a:gd name="T16" fmla="*/ 901 w 1972"/>
                <a:gd name="T17" fmla="*/ 2780 h 2880"/>
                <a:gd name="T18" fmla="*/ 825 w 1972"/>
                <a:gd name="T19" fmla="*/ 2810 h 2880"/>
                <a:gd name="T20" fmla="*/ 718 w 1972"/>
                <a:gd name="T21" fmla="*/ 2840 h 2880"/>
                <a:gd name="T22" fmla="*/ 641 w 1972"/>
                <a:gd name="T23" fmla="*/ 2856 h 2880"/>
                <a:gd name="T24" fmla="*/ 588 w 1972"/>
                <a:gd name="T25" fmla="*/ 2802 h 2880"/>
                <a:gd name="T26" fmla="*/ 496 w 1972"/>
                <a:gd name="T27" fmla="*/ 2688 h 2880"/>
                <a:gd name="T28" fmla="*/ 428 w 1972"/>
                <a:gd name="T29" fmla="*/ 2741 h 2880"/>
                <a:gd name="T30" fmla="*/ 313 w 1972"/>
                <a:gd name="T31" fmla="*/ 2818 h 2880"/>
                <a:gd name="T32" fmla="*/ 244 w 1972"/>
                <a:gd name="T33" fmla="*/ 2703 h 2880"/>
                <a:gd name="T34" fmla="*/ 206 w 1972"/>
                <a:gd name="T35" fmla="*/ 2604 h 2880"/>
                <a:gd name="T36" fmla="*/ 290 w 1972"/>
                <a:gd name="T37" fmla="*/ 2482 h 2880"/>
                <a:gd name="T38" fmla="*/ 214 w 1972"/>
                <a:gd name="T39" fmla="*/ 2391 h 2880"/>
                <a:gd name="T40" fmla="*/ 267 w 1972"/>
                <a:gd name="T41" fmla="*/ 2261 h 2880"/>
                <a:gd name="T42" fmla="*/ 389 w 1972"/>
                <a:gd name="T43" fmla="*/ 2154 h 2880"/>
                <a:gd name="T44" fmla="*/ 366 w 1972"/>
                <a:gd name="T45" fmla="*/ 2070 h 2880"/>
                <a:gd name="T46" fmla="*/ 260 w 1972"/>
                <a:gd name="T47" fmla="*/ 2062 h 2880"/>
                <a:gd name="T48" fmla="*/ 160 w 1972"/>
                <a:gd name="T49" fmla="*/ 1956 h 2880"/>
                <a:gd name="T50" fmla="*/ 99 w 1972"/>
                <a:gd name="T51" fmla="*/ 1818 h 2880"/>
                <a:gd name="T52" fmla="*/ 0 w 1972"/>
                <a:gd name="T53" fmla="*/ 1764 h 2880"/>
                <a:gd name="T54" fmla="*/ 69 w 1972"/>
                <a:gd name="T55" fmla="*/ 1642 h 2880"/>
                <a:gd name="T56" fmla="*/ 130 w 1972"/>
                <a:gd name="T57" fmla="*/ 1558 h 2880"/>
                <a:gd name="T58" fmla="*/ 237 w 1972"/>
                <a:gd name="T59" fmla="*/ 1383 h 2880"/>
                <a:gd name="T60" fmla="*/ 474 w 1972"/>
                <a:gd name="T61" fmla="*/ 1253 h 2880"/>
                <a:gd name="T62" fmla="*/ 542 w 1972"/>
                <a:gd name="T63" fmla="*/ 1253 h 2880"/>
                <a:gd name="T64" fmla="*/ 634 w 1972"/>
                <a:gd name="T65" fmla="*/ 1100 h 2880"/>
                <a:gd name="T66" fmla="*/ 802 w 1972"/>
                <a:gd name="T67" fmla="*/ 1008 h 2880"/>
                <a:gd name="T68" fmla="*/ 848 w 1972"/>
                <a:gd name="T69" fmla="*/ 939 h 2880"/>
                <a:gd name="T70" fmla="*/ 771 w 1972"/>
                <a:gd name="T71" fmla="*/ 886 h 2880"/>
                <a:gd name="T72" fmla="*/ 726 w 1972"/>
                <a:gd name="T73" fmla="*/ 695 h 2880"/>
                <a:gd name="T74" fmla="*/ 664 w 1972"/>
                <a:gd name="T75" fmla="*/ 642 h 2880"/>
                <a:gd name="T76" fmla="*/ 649 w 1972"/>
                <a:gd name="T77" fmla="*/ 573 h 2880"/>
                <a:gd name="T78" fmla="*/ 603 w 1972"/>
                <a:gd name="T79" fmla="*/ 520 h 2880"/>
                <a:gd name="T80" fmla="*/ 588 w 1972"/>
                <a:gd name="T81" fmla="*/ 458 h 2880"/>
                <a:gd name="T82" fmla="*/ 779 w 1972"/>
                <a:gd name="T83" fmla="*/ 344 h 2880"/>
                <a:gd name="T84" fmla="*/ 848 w 1972"/>
                <a:gd name="T85" fmla="*/ 245 h 2880"/>
                <a:gd name="T86" fmla="*/ 863 w 1972"/>
                <a:gd name="T87" fmla="*/ 229 h 2880"/>
                <a:gd name="T88" fmla="*/ 962 w 1972"/>
                <a:gd name="T89" fmla="*/ 130 h 2880"/>
                <a:gd name="T90" fmla="*/ 978 w 1972"/>
                <a:gd name="T91" fmla="*/ 53 h 2880"/>
                <a:gd name="T92" fmla="*/ 1008 w 1972"/>
                <a:gd name="T93" fmla="*/ 31 h 2880"/>
                <a:gd name="T94" fmla="*/ 1031 w 1972"/>
                <a:gd name="T95" fmla="*/ 15 h 2880"/>
                <a:gd name="T96" fmla="*/ 1046 w 1972"/>
                <a:gd name="T97" fmla="*/ 0 h 2880"/>
                <a:gd name="T98" fmla="*/ 1428 w 1972"/>
                <a:gd name="T99" fmla="*/ 351 h 2880"/>
                <a:gd name="T100" fmla="*/ 1512 w 1972"/>
                <a:gd name="T101" fmla="*/ 512 h 2880"/>
                <a:gd name="T102" fmla="*/ 1673 w 1972"/>
                <a:gd name="T103" fmla="*/ 733 h 2880"/>
                <a:gd name="T104" fmla="*/ 1749 w 1972"/>
                <a:gd name="T105" fmla="*/ 932 h 2880"/>
                <a:gd name="T106" fmla="*/ 1818 w 1972"/>
                <a:gd name="T107" fmla="*/ 1367 h 2880"/>
                <a:gd name="T108" fmla="*/ 1871 w 1972"/>
                <a:gd name="T109" fmla="*/ 1719 h 2880"/>
                <a:gd name="T110" fmla="*/ 1940 w 1972"/>
                <a:gd name="T111" fmla="*/ 2024 h 2880"/>
                <a:gd name="T112" fmla="*/ 1971 w 1972"/>
                <a:gd name="T113" fmla="*/ 2101 h 2880"/>
                <a:gd name="T114" fmla="*/ 1909 w 1972"/>
                <a:gd name="T115" fmla="*/ 2154 h 2880"/>
                <a:gd name="T116" fmla="*/ 1833 w 1972"/>
                <a:gd name="T117" fmla="*/ 2154 h 2880"/>
                <a:gd name="T118" fmla="*/ 1741 w 1972"/>
                <a:gd name="T119" fmla="*/ 2146 h 2880"/>
                <a:gd name="T120" fmla="*/ 1688 w 1972"/>
                <a:gd name="T121" fmla="*/ 2139 h 2880"/>
                <a:gd name="T122" fmla="*/ 1573 w 1972"/>
                <a:gd name="T123" fmla="*/ 2139 h 2880"/>
                <a:gd name="T124" fmla="*/ 1512 w 1972"/>
                <a:gd name="T125" fmla="*/ 2246 h 2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72" h="2880">
                  <a:moveTo>
                    <a:pt x="1482" y="2360"/>
                  </a:moveTo>
                  <a:lnTo>
                    <a:pt x="1482" y="2360"/>
                  </a:lnTo>
                  <a:cubicBezTo>
                    <a:pt x="1466" y="2360"/>
                    <a:pt x="1451" y="2353"/>
                    <a:pt x="1444" y="2353"/>
                  </a:cubicBezTo>
                  <a:cubicBezTo>
                    <a:pt x="1428" y="2360"/>
                    <a:pt x="1421" y="2368"/>
                    <a:pt x="1413" y="2375"/>
                  </a:cubicBezTo>
                  <a:cubicBezTo>
                    <a:pt x="1398" y="2398"/>
                    <a:pt x="1383" y="2414"/>
                    <a:pt x="1375" y="2437"/>
                  </a:cubicBezTo>
                  <a:cubicBezTo>
                    <a:pt x="1375" y="2452"/>
                    <a:pt x="1398" y="2459"/>
                    <a:pt x="1390" y="2474"/>
                  </a:cubicBezTo>
                  <a:cubicBezTo>
                    <a:pt x="1383" y="2489"/>
                    <a:pt x="1352" y="2497"/>
                    <a:pt x="1352" y="2512"/>
                  </a:cubicBezTo>
                  <a:cubicBezTo>
                    <a:pt x="1352" y="2535"/>
                    <a:pt x="1375" y="2543"/>
                    <a:pt x="1390" y="2558"/>
                  </a:cubicBezTo>
                  <a:lnTo>
                    <a:pt x="1390" y="2558"/>
                  </a:lnTo>
                  <a:cubicBezTo>
                    <a:pt x="1383" y="2573"/>
                    <a:pt x="1367" y="2588"/>
                    <a:pt x="1352" y="2604"/>
                  </a:cubicBezTo>
                  <a:cubicBezTo>
                    <a:pt x="1337" y="2634"/>
                    <a:pt x="1337" y="2672"/>
                    <a:pt x="1314" y="2695"/>
                  </a:cubicBezTo>
                  <a:cubicBezTo>
                    <a:pt x="1306" y="2718"/>
                    <a:pt x="1283" y="2734"/>
                    <a:pt x="1260" y="2734"/>
                  </a:cubicBezTo>
                  <a:cubicBezTo>
                    <a:pt x="1245" y="2734"/>
                    <a:pt x="1237" y="2703"/>
                    <a:pt x="1222" y="2695"/>
                  </a:cubicBezTo>
                  <a:cubicBezTo>
                    <a:pt x="1199" y="2680"/>
                    <a:pt x="1169" y="2657"/>
                    <a:pt x="1138" y="2657"/>
                  </a:cubicBezTo>
                  <a:cubicBezTo>
                    <a:pt x="1108" y="2665"/>
                    <a:pt x="1092" y="2703"/>
                    <a:pt x="1069" y="2711"/>
                  </a:cubicBezTo>
                  <a:cubicBezTo>
                    <a:pt x="1046" y="2726"/>
                    <a:pt x="1023" y="2734"/>
                    <a:pt x="1000" y="2734"/>
                  </a:cubicBezTo>
                  <a:cubicBezTo>
                    <a:pt x="970" y="2741"/>
                    <a:pt x="939" y="2718"/>
                    <a:pt x="909" y="2734"/>
                  </a:cubicBezTo>
                  <a:cubicBezTo>
                    <a:pt x="901" y="2741"/>
                    <a:pt x="909" y="2764"/>
                    <a:pt x="901" y="2780"/>
                  </a:cubicBezTo>
                  <a:cubicBezTo>
                    <a:pt x="894" y="2795"/>
                    <a:pt x="878" y="2802"/>
                    <a:pt x="871" y="2818"/>
                  </a:cubicBezTo>
                  <a:cubicBezTo>
                    <a:pt x="871" y="2818"/>
                    <a:pt x="833" y="2810"/>
                    <a:pt x="825" y="2810"/>
                  </a:cubicBezTo>
                  <a:cubicBezTo>
                    <a:pt x="817" y="2810"/>
                    <a:pt x="802" y="2879"/>
                    <a:pt x="802" y="2879"/>
                  </a:cubicBezTo>
                  <a:cubicBezTo>
                    <a:pt x="771" y="2871"/>
                    <a:pt x="748" y="2848"/>
                    <a:pt x="718" y="2840"/>
                  </a:cubicBezTo>
                  <a:cubicBezTo>
                    <a:pt x="687" y="2840"/>
                    <a:pt x="664" y="2856"/>
                    <a:pt x="641" y="2856"/>
                  </a:cubicBezTo>
                  <a:lnTo>
                    <a:pt x="641" y="2856"/>
                  </a:lnTo>
                  <a:cubicBezTo>
                    <a:pt x="634" y="2848"/>
                    <a:pt x="619" y="2848"/>
                    <a:pt x="603" y="2840"/>
                  </a:cubicBezTo>
                  <a:cubicBezTo>
                    <a:pt x="596" y="2825"/>
                    <a:pt x="596" y="2810"/>
                    <a:pt x="588" y="2802"/>
                  </a:cubicBezTo>
                  <a:cubicBezTo>
                    <a:pt x="573" y="2780"/>
                    <a:pt x="550" y="2764"/>
                    <a:pt x="527" y="2741"/>
                  </a:cubicBezTo>
                  <a:cubicBezTo>
                    <a:pt x="519" y="2726"/>
                    <a:pt x="512" y="2703"/>
                    <a:pt x="496" y="2688"/>
                  </a:cubicBezTo>
                  <a:cubicBezTo>
                    <a:pt x="489" y="2680"/>
                    <a:pt x="496" y="2703"/>
                    <a:pt x="489" y="2711"/>
                  </a:cubicBezTo>
                  <a:cubicBezTo>
                    <a:pt x="474" y="2726"/>
                    <a:pt x="443" y="2726"/>
                    <a:pt x="428" y="2741"/>
                  </a:cubicBezTo>
                  <a:cubicBezTo>
                    <a:pt x="405" y="2764"/>
                    <a:pt x="397" y="2795"/>
                    <a:pt x="374" y="2810"/>
                  </a:cubicBezTo>
                  <a:cubicBezTo>
                    <a:pt x="359" y="2825"/>
                    <a:pt x="336" y="2825"/>
                    <a:pt x="313" y="2818"/>
                  </a:cubicBezTo>
                  <a:cubicBezTo>
                    <a:pt x="298" y="2810"/>
                    <a:pt x="283" y="2787"/>
                    <a:pt x="267" y="2772"/>
                  </a:cubicBezTo>
                  <a:cubicBezTo>
                    <a:pt x="252" y="2749"/>
                    <a:pt x="252" y="2726"/>
                    <a:pt x="244" y="2703"/>
                  </a:cubicBezTo>
                  <a:cubicBezTo>
                    <a:pt x="244" y="2688"/>
                    <a:pt x="244" y="2672"/>
                    <a:pt x="237" y="2665"/>
                  </a:cubicBezTo>
                  <a:cubicBezTo>
                    <a:pt x="229" y="2642"/>
                    <a:pt x="199" y="2627"/>
                    <a:pt x="206" y="2604"/>
                  </a:cubicBezTo>
                  <a:cubicBezTo>
                    <a:pt x="206" y="2588"/>
                    <a:pt x="229" y="2573"/>
                    <a:pt x="244" y="2558"/>
                  </a:cubicBezTo>
                  <a:cubicBezTo>
                    <a:pt x="260" y="2535"/>
                    <a:pt x="283" y="2512"/>
                    <a:pt x="290" y="2482"/>
                  </a:cubicBezTo>
                  <a:cubicBezTo>
                    <a:pt x="290" y="2452"/>
                    <a:pt x="267" y="2429"/>
                    <a:pt x="252" y="2406"/>
                  </a:cubicBezTo>
                  <a:cubicBezTo>
                    <a:pt x="244" y="2391"/>
                    <a:pt x="214" y="2398"/>
                    <a:pt x="214" y="2391"/>
                  </a:cubicBezTo>
                  <a:cubicBezTo>
                    <a:pt x="214" y="2375"/>
                    <a:pt x="237" y="2375"/>
                    <a:pt x="244" y="2360"/>
                  </a:cubicBezTo>
                  <a:cubicBezTo>
                    <a:pt x="260" y="2330"/>
                    <a:pt x="244" y="2284"/>
                    <a:pt x="267" y="2261"/>
                  </a:cubicBezTo>
                  <a:cubicBezTo>
                    <a:pt x="298" y="2223"/>
                    <a:pt x="359" y="2231"/>
                    <a:pt x="397" y="2200"/>
                  </a:cubicBezTo>
                  <a:cubicBezTo>
                    <a:pt x="405" y="2192"/>
                    <a:pt x="397" y="2169"/>
                    <a:pt x="389" y="2154"/>
                  </a:cubicBezTo>
                  <a:cubicBezTo>
                    <a:pt x="389" y="2139"/>
                    <a:pt x="374" y="2131"/>
                    <a:pt x="366" y="2116"/>
                  </a:cubicBezTo>
                  <a:cubicBezTo>
                    <a:pt x="366" y="2101"/>
                    <a:pt x="382" y="2070"/>
                    <a:pt x="366" y="2070"/>
                  </a:cubicBezTo>
                  <a:cubicBezTo>
                    <a:pt x="344" y="2055"/>
                    <a:pt x="313" y="2085"/>
                    <a:pt x="283" y="2085"/>
                  </a:cubicBezTo>
                  <a:cubicBezTo>
                    <a:pt x="267" y="2085"/>
                    <a:pt x="267" y="2070"/>
                    <a:pt x="260" y="2062"/>
                  </a:cubicBezTo>
                  <a:cubicBezTo>
                    <a:pt x="244" y="2032"/>
                    <a:pt x="237" y="1994"/>
                    <a:pt x="214" y="1971"/>
                  </a:cubicBezTo>
                  <a:cubicBezTo>
                    <a:pt x="199" y="1956"/>
                    <a:pt x="176" y="1971"/>
                    <a:pt x="160" y="1956"/>
                  </a:cubicBezTo>
                  <a:cubicBezTo>
                    <a:pt x="145" y="1948"/>
                    <a:pt x="130" y="1933"/>
                    <a:pt x="122" y="1917"/>
                  </a:cubicBezTo>
                  <a:cubicBezTo>
                    <a:pt x="107" y="1887"/>
                    <a:pt x="122" y="1849"/>
                    <a:pt x="99" y="1818"/>
                  </a:cubicBezTo>
                  <a:cubicBezTo>
                    <a:pt x="76" y="1787"/>
                    <a:pt x="30" y="1780"/>
                    <a:pt x="0" y="1764"/>
                  </a:cubicBezTo>
                  <a:lnTo>
                    <a:pt x="0" y="1764"/>
                  </a:lnTo>
                  <a:cubicBezTo>
                    <a:pt x="8" y="1757"/>
                    <a:pt x="8" y="1749"/>
                    <a:pt x="8" y="1749"/>
                  </a:cubicBezTo>
                  <a:cubicBezTo>
                    <a:pt x="15" y="1726"/>
                    <a:pt x="46" y="1642"/>
                    <a:pt x="69" y="1642"/>
                  </a:cubicBezTo>
                  <a:cubicBezTo>
                    <a:pt x="84" y="1635"/>
                    <a:pt x="114" y="1635"/>
                    <a:pt x="114" y="1612"/>
                  </a:cubicBezTo>
                  <a:cubicBezTo>
                    <a:pt x="114" y="1589"/>
                    <a:pt x="130" y="1574"/>
                    <a:pt x="130" y="1558"/>
                  </a:cubicBezTo>
                  <a:cubicBezTo>
                    <a:pt x="76" y="1543"/>
                    <a:pt x="137" y="1489"/>
                    <a:pt x="145" y="1467"/>
                  </a:cubicBezTo>
                  <a:cubicBezTo>
                    <a:pt x="183" y="1436"/>
                    <a:pt x="206" y="1421"/>
                    <a:pt x="237" y="1383"/>
                  </a:cubicBezTo>
                  <a:cubicBezTo>
                    <a:pt x="267" y="1345"/>
                    <a:pt x="344" y="1268"/>
                    <a:pt x="389" y="1253"/>
                  </a:cubicBezTo>
                  <a:cubicBezTo>
                    <a:pt x="420" y="1245"/>
                    <a:pt x="451" y="1237"/>
                    <a:pt x="474" y="1253"/>
                  </a:cubicBezTo>
                  <a:cubicBezTo>
                    <a:pt x="481" y="1260"/>
                    <a:pt x="496" y="1283"/>
                    <a:pt x="504" y="1276"/>
                  </a:cubicBezTo>
                  <a:cubicBezTo>
                    <a:pt x="512" y="1276"/>
                    <a:pt x="535" y="1260"/>
                    <a:pt x="542" y="1253"/>
                  </a:cubicBezTo>
                  <a:cubicBezTo>
                    <a:pt x="596" y="1237"/>
                    <a:pt x="565" y="1123"/>
                    <a:pt x="588" y="1123"/>
                  </a:cubicBezTo>
                  <a:cubicBezTo>
                    <a:pt x="634" y="1100"/>
                    <a:pt x="634" y="1100"/>
                    <a:pt x="634" y="1100"/>
                  </a:cubicBezTo>
                  <a:cubicBezTo>
                    <a:pt x="664" y="1085"/>
                    <a:pt x="687" y="1047"/>
                    <a:pt x="726" y="1054"/>
                  </a:cubicBezTo>
                  <a:cubicBezTo>
                    <a:pt x="748" y="1062"/>
                    <a:pt x="787" y="1024"/>
                    <a:pt x="802" y="1008"/>
                  </a:cubicBezTo>
                  <a:cubicBezTo>
                    <a:pt x="810" y="1001"/>
                    <a:pt x="848" y="955"/>
                    <a:pt x="848" y="939"/>
                  </a:cubicBezTo>
                  <a:lnTo>
                    <a:pt x="848" y="939"/>
                  </a:lnTo>
                  <a:cubicBezTo>
                    <a:pt x="840" y="939"/>
                    <a:pt x="840" y="939"/>
                    <a:pt x="833" y="939"/>
                  </a:cubicBezTo>
                  <a:cubicBezTo>
                    <a:pt x="833" y="932"/>
                    <a:pt x="779" y="894"/>
                    <a:pt x="771" y="886"/>
                  </a:cubicBezTo>
                  <a:cubicBezTo>
                    <a:pt x="748" y="840"/>
                    <a:pt x="764" y="810"/>
                    <a:pt x="748" y="764"/>
                  </a:cubicBezTo>
                  <a:cubicBezTo>
                    <a:pt x="748" y="741"/>
                    <a:pt x="741" y="710"/>
                    <a:pt x="726" y="695"/>
                  </a:cubicBezTo>
                  <a:cubicBezTo>
                    <a:pt x="718" y="687"/>
                    <a:pt x="687" y="665"/>
                    <a:pt x="680" y="649"/>
                  </a:cubicBezTo>
                  <a:cubicBezTo>
                    <a:pt x="680" y="649"/>
                    <a:pt x="672" y="642"/>
                    <a:pt x="664" y="642"/>
                  </a:cubicBezTo>
                  <a:lnTo>
                    <a:pt x="657" y="642"/>
                  </a:lnTo>
                  <a:cubicBezTo>
                    <a:pt x="657" y="634"/>
                    <a:pt x="664" y="581"/>
                    <a:pt x="649" y="573"/>
                  </a:cubicBezTo>
                  <a:cubicBezTo>
                    <a:pt x="641" y="558"/>
                    <a:pt x="619" y="550"/>
                    <a:pt x="619" y="535"/>
                  </a:cubicBezTo>
                  <a:cubicBezTo>
                    <a:pt x="611" y="527"/>
                    <a:pt x="603" y="520"/>
                    <a:pt x="603" y="520"/>
                  </a:cubicBezTo>
                  <a:cubicBezTo>
                    <a:pt x="596" y="512"/>
                    <a:pt x="580" y="466"/>
                    <a:pt x="580" y="458"/>
                  </a:cubicBezTo>
                  <a:cubicBezTo>
                    <a:pt x="588" y="458"/>
                    <a:pt x="588" y="458"/>
                    <a:pt x="588" y="458"/>
                  </a:cubicBezTo>
                  <a:cubicBezTo>
                    <a:pt x="626" y="458"/>
                    <a:pt x="672" y="466"/>
                    <a:pt x="710" y="466"/>
                  </a:cubicBezTo>
                  <a:cubicBezTo>
                    <a:pt x="733" y="435"/>
                    <a:pt x="748" y="382"/>
                    <a:pt x="779" y="344"/>
                  </a:cubicBezTo>
                  <a:cubicBezTo>
                    <a:pt x="794" y="328"/>
                    <a:pt x="817" y="321"/>
                    <a:pt x="833" y="306"/>
                  </a:cubicBezTo>
                  <a:cubicBezTo>
                    <a:pt x="848" y="275"/>
                    <a:pt x="848" y="275"/>
                    <a:pt x="848" y="245"/>
                  </a:cubicBezTo>
                  <a:lnTo>
                    <a:pt x="848" y="237"/>
                  </a:lnTo>
                  <a:cubicBezTo>
                    <a:pt x="855" y="237"/>
                    <a:pt x="863" y="229"/>
                    <a:pt x="863" y="229"/>
                  </a:cubicBezTo>
                  <a:cubicBezTo>
                    <a:pt x="871" y="222"/>
                    <a:pt x="886" y="199"/>
                    <a:pt x="886" y="191"/>
                  </a:cubicBezTo>
                  <a:cubicBezTo>
                    <a:pt x="955" y="191"/>
                    <a:pt x="916" y="138"/>
                    <a:pt x="962" y="130"/>
                  </a:cubicBezTo>
                  <a:cubicBezTo>
                    <a:pt x="970" y="115"/>
                    <a:pt x="970" y="84"/>
                    <a:pt x="978" y="76"/>
                  </a:cubicBezTo>
                  <a:cubicBezTo>
                    <a:pt x="978" y="69"/>
                    <a:pt x="978" y="61"/>
                    <a:pt x="978" y="53"/>
                  </a:cubicBezTo>
                  <a:lnTo>
                    <a:pt x="985" y="46"/>
                  </a:lnTo>
                  <a:cubicBezTo>
                    <a:pt x="993" y="38"/>
                    <a:pt x="1000" y="31"/>
                    <a:pt x="1008" y="31"/>
                  </a:cubicBezTo>
                  <a:cubicBezTo>
                    <a:pt x="1008" y="23"/>
                    <a:pt x="1016" y="23"/>
                    <a:pt x="1016" y="23"/>
                  </a:cubicBezTo>
                  <a:cubicBezTo>
                    <a:pt x="1023" y="23"/>
                    <a:pt x="1031" y="15"/>
                    <a:pt x="1031" y="15"/>
                  </a:cubicBezTo>
                  <a:cubicBezTo>
                    <a:pt x="1046" y="0"/>
                    <a:pt x="1046" y="0"/>
                    <a:pt x="1046" y="0"/>
                  </a:cubicBezTo>
                  <a:lnTo>
                    <a:pt x="1046" y="0"/>
                  </a:lnTo>
                  <a:cubicBezTo>
                    <a:pt x="1069" y="46"/>
                    <a:pt x="1100" y="92"/>
                    <a:pt x="1123" y="130"/>
                  </a:cubicBezTo>
                  <a:cubicBezTo>
                    <a:pt x="1191" y="260"/>
                    <a:pt x="1306" y="306"/>
                    <a:pt x="1428" y="351"/>
                  </a:cubicBezTo>
                  <a:cubicBezTo>
                    <a:pt x="1482" y="367"/>
                    <a:pt x="1421" y="390"/>
                    <a:pt x="1421" y="413"/>
                  </a:cubicBezTo>
                  <a:cubicBezTo>
                    <a:pt x="1421" y="413"/>
                    <a:pt x="1497" y="504"/>
                    <a:pt x="1512" y="512"/>
                  </a:cubicBezTo>
                  <a:cubicBezTo>
                    <a:pt x="1566" y="542"/>
                    <a:pt x="1596" y="542"/>
                    <a:pt x="1635" y="611"/>
                  </a:cubicBezTo>
                  <a:cubicBezTo>
                    <a:pt x="1657" y="665"/>
                    <a:pt x="1673" y="672"/>
                    <a:pt x="1673" y="733"/>
                  </a:cubicBezTo>
                  <a:cubicBezTo>
                    <a:pt x="1673" y="779"/>
                    <a:pt x="1711" y="802"/>
                    <a:pt x="1711" y="840"/>
                  </a:cubicBezTo>
                  <a:cubicBezTo>
                    <a:pt x="1711" y="886"/>
                    <a:pt x="1749" y="871"/>
                    <a:pt x="1749" y="932"/>
                  </a:cubicBezTo>
                  <a:cubicBezTo>
                    <a:pt x="1741" y="985"/>
                    <a:pt x="1787" y="1092"/>
                    <a:pt x="1749" y="1138"/>
                  </a:cubicBezTo>
                  <a:cubicBezTo>
                    <a:pt x="1657" y="1253"/>
                    <a:pt x="1833" y="1329"/>
                    <a:pt x="1818" y="1367"/>
                  </a:cubicBezTo>
                  <a:cubicBezTo>
                    <a:pt x="1772" y="1444"/>
                    <a:pt x="1810" y="1581"/>
                    <a:pt x="1856" y="1650"/>
                  </a:cubicBezTo>
                  <a:cubicBezTo>
                    <a:pt x="1856" y="1673"/>
                    <a:pt x="1871" y="1696"/>
                    <a:pt x="1871" y="1719"/>
                  </a:cubicBezTo>
                  <a:cubicBezTo>
                    <a:pt x="1887" y="1749"/>
                    <a:pt x="1841" y="1772"/>
                    <a:pt x="1856" y="1818"/>
                  </a:cubicBezTo>
                  <a:cubicBezTo>
                    <a:pt x="1940" y="2024"/>
                    <a:pt x="1940" y="2024"/>
                    <a:pt x="1940" y="2024"/>
                  </a:cubicBezTo>
                  <a:cubicBezTo>
                    <a:pt x="1955" y="2047"/>
                    <a:pt x="1963" y="2078"/>
                    <a:pt x="1971" y="2101"/>
                  </a:cubicBezTo>
                  <a:lnTo>
                    <a:pt x="1971" y="2101"/>
                  </a:lnTo>
                  <a:cubicBezTo>
                    <a:pt x="1948" y="2108"/>
                    <a:pt x="1955" y="2101"/>
                    <a:pt x="1932" y="2116"/>
                  </a:cubicBezTo>
                  <a:cubicBezTo>
                    <a:pt x="1917" y="2123"/>
                    <a:pt x="1925" y="2139"/>
                    <a:pt x="1909" y="2154"/>
                  </a:cubicBezTo>
                  <a:cubicBezTo>
                    <a:pt x="1902" y="2162"/>
                    <a:pt x="1894" y="2169"/>
                    <a:pt x="1879" y="2169"/>
                  </a:cubicBezTo>
                  <a:cubicBezTo>
                    <a:pt x="1864" y="2177"/>
                    <a:pt x="1848" y="2162"/>
                    <a:pt x="1833" y="2154"/>
                  </a:cubicBezTo>
                  <a:cubicBezTo>
                    <a:pt x="1810" y="2154"/>
                    <a:pt x="1795" y="2162"/>
                    <a:pt x="1772" y="2162"/>
                  </a:cubicBezTo>
                  <a:cubicBezTo>
                    <a:pt x="1764" y="2162"/>
                    <a:pt x="1749" y="2146"/>
                    <a:pt x="1741" y="2146"/>
                  </a:cubicBezTo>
                  <a:cubicBezTo>
                    <a:pt x="1719" y="2139"/>
                    <a:pt x="1703" y="2139"/>
                    <a:pt x="1688" y="2139"/>
                  </a:cubicBezTo>
                  <a:lnTo>
                    <a:pt x="1688" y="2139"/>
                  </a:lnTo>
                  <a:cubicBezTo>
                    <a:pt x="1673" y="2123"/>
                    <a:pt x="1665" y="2093"/>
                    <a:pt x="1650" y="2093"/>
                  </a:cubicBezTo>
                  <a:cubicBezTo>
                    <a:pt x="1619" y="2093"/>
                    <a:pt x="1589" y="2108"/>
                    <a:pt x="1573" y="2139"/>
                  </a:cubicBezTo>
                  <a:cubicBezTo>
                    <a:pt x="1558" y="2154"/>
                    <a:pt x="1596" y="2185"/>
                    <a:pt x="1589" y="2208"/>
                  </a:cubicBezTo>
                  <a:cubicBezTo>
                    <a:pt x="1573" y="2231"/>
                    <a:pt x="1535" y="2223"/>
                    <a:pt x="1512" y="2246"/>
                  </a:cubicBezTo>
                  <a:cubicBezTo>
                    <a:pt x="1497" y="2276"/>
                    <a:pt x="1489" y="2322"/>
                    <a:pt x="1482" y="23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117"/>
            <p:cNvSpPr>
              <a:spLocks noChangeArrowheads="1"/>
            </p:cNvSpPr>
            <p:nvPr/>
          </p:nvSpPr>
          <p:spPr bwMode="auto">
            <a:xfrm>
              <a:off x="7075028" y="5759450"/>
              <a:ext cx="134928" cy="139700"/>
            </a:xfrm>
            <a:custGeom>
              <a:avLst/>
              <a:gdLst>
                <a:gd name="T0" fmla="*/ 336 w 375"/>
                <a:gd name="T1" fmla="*/ 0 h 390"/>
                <a:gd name="T2" fmla="*/ 336 w 375"/>
                <a:gd name="T3" fmla="*/ 0 h 390"/>
                <a:gd name="T4" fmla="*/ 222 w 375"/>
                <a:gd name="T5" fmla="*/ 38 h 390"/>
                <a:gd name="T6" fmla="*/ 99 w 375"/>
                <a:gd name="T7" fmla="*/ 30 h 390"/>
                <a:gd name="T8" fmla="*/ 99 w 375"/>
                <a:gd name="T9" fmla="*/ 30 h 390"/>
                <a:gd name="T10" fmla="*/ 23 w 375"/>
                <a:gd name="T11" fmla="*/ 38 h 390"/>
                <a:gd name="T12" fmla="*/ 23 w 375"/>
                <a:gd name="T13" fmla="*/ 168 h 390"/>
                <a:gd name="T14" fmla="*/ 23 w 375"/>
                <a:gd name="T15" fmla="*/ 168 h 390"/>
                <a:gd name="T16" fmla="*/ 38 w 375"/>
                <a:gd name="T17" fmla="*/ 183 h 390"/>
                <a:gd name="T18" fmla="*/ 99 w 375"/>
                <a:gd name="T19" fmla="*/ 190 h 390"/>
                <a:gd name="T20" fmla="*/ 122 w 375"/>
                <a:gd name="T21" fmla="*/ 305 h 390"/>
                <a:gd name="T22" fmla="*/ 137 w 375"/>
                <a:gd name="T23" fmla="*/ 381 h 390"/>
                <a:gd name="T24" fmla="*/ 229 w 375"/>
                <a:gd name="T25" fmla="*/ 374 h 390"/>
                <a:gd name="T26" fmla="*/ 244 w 375"/>
                <a:gd name="T27" fmla="*/ 336 h 390"/>
                <a:gd name="T28" fmla="*/ 252 w 375"/>
                <a:gd name="T29" fmla="*/ 267 h 390"/>
                <a:gd name="T30" fmla="*/ 305 w 375"/>
                <a:gd name="T31" fmla="*/ 244 h 390"/>
                <a:gd name="T32" fmla="*/ 374 w 375"/>
                <a:gd name="T33" fmla="*/ 213 h 390"/>
                <a:gd name="T34" fmla="*/ 374 w 375"/>
                <a:gd name="T35" fmla="*/ 213 h 390"/>
                <a:gd name="T36" fmla="*/ 336 w 375"/>
                <a:gd name="T37" fmla="*/ 38 h 390"/>
                <a:gd name="T38" fmla="*/ 336 w 375"/>
                <a:gd name="T39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5" h="390">
                  <a:moveTo>
                    <a:pt x="336" y="0"/>
                  </a:moveTo>
                  <a:lnTo>
                    <a:pt x="336" y="0"/>
                  </a:lnTo>
                  <a:cubicBezTo>
                    <a:pt x="298" y="15"/>
                    <a:pt x="267" y="30"/>
                    <a:pt x="222" y="38"/>
                  </a:cubicBezTo>
                  <a:cubicBezTo>
                    <a:pt x="183" y="38"/>
                    <a:pt x="145" y="30"/>
                    <a:pt x="99" y="30"/>
                  </a:cubicBezTo>
                  <a:lnTo>
                    <a:pt x="99" y="30"/>
                  </a:lnTo>
                  <a:cubicBezTo>
                    <a:pt x="76" y="30"/>
                    <a:pt x="38" y="15"/>
                    <a:pt x="23" y="38"/>
                  </a:cubicBezTo>
                  <a:cubicBezTo>
                    <a:pt x="0" y="76"/>
                    <a:pt x="23" y="122"/>
                    <a:pt x="23" y="168"/>
                  </a:cubicBezTo>
                  <a:lnTo>
                    <a:pt x="23" y="168"/>
                  </a:lnTo>
                  <a:cubicBezTo>
                    <a:pt x="30" y="175"/>
                    <a:pt x="30" y="183"/>
                    <a:pt x="38" y="183"/>
                  </a:cubicBezTo>
                  <a:cubicBezTo>
                    <a:pt x="61" y="190"/>
                    <a:pt x="76" y="183"/>
                    <a:pt x="99" y="190"/>
                  </a:cubicBezTo>
                  <a:cubicBezTo>
                    <a:pt x="99" y="190"/>
                    <a:pt x="122" y="298"/>
                    <a:pt x="122" y="305"/>
                  </a:cubicBezTo>
                  <a:cubicBezTo>
                    <a:pt x="122" y="313"/>
                    <a:pt x="137" y="381"/>
                    <a:pt x="137" y="381"/>
                  </a:cubicBezTo>
                  <a:cubicBezTo>
                    <a:pt x="168" y="381"/>
                    <a:pt x="199" y="389"/>
                    <a:pt x="229" y="374"/>
                  </a:cubicBezTo>
                  <a:cubicBezTo>
                    <a:pt x="244" y="374"/>
                    <a:pt x="244" y="351"/>
                    <a:pt x="244" y="336"/>
                  </a:cubicBezTo>
                  <a:cubicBezTo>
                    <a:pt x="252" y="313"/>
                    <a:pt x="237" y="282"/>
                    <a:pt x="252" y="267"/>
                  </a:cubicBezTo>
                  <a:cubicBezTo>
                    <a:pt x="260" y="244"/>
                    <a:pt x="290" y="252"/>
                    <a:pt x="305" y="244"/>
                  </a:cubicBezTo>
                  <a:cubicBezTo>
                    <a:pt x="336" y="236"/>
                    <a:pt x="344" y="229"/>
                    <a:pt x="374" y="213"/>
                  </a:cubicBezTo>
                  <a:lnTo>
                    <a:pt x="374" y="213"/>
                  </a:lnTo>
                  <a:cubicBezTo>
                    <a:pt x="351" y="168"/>
                    <a:pt x="336" y="76"/>
                    <a:pt x="336" y="38"/>
                  </a:cubicBezTo>
                  <a:cubicBezTo>
                    <a:pt x="336" y="30"/>
                    <a:pt x="336" y="15"/>
                    <a:pt x="33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118"/>
            <p:cNvSpPr>
              <a:spLocks noChangeArrowheads="1"/>
            </p:cNvSpPr>
            <p:nvPr/>
          </p:nvSpPr>
          <p:spPr bwMode="auto">
            <a:xfrm>
              <a:off x="6644842" y="5781676"/>
              <a:ext cx="623847" cy="449263"/>
            </a:xfrm>
            <a:custGeom>
              <a:avLst/>
              <a:gdLst>
                <a:gd name="T0" fmla="*/ 61 w 1735"/>
                <a:gd name="T1" fmla="*/ 336 h 1246"/>
                <a:gd name="T2" fmla="*/ 222 w 1735"/>
                <a:gd name="T3" fmla="*/ 359 h 1246"/>
                <a:gd name="T4" fmla="*/ 291 w 1735"/>
                <a:gd name="T5" fmla="*/ 298 h 1246"/>
                <a:gd name="T6" fmla="*/ 329 w 1735"/>
                <a:gd name="T7" fmla="*/ 214 h 1246"/>
                <a:gd name="T8" fmla="*/ 489 w 1735"/>
                <a:gd name="T9" fmla="*/ 191 h 1246"/>
                <a:gd name="T10" fmla="*/ 642 w 1735"/>
                <a:gd name="T11" fmla="*/ 175 h 1246"/>
                <a:gd name="T12" fmla="*/ 734 w 1735"/>
                <a:gd name="T13" fmla="*/ 175 h 1246"/>
                <a:gd name="T14" fmla="*/ 810 w 1735"/>
                <a:gd name="T15" fmla="*/ 38 h 1246"/>
                <a:gd name="T16" fmla="*/ 902 w 1735"/>
                <a:gd name="T17" fmla="*/ 30 h 1246"/>
                <a:gd name="T18" fmla="*/ 955 w 1735"/>
                <a:gd name="T19" fmla="*/ 7 h 1246"/>
                <a:gd name="T20" fmla="*/ 1039 w 1735"/>
                <a:gd name="T21" fmla="*/ 30 h 1246"/>
                <a:gd name="T22" fmla="*/ 1077 w 1735"/>
                <a:gd name="T23" fmla="*/ 68 h 1246"/>
                <a:gd name="T24" fmla="*/ 1161 w 1735"/>
                <a:gd name="T25" fmla="*/ 46 h 1246"/>
                <a:gd name="T26" fmla="*/ 1215 w 1735"/>
                <a:gd name="T27" fmla="*/ 107 h 1246"/>
                <a:gd name="T28" fmla="*/ 1230 w 1735"/>
                <a:gd name="T29" fmla="*/ 122 h 1246"/>
                <a:gd name="T30" fmla="*/ 1314 w 1735"/>
                <a:gd name="T31" fmla="*/ 244 h 1246"/>
                <a:gd name="T32" fmla="*/ 1421 w 1735"/>
                <a:gd name="T33" fmla="*/ 313 h 1246"/>
                <a:gd name="T34" fmla="*/ 1444 w 1735"/>
                <a:gd name="T35" fmla="*/ 206 h 1246"/>
                <a:gd name="T36" fmla="*/ 1566 w 1735"/>
                <a:gd name="T37" fmla="*/ 152 h 1246"/>
                <a:gd name="T38" fmla="*/ 1581 w 1735"/>
                <a:gd name="T39" fmla="*/ 175 h 1246"/>
                <a:gd name="T40" fmla="*/ 1734 w 1735"/>
                <a:gd name="T41" fmla="*/ 481 h 1246"/>
                <a:gd name="T42" fmla="*/ 1643 w 1735"/>
                <a:gd name="T43" fmla="*/ 512 h 1246"/>
                <a:gd name="T44" fmla="*/ 1536 w 1735"/>
                <a:gd name="T45" fmla="*/ 672 h 1246"/>
                <a:gd name="T46" fmla="*/ 1490 w 1735"/>
                <a:gd name="T47" fmla="*/ 741 h 1246"/>
                <a:gd name="T48" fmla="*/ 1398 w 1735"/>
                <a:gd name="T49" fmla="*/ 817 h 1246"/>
                <a:gd name="T50" fmla="*/ 1406 w 1735"/>
                <a:gd name="T51" fmla="*/ 863 h 1246"/>
                <a:gd name="T52" fmla="*/ 1314 w 1735"/>
                <a:gd name="T53" fmla="*/ 848 h 1246"/>
                <a:gd name="T54" fmla="*/ 1207 w 1735"/>
                <a:gd name="T55" fmla="*/ 909 h 1246"/>
                <a:gd name="T56" fmla="*/ 1047 w 1735"/>
                <a:gd name="T57" fmla="*/ 817 h 1246"/>
                <a:gd name="T58" fmla="*/ 993 w 1735"/>
                <a:gd name="T59" fmla="*/ 901 h 1246"/>
                <a:gd name="T60" fmla="*/ 1009 w 1735"/>
                <a:gd name="T61" fmla="*/ 1023 h 1246"/>
                <a:gd name="T62" fmla="*/ 886 w 1735"/>
                <a:gd name="T63" fmla="*/ 1031 h 1246"/>
                <a:gd name="T64" fmla="*/ 772 w 1735"/>
                <a:gd name="T65" fmla="*/ 1115 h 1246"/>
                <a:gd name="T66" fmla="*/ 596 w 1735"/>
                <a:gd name="T67" fmla="*/ 1245 h 1246"/>
                <a:gd name="T68" fmla="*/ 466 w 1735"/>
                <a:gd name="T69" fmla="*/ 1161 h 1246"/>
                <a:gd name="T70" fmla="*/ 283 w 1735"/>
                <a:gd name="T71" fmla="*/ 1222 h 1246"/>
                <a:gd name="T72" fmla="*/ 291 w 1735"/>
                <a:gd name="T73" fmla="*/ 1107 h 1246"/>
                <a:gd name="T74" fmla="*/ 237 w 1735"/>
                <a:gd name="T75" fmla="*/ 1016 h 1246"/>
                <a:gd name="T76" fmla="*/ 84 w 1735"/>
                <a:gd name="T77" fmla="*/ 863 h 1246"/>
                <a:gd name="T78" fmla="*/ 100 w 1735"/>
                <a:gd name="T79" fmla="*/ 710 h 1246"/>
                <a:gd name="T80" fmla="*/ 39 w 1735"/>
                <a:gd name="T81" fmla="*/ 649 h 1246"/>
                <a:gd name="T82" fmla="*/ 31 w 1735"/>
                <a:gd name="T83" fmla="*/ 550 h 1246"/>
                <a:gd name="T84" fmla="*/ 46 w 1735"/>
                <a:gd name="T85" fmla="*/ 427 h 1246"/>
                <a:gd name="T86" fmla="*/ 61 w 1735"/>
                <a:gd name="T87" fmla="*/ 33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5" h="1246">
                  <a:moveTo>
                    <a:pt x="61" y="336"/>
                  </a:moveTo>
                  <a:lnTo>
                    <a:pt x="61" y="336"/>
                  </a:lnTo>
                  <a:cubicBezTo>
                    <a:pt x="84" y="336"/>
                    <a:pt x="107" y="320"/>
                    <a:pt x="138" y="320"/>
                  </a:cubicBezTo>
                  <a:cubicBezTo>
                    <a:pt x="168" y="328"/>
                    <a:pt x="191" y="351"/>
                    <a:pt x="222" y="359"/>
                  </a:cubicBezTo>
                  <a:cubicBezTo>
                    <a:pt x="222" y="359"/>
                    <a:pt x="237" y="290"/>
                    <a:pt x="245" y="290"/>
                  </a:cubicBezTo>
                  <a:cubicBezTo>
                    <a:pt x="253" y="290"/>
                    <a:pt x="291" y="298"/>
                    <a:pt x="291" y="298"/>
                  </a:cubicBezTo>
                  <a:cubicBezTo>
                    <a:pt x="298" y="282"/>
                    <a:pt x="314" y="275"/>
                    <a:pt x="321" y="260"/>
                  </a:cubicBezTo>
                  <a:cubicBezTo>
                    <a:pt x="329" y="244"/>
                    <a:pt x="321" y="221"/>
                    <a:pt x="329" y="214"/>
                  </a:cubicBezTo>
                  <a:cubicBezTo>
                    <a:pt x="359" y="198"/>
                    <a:pt x="390" y="221"/>
                    <a:pt x="420" y="214"/>
                  </a:cubicBezTo>
                  <a:cubicBezTo>
                    <a:pt x="443" y="214"/>
                    <a:pt x="466" y="206"/>
                    <a:pt x="489" y="191"/>
                  </a:cubicBezTo>
                  <a:cubicBezTo>
                    <a:pt x="512" y="183"/>
                    <a:pt x="528" y="145"/>
                    <a:pt x="558" y="137"/>
                  </a:cubicBezTo>
                  <a:cubicBezTo>
                    <a:pt x="589" y="137"/>
                    <a:pt x="619" y="160"/>
                    <a:pt x="642" y="175"/>
                  </a:cubicBezTo>
                  <a:cubicBezTo>
                    <a:pt x="657" y="183"/>
                    <a:pt x="665" y="214"/>
                    <a:pt x="680" y="214"/>
                  </a:cubicBezTo>
                  <a:cubicBezTo>
                    <a:pt x="703" y="214"/>
                    <a:pt x="726" y="198"/>
                    <a:pt x="734" y="175"/>
                  </a:cubicBezTo>
                  <a:cubicBezTo>
                    <a:pt x="757" y="152"/>
                    <a:pt x="757" y="114"/>
                    <a:pt x="772" y="84"/>
                  </a:cubicBezTo>
                  <a:cubicBezTo>
                    <a:pt x="787" y="68"/>
                    <a:pt x="803" y="53"/>
                    <a:pt x="810" y="38"/>
                  </a:cubicBezTo>
                  <a:lnTo>
                    <a:pt x="810" y="38"/>
                  </a:lnTo>
                  <a:cubicBezTo>
                    <a:pt x="841" y="38"/>
                    <a:pt x="879" y="38"/>
                    <a:pt x="902" y="30"/>
                  </a:cubicBezTo>
                  <a:cubicBezTo>
                    <a:pt x="917" y="30"/>
                    <a:pt x="917" y="7"/>
                    <a:pt x="925" y="7"/>
                  </a:cubicBezTo>
                  <a:cubicBezTo>
                    <a:pt x="932" y="0"/>
                    <a:pt x="947" y="0"/>
                    <a:pt x="955" y="7"/>
                  </a:cubicBezTo>
                  <a:cubicBezTo>
                    <a:pt x="963" y="15"/>
                    <a:pt x="970" y="30"/>
                    <a:pt x="986" y="30"/>
                  </a:cubicBezTo>
                  <a:cubicBezTo>
                    <a:pt x="1001" y="38"/>
                    <a:pt x="1024" y="23"/>
                    <a:pt x="1039" y="30"/>
                  </a:cubicBezTo>
                  <a:cubicBezTo>
                    <a:pt x="1055" y="38"/>
                    <a:pt x="1047" y="53"/>
                    <a:pt x="1055" y="61"/>
                  </a:cubicBezTo>
                  <a:cubicBezTo>
                    <a:pt x="1062" y="68"/>
                    <a:pt x="1070" y="61"/>
                    <a:pt x="1077" y="68"/>
                  </a:cubicBezTo>
                  <a:cubicBezTo>
                    <a:pt x="1085" y="76"/>
                    <a:pt x="1077" y="107"/>
                    <a:pt x="1093" y="107"/>
                  </a:cubicBezTo>
                  <a:cubicBezTo>
                    <a:pt x="1123" y="99"/>
                    <a:pt x="1131" y="46"/>
                    <a:pt x="1161" y="46"/>
                  </a:cubicBezTo>
                  <a:cubicBezTo>
                    <a:pt x="1184" y="46"/>
                    <a:pt x="1161" y="91"/>
                    <a:pt x="1177" y="107"/>
                  </a:cubicBezTo>
                  <a:cubicBezTo>
                    <a:pt x="1184" y="114"/>
                    <a:pt x="1200" y="107"/>
                    <a:pt x="1215" y="107"/>
                  </a:cubicBezTo>
                  <a:lnTo>
                    <a:pt x="1215" y="107"/>
                  </a:lnTo>
                  <a:cubicBezTo>
                    <a:pt x="1222" y="114"/>
                    <a:pt x="1222" y="122"/>
                    <a:pt x="1230" y="122"/>
                  </a:cubicBezTo>
                  <a:cubicBezTo>
                    <a:pt x="1253" y="129"/>
                    <a:pt x="1268" y="122"/>
                    <a:pt x="1291" y="129"/>
                  </a:cubicBezTo>
                  <a:cubicBezTo>
                    <a:pt x="1291" y="129"/>
                    <a:pt x="1314" y="237"/>
                    <a:pt x="1314" y="244"/>
                  </a:cubicBezTo>
                  <a:cubicBezTo>
                    <a:pt x="1314" y="252"/>
                    <a:pt x="1329" y="320"/>
                    <a:pt x="1329" y="320"/>
                  </a:cubicBezTo>
                  <a:cubicBezTo>
                    <a:pt x="1360" y="320"/>
                    <a:pt x="1391" y="328"/>
                    <a:pt x="1421" y="313"/>
                  </a:cubicBezTo>
                  <a:cubicBezTo>
                    <a:pt x="1436" y="313"/>
                    <a:pt x="1436" y="290"/>
                    <a:pt x="1436" y="275"/>
                  </a:cubicBezTo>
                  <a:cubicBezTo>
                    <a:pt x="1444" y="252"/>
                    <a:pt x="1429" y="221"/>
                    <a:pt x="1444" y="206"/>
                  </a:cubicBezTo>
                  <a:cubicBezTo>
                    <a:pt x="1452" y="183"/>
                    <a:pt x="1482" y="191"/>
                    <a:pt x="1497" y="183"/>
                  </a:cubicBezTo>
                  <a:cubicBezTo>
                    <a:pt x="1528" y="175"/>
                    <a:pt x="1536" y="168"/>
                    <a:pt x="1566" y="152"/>
                  </a:cubicBezTo>
                  <a:lnTo>
                    <a:pt x="1566" y="152"/>
                  </a:lnTo>
                  <a:cubicBezTo>
                    <a:pt x="1574" y="160"/>
                    <a:pt x="1574" y="168"/>
                    <a:pt x="1581" y="175"/>
                  </a:cubicBezTo>
                  <a:cubicBezTo>
                    <a:pt x="1574" y="229"/>
                    <a:pt x="1612" y="343"/>
                    <a:pt x="1643" y="389"/>
                  </a:cubicBezTo>
                  <a:cubicBezTo>
                    <a:pt x="1650" y="412"/>
                    <a:pt x="1696" y="450"/>
                    <a:pt x="1734" y="481"/>
                  </a:cubicBezTo>
                  <a:lnTo>
                    <a:pt x="1734" y="481"/>
                  </a:lnTo>
                  <a:cubicBezTo>
                    <a:pt x="1704" y="489"/>
                    <a:pt x="1673" y="489"/>
                    <a:pt x="1643" y="512"/>
                  </a:cubicBezTo>
                  <a:cubicBezTo>
                    <a:pt x="1612" y="534"/>
                    <a:pt x="1574" y="565"/>
                    <a:pt x="1551" y="596"/>
                  </a:cubicBezTo>
                  <a:cubicBezTo>
                    <a:pt x="1543" y="618"/>
                    <a:pt x="1543" y="649"/>
                    <a:pt x="1536" y="672"/>
                  </a:cubicBezTo>
                  <a:cubicBezTo>
                    <a:pt x="1528" y="695"/>
                    <a:pt x="1505" y="718"/>
                    <a:pt x="1490" y="741"/>
                  </a:cubicBezTo>
                  <a:lnTo>
                    <a:pt x="1490" y="741"/>
                  </a:lnTo>
                  <a:cubicBezTo>
                    <a:pt x="1482" y="756"/>
                    <a:pt x="1490" y="786"/>
                    <a:pt x="1467" y="802"/>
                  </a:cubicBezTo>
                  <a:cubicBezTo>
                    <a:pt x="1452" y="817"/>
                    <a:pt x="1414" y="802"/>
                    <a:pt x="1398" y="817"/>
                  </a:cubicBezTo>
                  <a:cubicBezTo>
                    <a:pt x="1383" y="832"/>
                    <a:pt x="1406" y="848"/>
                    <a:pt x="1406" y="863"/>
                  </a:cubicBezTo>
                  <a:lnTo>
                    <a:pt x="1406" y="863"/>
                  </a:lnTo>
                  <a:cubicBezTo>
                    <a:pt x="1398" y="871"/>
                    <a:pt x="1383" y="878"/>
                    <a:pt x="1375" y="878"/>
                  </a:cubicBezTo>
                  <a:cubicBezTo>
                    <a:pt x="1352" y="871"/>
                    <a:pt x="1337" y="848"/>
                    <a:pt x="1314" y="848"/>
                  </a:cubicBezTo>
                  <a:cubicBezTo>
                    <a:pt x="1284" y="848"/>
                    <a:pt x="1253" y="863"/>
                    <a:pt x="1230" y="878"/>
                  </a:cubicBezTo>
                  <a:cubicBezTo>
                    <a:pt x="1215" y="878"/>
                    <a:pt x="1215" y="916"/>
                    <a:pt x="1207" y="909"/>
                  </a:cubicBezTo>
                  <a:cubicBezTo>
                    <a:pt x="1169" y="886"/>
                    <a:pt x="1169" y="832"/>
                    <a:pt x="1131" y="817"/>
                  </a:cubicBezTo>
                  <a:cubicBezTo>
                    <a:pt x="1108" y="802"/>
                    <a:pt x="1070" y="802"/>
                    <a:pt x="1047" y="817"/>
                  </a:cubicBezTo>
                  <a:cubicBezTo>
                    <a:pt x="1024" y="832"/>
                    <a:pt x="1047" y="863"/>
                    <a:pt x="1032" y="886"/>
                  </a:cubicBezTo>
                  <a:cubicBezTo>
                    <a:pt x="1032" y="893"/>
                    <a:pt x="1001" y="893"/>
                    <a:pt x="993" y="901"/>
                  </a:cubicBezTo>
                  <a:cubicBezTo>
                    <a:pt x="986" y="939"/>
                    <a:pt x="1001" y="985"/>
                    <a:pt x="1009" y="1023"/>
                  </a:cubicBezTo>
                  <a:lnTo>
                    <a:pt x="1009" y="1023"/>
                  </a:lnTo>
                  <a:cubicBezTo>
                    <a:pt x="986" y="1023"/>
                    <a:pt x="970" y="1031"/>
                    <a:pt x="955" y="1038"/>
                  </a:cubicBezTo>
                  <a:cubicBezTo>
                    <a:pt x="932" y="1038"/>
                    <a:pt x="902" y="1016"/>
                    <a:pt x="886" y="1031"/>
                  </a:cubicBezTo>
                  <a:cubicBezTo>
                    <a:pt x="856" y="1061"/>
                    <a:pt x="886" y="1123"/>
                    <a:pt x="848" y="1153"/>
                  </a:cubicBezTo>
                  <a:cubicBezTo>
                    <a:pt x="825" y="1168"/>
                    <a:pt x="803" y="1107"/>
                    <a:pt x="772" y="1115"/>
                  </a:cubicBezTo>
                  <a:cubicBezTo>
                    <a:pt x="749" y="1115"/>
                    <a:pt x="780" y="1161"/>
                    <a:pt x="764" y="1168"/>
                  </a:cubicBezTo>
                  <a:cubicBezTo>
                    <a:pt x="711" y="1207"/>
                    <a:pt x="650" y="1229"/>
                    <a:pt x="596" y="1245"/>
                  </a:cubicBezTo>
                  <a:cubicBezTo>
                    <a:pt x="581" y="1245"/>
                    <a:pt x="581" y="1222"/>
                    <a:pt x="573" y="1214"/>
                  </a:cubicBezTo>
                  <a:cubicBezTo>
                    <a:pt x="535" y="1191"/>
                    <a:pt x="505" y="1161"/>
                    <a:pt x="466" y="1161"/>
                  </a:cubicBezTo>
                  <a:cubicBezTo>
                    <a:pt x="436" y="1161"/>
                    <a:pt x="420" y="1199"/>
                    <a:pt x="390" y="1207"/>
                  </a:cubicBezTo>
                  <a:cubicBezTo>
                    <a:pt x="359" y="1222"/>
                    <a:pt x="314" y="1214"/>
                    <a:pt x="283" y="1222"/>
                  </a:cubicBezTo>
                  <a:lnTo>
                    <a:pt x="283" y="1222"/>
                  </a:lnTo>
                  <a:cubicBezTo>
                    <a:pt x="283" y="1184"/>
                    <a:pt x="291" y="1146"/>
                    <a:pt x="291" y="1107"/>
                  </a:cubicBezTo>
                  <a:cubicBezTo>
                    <a:pt x="291" y="1077"/>
                    <a:pt x="283" y="1038"/>
                    <a:pt x="268" y="1016"/>
                  </a:cubicBezTo>
                  <a:cubicBezTo>
                    <a:pt x="260" y="1000"/>
                    <a:pt x="245" y="1023"/>
                    <a:pt x="237" y="1016"/>
                  </a:cubicBezTo>
                  <a:cubicBezTo>
                    <a:pt x="230" y="1008"/>
                    <a:pt x="230" y="993"/>
                    <a:pt x="222" y="977"/>
                  </a:cubicBezTo>
                  <a:cubicBezTo>
                    <a:pt x="176" y="939"/>
                    <a:pt x="123" y="909"/>
                    <a:pt x="84" y="863"/>
                  </a:cubicBezTo>
                  <a:cubicBezTo>
                    <a:pt x="61" y="832"/>
                    <a:pt x="46" y="794"/>
                    <a:pt x="54" y="764"/>
                  </a:cubicBezTo>
                  <a:cubicBezTo>
                    <a:pt x="54" y="741"/>
                    <a:pt x="92" y="733"/>
                    <a:pt x="100" y="710"/>
                  </a:cubicBezTo>
                  <a:cubicBezTo>
                    <a:pt x="100" y="695"/>
                    <a:pt x="92" y="679"/>
                    <a:pt x="84" y="664"/>
                  </a:cubicBezTo>
                  <a:cubicBezTo>
                    <a:pt x="77" y="657"/>
                    <a:pt x="54" y="664"/>
                    <a:pt x="39" y="649"/>
                  </a:cubicBezTo>
                  <a:cubicBezTo>
                    <a:pt x="23" y="634"/>
                    <a:pt x="8" y="611"/>
                    <a:pt x="0" y="580"/>
                  </a:cubicBezTo>
                  <a:cubicBezTo>
                    <a:pt x="0" y="565"/>
                    <a:pt x="23" y="557"/>
                    <a:pt x="31" y="550"/>
                  </a:cubicBezTo>
                  <a:cubicBezTo>
                    <a:pt x="39" y="527"/>
                    <a:pt x="31" y="504"/>
                    <a:pt x="31" y="489"/>
                  </a:cubicBezTo>
                  <a:cubicBezTo>
                    <a:pt x="39" y="466"/>
                    <a:pt x="39" y="450"/>
                    <a:pt x="46" y="427"/>
                  </a:cubicBezTo>
                  <a:cubicBezTo>
                    <a:pt x="46" y="412"/>
                    <a:pt x="61" y="404"/>
                    <a:pt x="61" y="389"/>
                  </a:cubicBezTo>
                  <a:cubicBezTo>
                    <a:pt x="69" y="374"/>
                    <a:pt x="61" y="351"/>
                    <a:pt x="61" y="3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119"/>
            <p:cNvSpPr>
              <a:spLocks noChangeArrowheads="1"/>
            </p:cNvSpPr>
            <p:nvPr/>
          </p:nvSpPr>
          <p:spPr bwMode="auto">
            <a:xfrm>
              <a:off x="5897180" y="5508625"/>
              <a:ext cx="852431" cy="1144588"/>
            </a:xfrm>
            <a:custGeom>
              <a:avLst/>
              <a:gdLst>
                <a:gd name="T0" fmla="*/ 938 w 2368"/>
                <a:gd name="T1" fmla="*/ 520 h 3178"/>
                <a:gd name="T2" fmla="*/ 961 w 2368"/>
                <a:gd name="T3" fmla="*/ 611 h 3178"/>
                <a:gd name="T4" fmla="*/ 565 w 2368"/>
                <a:gd name="T5" fmla="*/ 680 h 3178"/>
                <a:gd name="T6" fmla="*/ 588 w 2368"/>
                <a:gd name="T7" fmla="*/ 733 h 3178"/>
                <a:gd name="T8" fmla="*/ 519 w 2368"/>
                <a:gd name="T9" fmla="*/ 794 h 3178"/>
                <a:gd name="T10" fmla="*/ 359 w 2368"/>
                <a:gd name="T11" fmla="*/ 1076 h 3178"/>
                <a:gd name="T12" fmla="*/ 137 w 2368"/>
                <a:gd name="T13" fmla="*/ 1443 h 3178"/>
                <a:gd name="T14" fmla="*/ 91 w 2368"/>
                <a:gd name="T15" fmla="*/ 1726 h 3178"/>
                <a:gd name="T16" fmla="*/ 107 w 2368"/>
                <a:gd name="T17" fmla="*/ 1932 h 3178"/>
                <a:gd name="T18" fmla="*/ 229 w 2368"/>
                <a:gd name="T19" fmla="*/ 2092 h 3178"/>
                <a:gd name="T20" fmla="*/ 359 w 2368"/>
                <a:gd name="T21" fmla="*/ 2413 h 3178"/>
                <a:gd name="T22" fmla="*/ 649 w 2368"/>
                <a:gd name="T23" fmla="*/ 2665 h 3178"/>
                <a:gd name="T24" fmla="*/ 778 w 2368"/>
                <a:gd name="T25" fmla="*/ 3070 h 3178"/>
                <a:gd name="T26" fmla="*/ 1045 w 2368"/>
                <a:gd name="T27" fmla="*/ 2810 h 3178"/>
                <a:gd name="T28" fmla="*/ 1236 w 2368"/>
                <a:gd name="T29" fmla="*/ 2688 h 3178"/>
                <a:gd name="T30" fmla="*/ 1251 w 2368"/>
                <a:gd name="T31" fmla="*/ 2742 h 3178"/>
                <a:gd name="T32" fmla="*/ 1366 w 2368"/>
                <a:gd name="T33" fmla="*/ 2673 h 3178"/>
                <a:gd name="T34" fmla="*/ 1488 w 2368"/>
                <a:gd name="T35" fmla="*/ 2742 h 3178"/>
                <a:gd name="T36" fmla="*/ 1626 w 2368"/>
                <a:gd name="T37" fmla="*/ 2665 h 3178"/>
                <a:gd name="T38" fmla="*/ 1817 w 2368"/>
                <a:gd name="T39" fmla="*/ 2612 h 3178"/>
                <a:gd name="T40" fmla="*/ 1916 w 2368"/>
                <a:gd name="T41" fmla="*/ 2619 h 3178"/>
                <a:gd name="T42" fmla="*/ 1992 w 2368"/>
                <a:gd name="T43" fmla="*/ 2596 h 3178"/>
                <a:gd name="T44" fmla="*/ 2099 w 2368"/>
                <a:gd name="T45" fmla="*/ 2566 h 3178"/>
                <a:gd name="T46" fmla="*/ 2122 w 2368"/>
                <a:gd name="T47" fmla="*/ 2321 h 3178"/>
                <a:gd name="T48" fmla="*/ 2115 w 2368"/>
                <a:gd name="T49" fmla="*/ 2199 h 3178"/>
                <a:gd name="T50" fmla="*/ 2137 w 2368"/>
                <a:gd name="T51" fmla="*/ 2115 h 3178"/>
                <a:gd name="T52" fmla="*/ 2222 w 2368"/>
                <a:gd name="T53" fmla="*/ 1993 h 3178"/>
                <a:gd name="T54" fmla="*/ 2359 w 2368"/>
                <a:gd name="T55" fmla="*/ 1978 h 3178"/>
                <a:gd name="T56" fmla="*/ 2367 w 2368"/>
                <a:gd name="T57" fmla="*/ 1863 h 3178"/>
                <a:gd name="T58" fmla="*/ 2313 w 2368"/>
                <a:gd name="T59" fmla="*/ 1772 h 3178"/>
                <a:gd name="T60" fmla="*/ 2160 w 2368"/>
                <a:gd name="T61" fmla="*/ 1619 h 3178"/>
                <a:gd name="T62" fmla="*/ 2176 w 2368"/>
                <a:gd name="T63" fmla="*/ 1466 h 3178"/>
                <a:gd name="T64" fmla="*/ 2115 w 2368"/>
                <a:gd name="T65" fmla="*/ 1405 h 3178"/>
                <a:gd name="T66" fmla="*/ 2107 w 2368"/>
                <a:gd name="T67" fmla="*/ 1306 h 3178"/>
                <a:gd name="T68" fmla="*/ 2122 w 2368"/>
                <a:gd name="T69" fmla="*/ 1183 h 3178"/>
                <a:gd name="T70" fmla="*/ 2137 w 2368"/>
                <a:gd name="T71" fmla="*/ 1092 h 3178"/>
                <a:gd name="T72" fmla="*/ 2099 w 2368"/>
                <a:gd name="T73" fmla="*/ 1076 h 3178"/>
                <a:gd name="T74" fmla="*/ 2023 w 2368"/>
                <a:gd name="T75" fmla="*/ 977 h 3178"/>
                <a:gd name="T76" fmla="*/ 1985 w 2368"/>
                <a:gd name="T77" fmla="*/ 947 h 3178"/>
                <a:gd name="T78" fmla="*/ 1870 w 2368"/>
                <a:gd name="T79" fmla="*/ 1046 h 3178"/>
                <a:gd name="T80" fmla="*/ 1763 w 2368"/>
                <a:gd name="T81" fmla="*/ 1008 h 3178"/>
                <a:gd name="T82" fmla="*/ 1733 w 2368"/>
                <a:gd name="T83" fmla="*/ 901 h 3178"/>
                <a:gd name="T84" fmla="*/ 1740 w 2368"/>
                <a:gd name="T85" fmla="*/ 794 h 3178"/>
                <a:gd name="T86" fmla="*/ 1748 w 2368"/>
                <a:gd name="T87" fmla="*/ 642 h 3178"/>
                <a:gd name="T88" fmla="*/ 1740 w 2368"/>
                <a:gd name="T89" fmla="*/ 596 h 3178"/>
                <a:gd name="T90" fmla="*/ 1893 w 2368"/>
                <a:gd name="T91" fmla="*/ 436 h 3178"/>
                <a:gd name="T92" fmla="*/ 1862 w 2368"/>
                <a:gd name="T93" fmla="*/ 352 h 3178"/>
                <a:gd name="T94" fmla="*/ 1779 w 2368"/>
                <a:gd name="T95" fmla="*/ 321 h 3178"/>
                <a:gd name="T96" fmla="*/ 1710 w 2368"/>
                <a:gd name="T97" fmla="*/ 207 h 3178"/>
                <a:gd name="T98" fmla="*/ 1618 w 2368"/>
                <a:gd name="T99" fmla="*/ 153 h 3178"/>
                <a:gd name="T100" fmla="*/ 1496 w 2368"/>
                <a:gd name="T101" fmla="*/ 0 h 3178"/>
                <a:gd name="T102" fmla="*/ 1450 w 2368"/>
                <a:gd name="T103" fmla="*/ 31 h 3178"/>
                <a:gd name="T104" fmla="*/ 1305 w 2368"/>
                <a:gd name="T105" fmla="*/ 115 h 3178"/>
                <a:gd name="T106" fmla="*/ 1297 w 2368"/>
                <a:gd name="T107" fmla="*/ 146 h 3178"/>
                <a:gd name="T108" fmla="*/ 1236 w 2368"/>
                <a:gd name="T109" fmla="*/ 222 h 3178"/>
                <a:gd name="T110" fmla="*/ 969 w 2368"/>
                <a:gd name="T111" fmla="*/ 314 h 3178"/>
                <a:gd name="T112" fmla="*/ 961 w 2368"/>
                <a:gd name="T113" fmla="*/ 329 h 3178"/>
                <a:gd name="T114" fmla="*/ 992 w 2368"/>
                <a:gd name="T115" fmla="*/ 375 h 3178"/>
                <a:gd name="T116" fmla="*/ 931 w 2368"/>
                <a:gd name="T117" fmla="*/ 520 h 3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68" h="3178">
                  <a:moveTo>
                    <a:pt x="938" y="520"/>
                  </a:moveTo>
                  <a:lnTo>
                    <a:pt x="938" y="520"/>
                  </a:lnTo>
                  <a:cubicBezTo>
                    <a:pt x="938" y="528"/>
                    <a:pt x="923" y="558"/>
                    <a:pt x="900" y="573"/>
                  </a:cubicBezTo>
                  <a:cubicBezTo>
                    <a:pt x="847" y="650"/>
                    <a:pt x="923" y="611"/>
                    <a:pt x="961" y="611"/>
                  </a:cubicBezTo>
                  <a:cubicBezTo>
                    <a:pt x="961" y="725"/>
                    <a:pt x="717" y="604"/>
                    <a:pt x="687" y="627"/>
                  </a:cubicBezTo>
                  <a:cubicBezTo>
                    <a:pt x="649" y="657"/>
                    <a:pt x="588" y="634"/>
                    <a:pt x="565" y="680"/>
                  </a:cubicBezTo>
                  <a:cubicBezTo>
                    <a:pt x="558" y="688"/>
                    <a:pt x="550" y="718"/>
                    <a:pt x="558" y="725"/>
                  </a:cubicBezTo>
                  <a:cubicBezTo>
                    <a:pt x="565" y="733"/>
                    <a:pt x="580" y="733"/>
                    <a:pt x="588" y="733"/>
                  </a:cubicBezTo>
                  <a:cubicBezTo>
                    <a:pt x="596" y="733"/>
                    <a:pt x="626" y="733"/>
                    <a:pt x="626" y="741"/>
                  </a:cubicBezTo>
                  <a:cubicBezTo>
                    <a:pt x="580" y="748"/>
                    <a:pt x="611" y="870"/>
                    <a:pt x="519" y="794"/>
                  </a:cubicBezTo>
                  <a:cubicBezTo>
                    <a:pt x="443" y="725"/>
                    <a:pt x="420" y="863"/>
                    <a:pt x="382" y="931"/>
                  </a:cubicBezTo>
                  <a:cubicBezTo>
                    <a:pt x="351" y="993"/>
                    <a:pt x="344" y="1008"/>
                    <a:pt x="359" y="1076"/>
                  </a:cubicBezTo>
                  <a:cubicBezTo>
                    <a:pt x="366" y="1130"/>
                    <a:pt x="313" y="1176"/>
                    <a:pt x="290" y="1222"/>
                  </a:cubicBezTo>
                  <a:cubicBezTo>
                    <a:pt x="252" y="1298"/>
                    <a:pt x="168" y="1352"/>
                    <a:pt x="137" y="1443"/>
                  </a:cubicBezTo>
                  <a:cubicBezTo>
                    <a:pt x="122" y="1489"/>
                    <a:pt x="130" y="1520"/>
                    <a:pt x="130" y="1565"/>
                  </a:cubicBezTo>
                  <a:cubicBezTo>
                    <a:pt x="130" y="1611"/>
                    <a:pt x="91" y="1672"/>
                    <a:pt x="91" y="1726"/>
                  </a:cubicBezTo>
                  <a:cubicBezTo>
                    <a:pt x="91" y="1772"/>
                    <a:pt x="61" y="1779"/>
                    <a:pt x="30" y="1794"/>
                  </a:cubicBezTo>
                  <a:cubicBezTo>
                    <a:pt x="0" y="1810"/>
                    <a:pt x="99" y="1902"/>
                    <a:pt x="107" y="1932"/>
                  </a:cubicBezTo>
                  <a:cubicBezTo>
                    <a:pt x="122" y="1978"/>
                    <a:pt x="145" y="1970"/>
                    <a:pt x="168" y="2001"/>
                  </a:cubicBezTo>
                  <a:cubicBezTo>
                    <a:pt x="191" y="2031"/>
                    <a:pt x="214" y="2062"/>
                    <a:pt x="229" y="2092"/>
                  </a:cubicBezTo>
                  <a:cubicBezTo>
                    <a:pt x="244" y="2161"/>
                    <a:pt x="305" y="2207"/>
                    <a:pt x="344" y="2260"/>
                  </a:cubicBezTo>
                  <a:cubicBezTo>
                    <a:pt x="366" y="2299"/>
                    <a:pt x="359" y="2375"/>
                    <a:pt x="359" y="2413"/>
                  </a:cubicBezTo>
                  <a:cubicBezTo>
                    <a:pt x="374" y="2497"/>
                    <a:pt x="466" y="2574"/>
                    <a:pt x="496" y="2650"/>
                  </a:cubicBezTo>
                  <a:cubicBezTo>
                    <a:pt x="542" y="2765"/>
                    <a:pt x="580" y="2665"/>
                    <a:pt x="649" y="2665"/>
                  </a:cubicBezTo>
                  <a:cubicBezTo>
                    <a:pt x="649" y="2726"/>
                    <a:pt x="542" y="2795"/>
                    <a:pt x="588" y="2871"/>
                  </a:cubicBezTo>
                  <a:cubicBezTo>
                    <a:pt x="596" y="2925"/>
                    <a:pt x="709" y="3177"/>
                    <a:pt x="778" y="3070"/>
                  </a:cubicBezTo>
                  <a:cubicBezTo>
                    <a:pt x="824" y="3001"/>
                    <a:pt x="915" y="2765"/>
                    <a:pt x="969" y="2726"/>
                  </a:cubicBezTo>
                  <a:cubicBezTo>
                    <a:pt x="976" y="2742"/>
                    <a:pt x="1030" y="2795"/>
                    <a:pt x="1045" y="2810"/>
                  </a:cubicBezTo>
                  <a:cubicBezTo>
                    <a:pt x="1083" y="2856"/>
                    <a:pt x="1061" y="2871"/>
                    <a:pt x="1091" y="2818"/>
                  </a:cubicBezTo>
                  <a:cubicBezTo>
                    <a:pt x="1122" y="2780"/>
                    <a:pt x="1221" y="2612"/>
                    <a:pt x="1236" y="2688"/>
                  </a:cubicBezTo>
                  <a:cubicBezTo>
                    <a:pt x="1244" y="2704"/>
                    <a:pt x="1251" y="2719"/>
                    <a:pt x="1251" y="2742"/>
                  </a:cubicBezTo>
                  <a:lnTo>
                    <a:pt x="1251" y="2742"/>
                  </a:lnTo>
                  <a:cubicBezTo>
                    <a:pt x="1290" y="2726"/>
                    <a:pt x="1320" y="2726"/>
                    <a:pt x="1351" y="2711"/>
                  </a:cubicBezTo>
                  <a:cubicBezTo>
                    <a:pt x="1358" y="2704"/>
                    <a:pt x="1358" y="2681"/>
                    <a:pt x="1366" y="2673"/>
                  </a:cubicBezTo>
                  <a:cubicBezTo>
                    <a:pt x="1397" y="2665"/>
                    <a:pt x="1427" y="2673"/>
                    <a:pt x="1450" y="2688"/>
                  </a:cubicBezTo>
                  <a:cubicBezTo>
                    <a:pt x="1473" y="2696"/>
                    <a:pt x="1465" y="2726"/>
                    <a:pt x="1488" y="2742"/>
                  </a:cubicBezTo>
                  <a:cubicBezTo>
                    <a:pt x="1511" y="2757"/>
                    <a:pt x="1542" y="2765"/>
                    <a:pt x="1565" y="2757"/>
                  </a:cubicBezTo>
                  <a:cubicBezTo>
                    <a:pt x="1595" y="2734"/>
                    <a:pt x="1595" y="2681"/>
                    <a:pt x="1626" y="2665"/>
                  </a:cubicBezTo>
                  <a:cubicBezTo>
                    <a:pt x="1656" y="2658"/>
                    <a:pt x="1695" y="2688"/>
                    <a:pt x="1725" y="2673"/>
                  </a:cubicBezTo>
                  <a:cubicBezTo>
                    <a:pt x="1763" y="2665"/>
                    <a:pt x="1786" y="2627"/>
                    <a:pt x="1817" y="2612"/>
                  </a:cubicBezTo>
                  <a:cubicBezTo>
                    <a:pt x="1847" y="2604"/>
                    <a:pt x="1878" y="2596"/>
                    <a:pt x="1908" y="2604"/>
                  </a:cubicBezTo>
                  <a:cubicBezTo>
                    <a:pt x="1916" y="2604"/>
                    <a:pt x="1916" y="2612"/>
                    <a:pt x="1916" y="2619"/>
                  </a:cubicBezTo>
                  <a:lnTo>
                    <a:pt x="1916" y="2619"/>
                  </a:lnTo>
                  <a:cubicBezTo>
                    <a:pt x="1947" y="2612"/>
                    <a:pt x="1970" y="2612"/>
                    <a:pt x="1992" y="2596"/>
                  </a:cubicBezTo>
                  <a:cubicBezTo>
                    <a:pt x="2015" y="2581"/>
                    <a:pt x="2015" y="2543"/>
                    <a:pt x="2038" y="2535"/>
                  </a:cubicBezTo>
                  <a:cubicBezTo>
                    <a:pt x="2061" y="2528"/>
                    <a:pt x="2084" y="2581"/>
                    <a:pt x="2099" y="2566"/>
                  </a:cubicBezTo>
                  <a:cubicBezTo>
                    <a:pt x="2122" y="2520"/>
                    <a:pt x="2115" y="2467"/>
                    <a:pt x="2122" y="2413"/>
                  </a:cubicBezTo>
                  <a:cubicBezTo>
                    <a:pt x="2122" y="2383"/>
                    <a:pt x="2137" y="2352"/>
                    <a:pt x="2122" y="2321"/>
                  </a:cubicBezTo>
                  <a:cubicBezTo>
                    <a:pt x="2115" y="2291"/>
                    <a:pt x="2061" y="2283"/>
                    <a:pt x="2061" y="2253"/>
                  </a:cubicBezTo>
                  <a:cubicBezTo>
                    <a:pt x="2061" y="2222"/>
                    <a:pt x="2092" y="2215"/>
                    <a:pt x="2115" y="2199"/>
                  </a:cubicBezTo>
                  <a:cubicBezTo>
                    <a:pt x="2130" y="2192"/>
                    <a:pt x="2160" y="2199"/>
                    <a:pt x="2168" y="2184"/>
                  </a:cubicBezTo>
                  <a:cubicBezTo>
                    <a:pt x="2176" y="2161"/>
                    <a:pt x="2137" y="2138"/>
                    <a:pt x="2137" y="2115"/>
                  </a:cubicBezTo>
                  <a:cubicBezTo>
                    <a:pt x="2137" y="2092"/>
                    <a:pt x="2153" y="2062"/>
                    <a:pt x="2168" y="2046"/>
                  </a:cubicBezTo>
                  <a:cubicBezTo>
                    <a:pt x="2176" y="2024"/>
                    <a:pt x="2199" y="2001"/>
                    <a:pt x="2222" y="1993"/>
                  </a:cubicBezTo>
                  <a:cubicBezTo>
                    <a:pt x="2252" y="1985"/>
                    <a:pt x="2290" y="2008"/>
                    <a:pt x="2321" y="2001"/>
                  </a:cubicBezTo>
                  <a:cubicBezTo>
                    <a:pt x="2336" y="2001"/>
                    <a:pt x="2344" y="1985"/>
                    <a:pt x="2359" y="1978"/>
                  </a:cubicBezTo>
                  <a:lnTo>
                    <a:pt x="2359" y="1978"/>
                  </a:lnTo>
                  <a:cubicBezTo>
                    <a:pt x="2359" y="1940"/>
                    <a:pt x="2367" y="1902"/>
                    <a:pt x="2367" y="1863"/>
                  </a:cubicBezTo>
                  <a:cubicBezTo>
                    <a:pt x="2367" y="1833"/>
                    <a:pt x="2359" y="1794"/>
                    <a:pt x="2344" y="1772"/>
                  </a:cubicBezTo>
                  <a:cubicBezTo>
                    <a:pt x="2336" y="1756"/>
                    <a:pt x="2321" y="1779"/>
                    <a:pt x="2313" y="1772"/>
                  </a:cubicBezTo>
                  <a:cubicBezTo>
                    <a:pt x="2306" y="1764"/>
                    <a:pt x="2306" y="1749"/>
                    <a:pt x="2298" y="1733"/>
                  </a:cubicBezTo>
                  <a:cubicBezTo>
                    <a:pt x="2252" y="1695"/>
                    <a:pt x="2199" y="1665"/>
                    <a:pt x="2160" y="1619"/>
                  </a:cubicBezTo>
                  <a:cubicBezTo>
                    <a:pt x="2137" y="1588"/>
                    <a:pt x="2122" y="1550"/>
                    <a:pt x="2130" y="1520"/>
                  </a:cubicBezTo>
                  <a:cubicBezTo>
                    <a:pt x="2130" y="1497"/>
                    <a:pt x="2168" y="1489"/>
                    <a:pt x="2176" y="1466"/>
                  </a:cubicBezTo>
                  <a:cubicBezTo>
                    <a:pt x="2176" y="1451"/>
                    <a:pt x="2168" y="1435"/>
                    <a:pt x="2160" y="1420"/>
                  </a:cubicBezTo>
                  <a:cubicBezTo>
                    <a:pt x="2153" y="1413"/>
                    <a:pt x="2130" y="1420"/>
                    <a:pt x="2115" y="1405"/>
                  </a:cubicBezTo>
                  <a:cubicBezTo>
                    <a:pt x="2099" y="1390"/>
                    <a:pt x="2084" y="1367"/>
                    <a:pt x="2076" y="1336"/>
                  </a:cubicBezTo>
                  <a:cubicBezTo>
                    <a:pt x="2076" y="1321"/>
                    <a:pt x="2099" y="1313"/>
                    <a:pt x="2107" y="1306"/>
                  </a:cubicBezTo>
                  <a:cubicBezTo>
                    <a:pt x="2115" y="1283"/>
                    <a:pt x="2107" y="1260"/>
                    <a:pt x="2107" y="1245"/>
                  </a:cubicBezTo>
                  <a:cubicBezTo>
                    <a:pt x="2115" y="1222"/>
                    <a:pt x="2115" y="1206"/>
                    <a:pt x="2122" y="1183"/>
                  </a:cubicBezTo>
                  <a:cubicBezTo>
                    <a:pt x="2122" y="1168"/>
                    <a:pt x="2137" y="1160"/>
                    <a:pt x="2137" y="1145"/>
                  </a:cubicBezTo>
                  <a:cubicBezTo>
                    <a:pt x="2145" y="1130"/>
                    <a:pt x="2137" y="1107"/>
                    <a:pt x="2137" y="1092"/>
                  </a:cubicBezTo>
                  <a:lnTo>
                    <a:pt x="2137" y="1092"/>
                  </a:lnTo>
                  <a:cubicBezTo>
                    <a:pt x="2130" y="1084"/>
                    <a:pt x="2115" y="1084"/>
                    <a:pt x="2099" y="1076"/>
                  </a:cubicBezTo>
                  <a:cubicBezTo>
                    <a:pt x="2092" y="1061"/>
                    <a:pt x="2092" y="1046"/>
                    <a:pt x="2084" y="1038"/>
                  </a:cubicBezTo>
                  <a:cubicBezTo>
                    <a:pt x="2069" y="1016"/>
                    <a:pt x="2046" y="1000"/>
                    <a:pt x="2023" y="977"/>
                  </a:cubicBezTo>
                  <a:cubicBezTo>
                    <a:pt x="2015" y="962"/>
                    <a:pt x="2008" y="939"/>
                    <a:pt x="1992" y="924"/>
                  </a:cubicBezTo>
                  <a:cubicBezTo>
                    <a:pt x="1985" y="916"/>
                    <a:pt x="1992" y="939"/>
                    <a:pt x="1985" y="947"/>
                  </a:cubicBezTo>
                  <a:cubicBezTo>
                    <a:pt x="1970" y="962"/>
                    <a:pt x="1939" y="962"/>
                    <a:pt x="1924" y="977"/>
                  </a:cubicBezTo>
                  <a:cubicBezTo>
                    <a:pt x="1901" y="1000"/>
                    <a:pt x="1893" y="1031"/>
                    <a:pt x="1870" y="1046"/>
                  </a:cubicBezTo>
                  <a:cubicBezTo>
                    <a:pt x="1855" y="1061"/>
                    <a:pt x="1832" y="1061"/>
                    <a:pt x="1809" y="1054"/>
                  </a:cubicBezTo>
                  <a:cubicBezTo>
                    <a:pt x="1794" y="1046"/>
                    <a:pt x="1779" y="1023"/>
                    <a:pt x="1763" y="1008"/>
                  </a:cubicBezTo>
                  <a:cubicBezTo>
                    <a:pt x="1748" y="985"/>
                    <a:pt x="1748" y="962"/>
                    <a:pt x="1740" y="939"/>
                  </a:cubicBezTo>
                  <a:cubicBezTo>
                    <a:pt x="1740" y="924"/>
                    <a:pt x="1740" y="908"/>
                    <a:pt x="1733" y="901"/>
                  </a:cubicBezTo>
                  <a:cubicBezTo>
                    <a:pt x="1725" y="878"/>
                    <a:pt x="1695" y="863"/>
                    <a:pt x="1702" y="840"/>
                  </a:cubicBezTo>
                  <a:cubicBezTo>
                    <a:pt x="1702" y="824"/>
                    <a:pt x="1725" y="809"/>
                    <a:pt x="1740" y="794"/>
                  </a:cubicBezTo>
                  <a:cubicBezTo>
                    <a:pt x="1756" y="771"/>
                    <a:pt x="1779" y="748"/>
                    <a:pt x="1786" y="718"/>
                  </a:cubicBezTo>
                  <a:cubicBezTo>
                    <a:pt x="1786" y="688"/>
                    <a:pt x="1763" y="665"/>
                    <a:pt x="1748" y="642"/>
                  </a:cubicBezTo>
                  <a:cubicBezTo>
                    <a:pt x="1740" y="627"/>
                    <a:pt x="1710" y="634"/>
                    <a:pt x="1710" y="627"/>
                  </a:cubicBezTo>
                  <a:cubicBezTo>
                    <a:pt x="1710" y="611"/>
                    <a:pt x="1733" y="611"/>
                    <a:pt x="1740" y="596"/>
                  </a:cubicBezTo>
                  <a:cubicBezTo>
                    <a:pt x="1756" y="566"/>
                    <a:pt x="1740" y="520"/>
                    <a:pt x="1763" y="497"/>
                  </a:cubicBezTo>
                  <a:cubicBezTo>
                    <a:pt x="1794" y="459"/>
                    <a:pt x="1855" y="467"/>
                    <a:pt x="1893" y="436"/>
                  </a:cubicBezTo>
                  <a:cubicBezTo>
                    <a:pt x="1901" y="428"/>
                    <a:pt x="1893" y="405"/>
                    <a:pt x="1885" y="390"/>
                  </a:cubicBezTo>
                  <a:cubicBezTo>
                    <a:pt x="1885" y="375"/>
                    <a:pt x="1870" y="367"/>
                    <a:pt x="1862" y="352"/>
                  </a:cubicBezTo>
                  <a:cubicBezTo>
                    <a:pt x="1862" y="337"/>
                    <a:pt x="1878" y="306"/>
                    <a:pt x="1862" y="306"/>
                  </a:cubicBezTo>
                  <a:cubicBezTo>
                    <a:pt x="1840" y="291"/>
                    <a:pt x="1809" y="321"/>
                    <a:pt x="1779" y="321"/>
                  </a:cubicBezTo>
                  <a:cubicBezTo>
                    <a:pt x="1763" y="321"/>
                    <a:pt x="1763" y="306"/>
                    <a:pt x="1756" y="298"/>
                  </a:cubicBezTo>
                  <a:cubicBezTo>
                    <a:pt x="1740" y="268"/>
                    <a:pt x="1733" y="230"/>
                    <a:pt x="1710" y="207"/>
                  </a:cubicBezTo>
                  <a:cubicBezTo>
                    <a:pt x="1695" y="192"/>
                    <a:pt x="1672" y="207"/>
                    <a:pt x="1656" y="192"/>
                  </a:cubicBezTo>
                  <a:cubicBezTo>
                    <a:pt x="1641" y="184"/>
                    <a:pt x="1626" y="169"/>
                    <a:pt x="1618" y="153"/>
                  </a:cubicBezTo>
                  <a:cubicBezTo>
                    <a:pt x="1603" y="123"/>
                    <a:pt x="1618" y="85"/>
                    <a:pt x="1595" y="54"/>
                  </a:cubicBezTo>
                  <a:cubicBezTo>
                    <a:pt x="1572" y="23"/>
                    <a:pt x="1526" y="16"/>
                    <a:pt x="1496" y="0"/>
                  </a:cubicBezTo>
                  <a:lnTo>
                    <a:pt x="1496" y="0"/>
                  </a:lnTo>
                  <a:cubicBezTo>
                    <a:pt x="1488" y="8"/>
                    <a:pt x="1465" y="16"/>
                    <a:pt x="1450" y="31"/>
                  </a:cubicBezTo>
                  <a:cubicBezTo>
                    <a:pt x="1427" y="54"/>
                    <a:pt x="1397" y="85"/>
                    <a:pt x="1358" y="92"/>
                  </a:cubicBezTo>
                  <a:cubicBezTo>
                    <a:pt x="1343" y="100"/>
                    <a:pt x="1305" y="100"/>
                    <a:pt x="1305" y="115"/>
                  </a:cubicBezTo>
                  <a:lnTo>
                    <a:pt x="1305" y="115"/>
                  </a:lnTo>
                  <a:cubicBezTo>
                    <a:pt x="1297" y="115"/>
                    <a:pt x="1297" y="138"/>
                    <a:pt x="1297" y="146"/>
                  </a:cubicBezTo>
                  <a:cubicBezTo>
                    <a:pt x="1290" y="153"/>
                    <a:pt x="1282" y="153"/>
                    <a:pt x="1274" y="161"/>
                  </a:cubicBezTo>
                  <a:cubicBezTo>
                    <a:pt x="1251" y="184"/>
                    <a:pt x="1251" y="199"/>
                    <a:pt x="1236" y="222"/>
                  </a:cubicBezTo>
                  <a:cubicBezTo>
                    <a:pt x="1190" y="237"/>
                    <a:pt x="1160" y="314"/>
                    <a:pt x="1099" y="321"/>
                  </a:cubicBezTo>
                  <a:cubicBezTo>
                    <a:pt x="1091" y="337"/>
                    <a:pt x="976" y="329"/>
                    <a:pt x="969" y="314"/>
                  </a:cubicBezTo>
                  <a:lnTo>
                    <a:pt x="961" y="329"/>
                  </a:lnTo>
                  <a:lnTo>
                    <a:pt x="961" y="329"/>
                  </a:lnTo>
                  <a:cubicBezTo>
                    <a:pt x="954" y="337"/>
                    <a:pt x="961" y="337"/>
                    <a:pt x="961" y="344"/>
                  </a:cubicBezTo>
                  <a:cubicBezTo>
                    <a:pt x="992" y="375"/>
                    <a:pt x="992" y="375"/>
                    <a:pt x="992" y="375"/>
                  </a:cubicBezTo>
                  <a:cubicBezTo>
                    <a:pt x="1015" y="375"/>
                    <a:pt x="969" y="444"/>
                    <a:pt x="961" y="451"/>
                  </a:cubicBezTo>
                  <a:cubicBezTo>
                    <a:pt x="954" y="467"/>
                    <a:pt x="954" y="512"/>
                    <a:pt x="931" y="520"/>
                  </a:cubicBezTo>
                  <a:lnTo>
                    <a:pt x="938" y="52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" name="Freeform 120"/>
            <p:cNvSpPr>
              <a:spLocks noChangeArrowheads="1"/>
            </p:cNvSpPr>
            <p:nvPr/>
          </p:nvSpPr>
          <p:spPr bwMode="auto">
            <a:xfrm>
              <a:off x="6922637" y="5721350"/>
              <a:ext cx="187313" cy="101600"/>
            </a:xfrm>
            <a:custGeom>
              <a:avLst/>
              <a:gdLst>
                <a:gd name="T0" fmla="*/ 519 w 520"/>
                <a:gd name="T1" fmla="*/ 136 h 282"/>
                <a:gd name="T2" fmla="*/ 519 w 520"/>
                <a:gd name="T3" fmla="*/ 136 h 282"/>
                <a:gd name="T4" fmla="*/ 489 w 520"/>
                <a:gd name="T5" fmla="*/ 53 h 282"/>
                <a:gd name="T6" fmla="*/ 489 w 520"/>
                <a:gd name="T7" fmla="*/ 53 h 282"/>
                <a:gd name="T8" fmla="*/ 389 w 520"/>
                <a:gd name="T9" fmla="*/ 38 h 282"/>
                <a:gd name="T10" fmla="*/ 313 w 520"/>
                <a:gd name="T11" fmla="*/ 61 h 282"/>
                <a:gd name="T12" fmla="*/ 198 w 520"/>
                <a:gd name="T13" fmla="*/ 53 h 282"/>
                <a:gd name="T14" fmla="*/ 130 w 520"/>
                <a:gd name="T15" fmla="*/ 7 h 282"/>
                <a:gd name="T16" fmla="*/ 130 w 520"/>
                <a:gd name="T17" fmla="*/ 7 h 282"/>
                <a:gd name="T18" fmla="*/ 92 w 520"/>
                <a:gd name="T19" fmla="*/ 0 h 282"/>
                <a:gd name="T20" fmla="*/ 61 w 520"/>
                <a:gd name="T21" fmla="*/ 22 h 282"/>
                <a:gd name="T22" fmla="*/ 23 w 520"/>
                <a:gd name="T23" fmla="*/ 84 h 282"/>
                <a:gd name="T24" fmla="*/ 38 w 520"/>
                <a:gd name="T25" fmla="*/ 121 h 282"/>
                <a:gd name="T26" fmla="*/ 0 w 520"/>
                <a:gd name="T27" fmla="*/ 159 h 282"/>
                <a:gd name="T28" fmla="*/ 38 w 520"/>
                <a:gd name="T29" fmla="*/ 205 h 282"/>
                <a:gd name="T30" fmla="*/ 38 w 520"/>
                <a:gd name="T31" fmla="*/ 205 h 282"/>
                <a:gd name="T32" fmla="*/ 130 w 520"/>
                <a:gd name="T33" fmla="*/ 197 h 282"/>
                <a:gd name="T34" fmla="*/ 153 w 520"/>
                <a:gd name="T35" fmla="*/ 174 h 282"/>
                <a:gd name="T36" fmla="*/ 183 w 520"/>
                <a:gd name="T37" fmla="*/ 174 h 282"/>
                <a:gd name="T38" fmla="*/ 214 w 520"/>
                <a:gd name="T39" fmla="*/ 197 h 282"/>
                <a:gd name="T40" fmla="*/ 267 w 520"/>
                <a:gd name="T41" fmla="*/ 197 h 282"/>
                <a:gd name="T42" fmla="*/ 283 w 520"/>
                <a:gd name="T43" fmla="*/ 228 h 282"/>
                <a:gd name="T44" fmla="*/ 305 w 520"/>
                <a:gd name="T45" fmla="*/ 235 h 282"/>
                <a:gd name="T46" fmla="*/ 321 w 520"/>
                <a:gd name="T47" fmla="*/ 274 h 282"/>
                <a:gd name="T48" fmla="*/ 389 w 520"/>
                <a:gd name="T49" fmla="*/ 213 h 282"/>
                <a:gd name="T50" fmla="*/ 405 w 520"/>
                <a:gd name="T51" fmla="*/ 274 h 282"/>
                <a:gd name="T52" fmla="*/ 443 w 520"/>
                <a:gd name="T53" fmla="*/ 274 h 282"/>
                <a:gd name="T54" fmla="*/ 443 w 520"/>
                <a:gd name="T55" fmla="*/ 274 h 282"/>
                <a:gd name="T56" fmla="*/ 443 w 520"/>
                <a:gd name="T57" fmla="*/ 144 h 282"/>
                <a:gd name="T58" fmla="*/ 519 w 520"/>
                <a:gd name="T59" fmla="*/ 13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0" h="282">
                  <a:moveTo>
                    <a:pt x="519" y="136"/>
                  </a:moveTo>
                  <a:lnTo>
                    <a:pt x="519" y="136"/>
                  </a:lnTo>
                  <a:cubicBezTo>
                    <a:pt x="489" y="53"/>
                    <a:pt x="489" y="53"/>
                    <a:pt x="489" y="53"/>
                  </a:cubicBezTo>
                  <a:lnTo>
                    <a:pt x="489" y="53"/>
                  </a:lnTo>
                  <a:cubicBezTo>
                    <a:pt x="458" y="45"/>
                    <a:pt x="428" y="38"/>
                    <a:pt x="389" y="38"/>
                  </a:cubicBezTo>
                  <a:cubicBezTo>
                    <a:pt x="367" y="38"/>
                    <a:pt x="344" y="61"/>
                    <a:pt x="313" y="61"/>
                  </a:cubicBezTo>
                  <a:cubicBezTo>
                    <a:pt x="275" y="61"/>
                    <a:pt x="237" y="61"/>
                    <a:pt x="198" y="53"/>
                  </a:cubicBezTo>
                  <a:cubicBezTo>
                    <a:pt x="175" y="38"/>
                    <a:pt x="153" y="22"/>
                    <a:pt x="130" y="7"/>
                  </a:cubicBezTo>
                  <a:lnTo>
                    <a:pt x="130" y="7"/>
                  </a:lnTo>
                  <a:cubicBezTo>
                    <a:pt x="114" y="7"/>
                    <a:pt x="99" y="0"/>
                    <a:pt x="92" y="0"/>
                  </a:cubicBezTo>
                  <a:cubicBezTo>
                    <a:pt x="76" y="7"/>
                    <a:pt x="69" y="15"/>
                    <a:pt x="61" y="22"/>
                  </a:cubicBezTo>
                  <a:cubicBezTo>
                    <a:pt x="46" y="45"/>
                    <a:pt x="31" y="61"/>
                    <a:pt x="23" y="84"/>
                  </a:cubicBezTo>
                  <a:cubicBezTo>
                    <a:pt x="23" y="99"/>
                    <a:pt x="46" y="106"/>
                    <a:pt x="38" y="121"/>
                  </a:cubicBezTo>
                  <a:cubicBezTo>
                    <a:pt x="31" y="136"/>
                    <a:pt x="0" y="144"/>
                    <a:pt x="0" y="159"/>
                  </a:cubicBezTo>
                  <a:cubicBezTo>
                    <a:pt x="0" y="182"/>
                    <a:pt x="23" y="190"/>
                    <a:pt x="38" y="205"/>
                  </a:cubicBezTo>
                  <a:lnTo>
                    <a:pt x="38" y="205"/>
                  </a:lnTo>
                  <a:cubicBezTo>
                    <a:pt x="69" y="205"/>
                    <a:pt x="107" y="205"/>
                    <a:pt x="130" y="197"/>
                  </a:cubicBezTo>
                  <a:cubicBezTo>
                    <a:pt x="145" y="197"/>
                    <a:pt x="145" y="174"/>
                    <a:pt x="153" y="174"/>
                  </a:cubicBezTo>
                  <a:cubicBezTo>
                    <a:pt x="160" y="167"/>
                    <a:pt x="175" y="167"/>
                    <a:pt x="183" y="174"/>
                  </a:cubicBezTo>
                  <a:cubicBezTo>
                    <a:pt x="191" y="182"/>
                    <a:pt x="198" y="197"/>
                    <a:pt x="214" y="197"/>
                  </a:cubicBezTo>
                  <a:cubicBezTo>
                    <a:pt x="229" y="205"/>
                    <a:pt x="252" y="190"/>
                    <a:pt x="267" y="197"/>
                  </a:cubicBezTo>
                  <a:cubicBezTo>
                    <a:pt x="283" y="205"/>
                    <a:pt x="275" y="220"/>
                    <a:pt x="283" y="228"/>
                  </a:cubicBezTo>
                  <a:cubicBezTo>
                    <a:pt x="290" y="235"/>
                    <a:pt x="298" y="228"/>
                    <a:pt x="305" y="235"/>
                  </a:cubicBezTo>
                  <a:cubicBezTo>
                    <a:pt x="313" y="243"/>
                    <a:pt x="305" y="274"/>
                    <a:pt x="321" y="274"/>
                  </a:cubicBezTo>
                  <a:cubicBezTo>
                    <a:pt x="351" y="266"/>
                    <a:pt x="359" y="213"/>
                    <a:pt x="389" y="213"/>
                  </a:cubicBezTo>
                  <a:cubicBezTo>
                    <a:pt x="412" y="213"/>
                    <a:pt x="389" y="258"/>
                    <a:pt x="405" y="274"/>
                  </a:cubicBezTo>
                  <a:cubicBezTo>
                    <a:pt x="412" y="281"/>
                    <a:pt x="428" y="274"/>
                    <a:pt x="443" y="274"/>
                  </a:cubicBezTo>
                  <a:lnTo>
                    <a:pt x="443" y="274"/>
                  </a:lnTo>
                  <a:cubicBezTo>
                    <a:pt x="443" y="228"/>
                    <a:pt x="420" y="182"/>
                    <a:pt x="443" y="144"/>
                  </a:cubicBezTo>
                  <a:cubicBezTo>
                    <a:pt x="458" y="121"/>
                    <a:pt x="496" y="136"/>
                    <a:pt x="519" y="1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" name="Freeform 121"/>
            <p:cNvSpPr>
              <a:spLocks noChangeArrowheads="1"/>
            </p:cNvSpPr>
            <p:nvPr/>
          </p:nvSpPr>
          <p:spPr bwMode="auto">
            <a:xfrm>
              <a:off x="7098838" y="5691188"/>
              <a:ext cx="104768" cy="82550"/>
            </a:xfrm>
            <a:custGeom>
              <a:avLst/>
              <a:gdLst>
                <a:gd name="T0" fmla="*/ 0 w 291"/>
                <a:gd name="T1" fmla="*/ 76 h 229"/>
                <a:gd name="T2" fmla="*/ 0 w 291"/>
                <a:gd name="T3" fmla="*/ 76 h 229"/>
                <a:gd name="T4" fmla="*/ 0 w 291"/>
                <a:gd name="T5" fmla="*/ 137 h 229"/>
                <a:gd name="T6" fmla="*/ 0 w 291"/>
                <a:gd name="T7" fmla="*/ 137 h 229"/>
                <a:gd name="T8" fmla="*/ 30 w 291"/>
                <a:gd name="T9" fmla="*/ 220 h 229"/>
                <a:gd name="T10" fmla="*/ 30 w 291"/>
                <a:gd name="T11" fmla="*/ 220 h 229"/>
                <a:gd name="T12" fmla="*/ 153 w 291"/>
                <a:gd name="T13" fmla="*/ 228 h 229"/>
                <a:gd name="T14" fmla="*/ 267 w 291"/>
                <a:gd name="T15" fmla="*/ 190 h 229"/>
                <a:gd name="T16" fmla="*/ 267 w 291"/>
                <a:gd name="T17" fmla="*/ 190 h 229"/>
                <a:gd name="T18" fmla="*/ 267 w 291"/>
                <a:gd name="T19" fmla="*/ 61 h 229"/>
                <a:gd name="T20" fmla="*/ 214 w 291"/>
                <a:gd name="T21" fmla="*/ 0 h 229"/>
                <a:gd name="T22" fmla="*/ 214 w 291"/>
                <a:gd name="T23" fmla="*/ 0 h 229"/>
                <a:gd name="T24" fmla="*/ 137 w 291"/>
                <a:gd name="T25" fmla="*/ 61 h 229"/>
                <a:gd name="T26" fmla="*/ 0 w 291"/>
                <a:gd name="T27" fmla="*/ 7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229">
                  <a:moveTo>
                    <a:pt x="0" y="76"/>
                  </a:moveTo>
                  <a:lnTo>
                    <a:pt x="0" y="76"/>
                  </a:lnTo>
                  <a:cubicBezTo>
                    <a:pt x="0" y="137"/>
                    <a:pt x="0" y="137"/>
                    <a:pt x="0" y="137"/>
                  </a:cubicBezTo>
                  <a:lnTo>
                    <a:pt x="0" y="137"/>
                  </a:lnTo>
                  <a:cubicBezTo>
                    <a:pt x="30" y="220"/>
                    <a:pt x="30" y="220"/>
                    <a:pt x="30" y="220"/>
                  </a:cubicBezTo>
                  <a:lnTo>
                    <a:pt x="30" y="220"/>
                  </a:lnTo>
                  <a:cubicBezTo>
                    <a:pt x="76" y="220"/>
                    <a:pt x="114" y="228"/>
                    <a:pt x="153" y="228"/>
                  </a:cubicBezTo>
                  <a:cubicBezTo>
                    <a:pt x="198" y="220"/>
                    <a:pt x="229" y="205"/>
                    <a:pt x="267" y="190"/>
                  </a:cubicBezTo>
                  <a:lnTo>
                    <a:pt x="267" y="190"/>
                  </a:lnTo>
                  <a:cubicBezTo>
                    <a:pt x="275" y="145"/>
                    <a:pt x="290" y="76"/>
                    <a:pt x="267" y="61"/>
                  </a:cubicBezTo>
                  <a:cubicBezTo>
                    <a:pt x="252" y="45"/>
                    <a:pt x="229" y="23"/>
                    <a:pt x="214" y="0"/>
                  </a:cubicBezTo>
                  <a:lnTo>
                    <a:pt x="214" y="0"/>
                  </a:lnTo>
                  <a:cubicBezTo>
                    <a:pt x="183" y="30"/>
                    <a:pt x="175" y="45"/>
                    <a:pt x="137" y="61"/>
                  </a:cubicBezTo>
                  <a:cubicBezTo>
                    <a:pt x="91" y="76"/>
                    <a:pt x="46" y="68"/>
                    <a:pt x="0" y="7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" name="Freeform 122"/>
            <p:cNvSpPr>
              <a:spLocks noChangeArrowheads="1"/>
            </p:cNvSpPr>
            <p:nvPr/>
          </p:nvSpPr>
          <p:spPr bwMode="auto">
            <a:xfrm>
              <a:off x="6970259" y="5627689"/>
              <a:ext cx="130167" cy="115887"/>
            </a:xfrm>
            <a:custGeom>
              <a:avLst/>
              <a:gdLst>
                <a:gd name="T0" fmla="*/ 359 w 360"/>
                <a:gd name="T1" fmla="*/ 252 h 322"/>
                <a:gd name="T2" fmla="*/ 359 w 360"/>
                <a:gd name="T3" fmla="*/ 252 h 322"/>
                <a:gd name="T4" fmla="*/ 259 w 360"/>
                <a:gd name="T5" fmla="*/ 191 h 322"/>
                <a:gd name="T6" fmla="*/ 267 w 360"/>
                <a:gd name="T7" fmla="*/ 122 h 322"/>
                <a:gd name="T8" fmla="*/ 206 w 360"/>
                <a:gd name="T9" fmla="*/ 99 h 322"/>
                <a:gd name="T10" fmla="*/ 206 w 360"/>
                <a:gd name="T11" fmla="*/ 46 h 322"/>
                <a:gd name="T12" fmla="*/ 206 w 360"/>
                <a:gd name="T13" fmla="*/ 46 h 322"/>
                <a:gd name="T14" fmla="*/ 168 w 360"/>
                <a:gd name="T15" fmla="*/ 0 h 322"/>
                <a:gd name="T16" fmla="*/ 91 w 360"/>
                <a:gd name="T17" fmla="*/ 46 h 322"/>
                <a:gd name="T18" fmla="*/ 107 w 360"/>
                <a:gd name="T19" fmla="*/ 115 h 322"/>
                <a:gd name="T20" fmla="*/ 30 w 360"/>
                <a:gd name="T21" fmla="*/ 153 h 322"/>
                <a:gd name="T22" fmla="*/ 0 w 360"/>
                <a:gd name="T23" fmla="*/ 267 h 322"/>
                <a:gd name="T24" fmla="*/ 0 w 360"/>
                <a:gd name="T25" fmla="*/ 267 h 322"/>
                <a:gd name="T26" fmla="*/ 68 w 360"/>
                <a:gd name="T27" fmla="*/ 313 h 322"/>
                <a:gd name="T28" fmla="*/ 183 w 360"/>
                <a:gd name="T29" fmla="*/ 321 h 322"/>
                <a:gd name="T30" fmla="*/ 259 w 360"/>
                <a:gd name="T31" fmla="*/ 298 h 322"/>
                <a:gd name="T32" fmla="*/ 359 w 360"/>
                <a:gd name="T33" fmla="*/ 313 h 322"/>
                <a:gd name="T34" fmla="*/ 359 w 360"/>
                <a:gd name="T35" fmla="*/ 313 h 322"/>
                <a:gd name="T36" fmla="*/ 359 w 360"/>
                <a:gd name="T37" fmla="*/ 25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0" h="322">
                  <a:moveTo>
                    <a:pt x="359" y="252"/>
                  </a:moveTo>
                  <a:lnTo>
                    <a:pt x="359" y="252"/>
                  </a:lnTo>
                  <a:cubicBezTo>
                    <a:pt x="328" y="229"/>
                    <a:pt x="282" y="221"/>
                    <a:pt x="259" y="191"/>
                  </a:cubicBezTo>
                  <a:cubicBezTo>
                    <a:pt x="244" y="168"/>
                    <a:pt x="282" y="145"/>
                    <a:pt x="267" y="122"/>
                  </a:cubicBezTo>
                  <a:cubicBezTo>
                    <a:pt x="259" y="107"/>
                    <a:pt x="221" y="115"/>
                    <a:pt x="206" y="99"/>
                  </a:cubicBezTo>
                  <a:cubicBezTo>
                    <a:pt x="198" y="84"/>
                    <a:pt x="206" y="61"/>
                    <a:pt x="206" y="46"/>
                  </a:cubicBezTo>
                  <a:lnTo>
                    <a:pt x="206" y="46"/>
                  </a:lnTo>
                  <a:cubicBezTo>
                    <a:pt x="191" y="30"/>
                    <a:pt x="183" y="0"/>
                    <a:pt x="168" y="0"/>
                  </a:cubicBezTo>
                  <a:cubicBezTo>
                    <a:pt x="137" y="0"/>
                    <a:pt x="107" y="15"/>
                    <a:pt x="91" y="46"/>
                  </a:cubicBezTo>
                  <a:cubicBezTo>
                    <a:pt x="76" y="61"/>
                    <a:pt x="114" y="92"/>
                    <a:pt x="107" y="115"/>
                  </a:cubicBezTo>
                  <a:cubicBezTo>
                    <a:pt x="91" y="138"/>
                    <a:pt x="53" y="130"/>
                    <a:pt x="30" y="153"/>
                  </a:cubicBezTo>
                  <a:cubicBezTo>
                    <a:pt x="15" y="183"/>
                    <a:pt x="7" y="229"/>
                    <a:pt x="0" y="267"/>
                  </a:cubicBezTo>
                  <a:lnTo>
                    <a:pt x="0" y="267"/>
                  </a:lnTo>
                  <a:cubicBezTo>
                    <a:pt x="23" y="282"/>
                    <a:pt x="45" y="298"/>
                    <a:pt x="68" y="313"/>
                  </a:cubicBezTo>
                  <a:cubicBezTo>
                    <a:pt x="107" y="321"/>
                    <a:pt x="145" y="321"/>
                    <a:pt x="183" y="321"/>
                  </a:cubicBezTo>
                  <a:cubicBezTo>
                    <a:pt x="214" y="321"/>
                    <a:pt x="237" y="298"/>
                    <a:pt x="259" y="298"/>
                  </a:cubicBezTo>
                  <a:cubicBezTo>
                    <a:pt x="298" y="298"/>
                    <a:pt x="328" y="305"/>
                    <a:pt x="359" y="313"/>
                  </a:cubicBezTo>
                  <a:lnTo>
                    <a:pt x="359" y="313"/>
                  </a:lnTo>
                  <a:cubicBezTo>
                    <a:pt x="359" y="252"/>
                    <a:pt x="359" y="252"/>
                    <a:pt x="359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" name="Freeform 123"/>
            <p:cNvSpPr>
              <a:spLocks noChangeArrowheads="1"/>
            </p:cNvSpPr>
            <p:nvPr/>
          </p:nvSpPr>
          <p:spPr bwMode="auto">
            <a:xfrm>
              <a:off x="7041691" y="5630863"/>
              <a:ext cx="134929" cy="88900"/>
            </a:xfrm>
            <a:custGeom>
              <a:avLst/>
              <a:gdLst>
                <a:gd name="T0" fmla="*/ 375 w 376"/>
                <a:gd name="T1" fmla="*/ 168 h 245"/>
                <a:gd name="T2" fmla="*/ 375 w 376"/>
                <a:gd name="T3" fmla="*/ 168 h 245"/>
                <a:gd name="T4" fmla="*/ 291 w 376"/>
                <a:gd name="T5" fmla="*/ 0 h 245"/>
                <a:gd name="T6" fmla="*/ 291 w 376"/>
                <a:gd name="T7" fmla="*/ 0 h 245"/>
                <a:gd name="T8" fmla="*/ 252 w 376"/>
                <a:gd name="T9" fmla="*/ 15 h 245"/>
                <a:gd name="T10" fmla="*/ 229 w 376"/>
                <a:gd name="T11" fmla="*/ 53 h 245"/>
                <a:gd name="T12" fmla="*/ 199 w 376"/>
                <a:gd name="T13" fmla="*/ 68 h 245"/>
                <a:gd name="T14" fmla="*/ 153 w 376"/>
                <a:gd name="T15" fmla="*/ 53 h 245"/>
                <a:gd name="T16" fmla="*/ 92 w 376"/>
                <a:gd name="T17" fmla="*/ 61 h 245"/>
                <a:gd name="T18" fmla="*/ 61 w 376"/>
                <a:gd name="T19" fmla="*/ 45 h 245"/>
                <a:gd name="T20" fmla="*/ 8 w 376"/>
                <a:gd name="T21" fmla="*/ 38 h 245"/>
                <a:gd name="T22" fmla="*/ 8 w 376"/>
                <a:gd name="T23" fmla="*/ 38 h 245"/>
                <a:gd name="T24" fmla="*/ 8 w 376"/>
                <a:gd name="T25" fmla="*/ 91 h 245"/>
                <a:gd name="T26" fmla="*/ 69 w 376"/>
                <a:gd name="T27" fmla="*/ 114 h 245"/>
                <a:gd name="T28" fmla="*/ 61 w 376"/>
                <a:gd name="T29" fmla="*/ 183 h 245"/>
                <a:gd name="T30" fmla="*/ 161 w 376"/>
                <a:gd name="T31" fmla="*/ 244 h 245"/>
                <a:gd name="T32" fmla="*/ 161 w 376"/>
                <a:gd name="T33" fmla="*/ 244 h 245"/>
                <a:gd name="T34" fmla="*/ 298 w 376"/>
                <a:gd name="T35" fmla="*/ 229 h 245"/>
                <a:gd name="T36" fmla="*/ 375 w 376"/>
                <a:gd name="T37" fmla="*/ 16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245">
                  <a:moveTo>
                    <a:pt x="375" y="168"/>
                  </a:moveTo>
                  <a:lnTo>
                    <a:pt x="375" y="168"/>
                  </a:lnTo>
                  <a:cubicBezTo>
                    <a:pt x="336" y="122"/>
                    <a:pt x="314" y="61"/>
                    <a:pt x="291" y="0"/>
                  </a:cubicBezTo>
                  <a:lnTo>
                    <a:pt x="291" y="0"/>
                  </a:lnTo>
                  <a:cubicBezTo>
                    <a:pt x="268" y="7"/>
                    <a:pt x="275" y="0"/>
                    <a:pt x="252" y="15"/>
                  </a:cubicBezTo>
                  <a:cubicBezTo>
                    <a:pt x="237" y="22"/>
                    <a:pt x="245" y="38"/>
                    <a:pt x="229" y="53"/>
                  </a:cubicBezTo>
                  <a:cubicBezTo>
                    <a:pt x="222" y="61"/>
                    <a:pt x="214" y="68"/>
                    <a:pt x="199" y="68"/>
                  </a:cubicBezTo>
                  <a:cubicBezTo>
                    <a:pt x="184" y="76"/>
                    <a:pt x="168" y="61"/>
                    <a:pt x="153" y="53"/>
                  </a:cubicBezTo>
                  <a:cubicBezTo>
                    <a:pt x="130" y="53"/>
                    <a:pt x="115" y="61"/>
                    <a:pt x="92" y="61"/>
                  </a:cubicBezTo>
                  <a:cubicBezTo>
                    <a:pt x="84" y="61"/>
                    <a:pt x="69" y="45"/>
                    <a:pt x="61" y="45"/>
                  </a:cubicBezTo>
                  <a:cubicBezTo>
                    <a:pt x="39" y="38"/>
                    <a:pt x="23" y="38"/>
                    <a:pt x="8" y="38"/>
                  </a:cubicBezTo>
                  <a:lnTo>
                    <a:pt x="8" y="38"/>
                  </a:lnTo>
                  <a:cubicBezTo>
                    <a:pt x="8" y="53"/>
                    <a:pt x="0" y="76"/>
                    <a:pt x="8" y="91"/>
                  </a:cubicBezTo>
                  <a:cubicBezTo>
                    <a:pt x="23" y="107"/>
                    <a:pt x="61" y="99"/>
                    <a:pt x="69" y="114"/>
                  </a:cubicBezTo>
                  <a:cubicBezTo>
                    <a:pt x="84" y="137"/>
                    <a:pt x="46" y="160"/>
                    <a:pt x="61" y="183"/>
                  </a:cubicBezTo>
                  <a:cubicBezTo>
                    <a:pt x="84" y="213"/>
                    <a:pt x="130" y="221"/>
                    <a:pt x="161" y="244"/>
                  </a:cubicBezTo>
                  <a:lnTo>
                    <a:pt x="161" y="244"/>
                  </a:lnTo>
                  <a:cubicBezTo>
                    <a:pt x="207" y="236"/>
                    <a:pt x="252" y="244"/>
                    <a:pt x="298" y="229"/>
                  </a:cubicBezTo>
                  <a:cubicBezTo>
                    <a:pt x="336" y="213"/>
                    <a:pt x="344" y="198"/>
                    <a:pt x="375" y="1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" name="Freeform 124"/>
            <p:cNvSpPr>
              <a:spLocks noChangeArrowheads="1"/>
            </p:cNvSpPr>
            <p:nvPr/>
          </p:nvSpPr>
          <p:spPr bwMode="auto">
            <a:xfrm>
              <a:off x="5017762" y="5210175"/>
              <a:ext cx="1349287" cy="838200"/>
            </a:xfrm>
            <a:custGeom>
              <a:avLst/>
              <a:gdLst>
                <a:gd name="T0" fmla="*/ 3741 w 3750"/>
                <a:gd name="T1" fmla="*/ 978 h 2330"/>
                <a:gd name="T2" fmla="*/ 3543 w 3750"/>
                <a:gd name="T3" fmla="*/ 1153 h 2330"/>
                <a:gd name="T4" fmla="*/ 3405 w 3750"/>
                <a:gd name="T5" fmla="*/ 1161 h 2330"/>
                <a:gd name="T6" fmla="*/ 3405 w 3750"/>
                <a:gd name="T7" fmla="*/ 1283 h 2330"/>
                <a:gd name="T8" fmla="*/ 3329 w 3750"/>
                <a:gd name="T9" fmla="*/ 1375 h 2330"/>
                <a:gd name="T10" fmla="*/ 2574 w 3750"/>
                <a:gd name="T11" fmla="*/ 1360 h 2330"/>
                <a:gd name="T12" fmla="*/ 2436 w 3750"/>
                <a:gd name="T13" fmla="*/ 1679 h 2330"/>
                <a:gd name="T14" fmla="*/ 1802 w 3750"/>
                <a:gd name="T15" fmla="*/ 1924 h 2330"/>
                <a:gd name="T16" fmla="*/ 1764 w 3750"/>
                <a:gd name="T17" fmla="*/ 1977 h 2330"/>
                <a:gd name="T18" fmla="*/ 1489 w 3750"/>
                <a:gd name="T19" fmla="*/ 1786 h 2330"/>
                <a:gd name="T20" fmla="*/ 1329 w 3750"/>
                <a:gd name="T21" fmla="*/ 1802 h 2330"/>
                <a:gd name="T22" fmla="*/ 1107 w 3750"/>
                <a:gd name="T23" fmla="*/ 2122 h 2330"/>
                <a:gd name="T24" fmla="*/ 672 w 3750"/>
                <a:gd name="T25" fmla="*/ 1802 h 2330"/>
                <a:gd name="T26" fmla="*/ 450 w 3750"/>
                <a:gd name="T27" fmla="*/ 2008 h 2330"/>
                <a:gd name="T28" fmla="*/ 511 w 3750"/>
                <a:gd name="T29" fmla="*/ 2267 h 2330"/>
                <a:gd name="T30" fmla="*/ 290 w 3750"/>
                <a:gd name="T31" fmla="*/ 1908 h 2330"/>
                <a:gd name="T32" fmla="*/ 160 w 3750"/>
                <a:gd name="T33" fmla="*/ 1260 h 2330"/>
                <a:gd name="T34" fmla="*/ 328 w 3750"/>
                <a:gd name="T35" fmla="*/ 1512 h 2330"/>
                <a:gd name="T36" fmla="*/ 420 w 3750"/>
                <a:gd name="T37" fmla="*/ 1191 h 2330"/>
                <a:gd name="T38" fmla="*/ 771 w 3750"/>
                <a:gd name="T39" fmla="*/ 1161 h 2330"/>
                <a:gd name="T40" fmla="*/ 909 w 3750"/>
                <a:gd name="T41" fmla="*/ 1024 h 2330"/>
                <a:gd name="T42" fmla="*/ 1008 w 3750"/>
                <a:gd name="T43" fmla="*/ 878 h 2330"/>
                <a:gd name="T44" fmla="*/ 1222 w 3750"/>
                <a:gd name="T45" fmla="*/ 810 h 2330"/>
                <a:gd name="T46" fmla="*/ 1291 w 3750"/>
                <a:gd name="T47" fmla="*/ 817 h 2330"/>
                <a:gd name="T48" fmla="*/ 1382 w 3750"/>
                <a:gd name="T49" fmla="*/ 565 h 2330"/>
                <a:gd name="T50" fmla="*/ 1566 w 3750"/>
                <a:gd name="T51" fmla="*/ 405 h 2330"/>
                <a:gd name="T52" fmla="*/ 1756 w 3750"/>
                <a:gd name="T53" fmla="*/ 458 h 2330"/>
                <a:gd name="T54" fmla="*/ 1779 w 3750"/>
                <a:gd name="T55" fmla="*/ 260 h 2330"/>
                <a:gd name="T56" fmla="*/ 1924 w 3750"/>
                <a:gd name="T57" fmla="*/ 53 h 2330"/>
                <a:gd name="T58" fmla="*/ 2008 w 3750"/>
                <a:gd name="T59" fmla="*/ 23 h 2330"/>
                <a:gd name="T60" fmla="*/ 2276 w 3750"/>
                <a:gd name="T61" fmla="*/ 138 h 2330"/>
                <a:gd name="T62" fmla="*/ 2398 w 3750"/>
                <a:gd name="T63" fmla="*/ 336 h 2330"/>
                <a:gd name="T64" fmla="*/ 2490 w 3750"/>
                <a:gd name="T65" fmla="*/ 481 h 2330"/>
                <a:gd name="T66" fmla="*/ 2604 w 3750"/>
                <a:gd name="T67" fmla="*/ 390 h 2330"/>
                <a:gd name="T68" fmla="*/ 2650 w 3750"/>
                <a:gd name="T69" fmla="*/ 191 h 2330"/>
                <a:gd name="T70" fmla="*/ 2749 w 3750"/>
                <a:gd name="T71" fmla="*/ 168 h 2330"/>
                <a:gd name="T72" fmla="*/ 3002 w 3750"/>
                <a:gd name="T73" fmla="*/ 61 h 2330"/>
                <a:gd name="T74" fmla="*/ 3085 w 3750"/>
                <a:gd name="T75" fmla="*/ 145 h 2330"/>
                <a:gd name="T76" fmla="*/ 3024 w 3750"/>
                <a:gd name="T77" fmla="*/ 344 h 2330"/>
                <a:gd name="T78" fmla="*/ 3191 w 3750"/>
                <a:gd name="T79" fmla="*/ 275 h 2330"/>
                <a:gd name="T80" fmla="*/ 3344 w 3750"/>
                <a:gd name="T81" fmla="*/ 344 h 2330"/>
                <a:gd name="T82" fmla="*/ 3436 w 3750"/>
                <a:gd name="T83" fmla="*/ 527 h 2330"/>
                <a:gd name="T84" fmla="*/ 3573 w 3750"/>
                <a:gd name="T85" fmla="*/ 489 h 2330"/>
                <a:gd name="T86" fmla="*/ 3695 w 3750"/>
                <a:gd name="T87" fmla="*/ 550 h 2330"/>
                <a:gd name="T88" fmla="*/ 3726 w 3750"/>
                <a:gd name="T89" fmla="*/ 672 h 2330"/>
                <a:gd name="T90" fmla="*/ 3749 w 3750"/>
                <a:gd name="T91" fmla="*/ 947 h 2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50" h="2330">
                  <a:moveTo>
                    <a:pt x="3749" y="947"/>
                  </a:moveTo>
                  <a:lnTo>
                    <a:pt x="3749" y="947"/>
                  </a:lnTo>
                  <a:cubicBezTo>
                    <a:pt x="3741" y="947"/>
                    <a:pt x="3741" y="970"/>
                    <a:pt x="3741" y="978"/>
                  </a:cubicBezTo>
                  <a:cubicBezTo>
                    <a:pt x="3734" y="985"/>
                    <a:pt x="3726" y="985"/>
                    <a:pt x="3718" y="993"/>
                  </a:cubicBezTo>
                  <a:cubicBezTo>
                    <a:pt x="3695" y="1016"/>
                    <a:pt x="3695" y="1031"/>
                    <a:pt x="3680" y="1054"/>
                  </a:cubicBezTo>
                  <a:cubicBezTo>
                    <a:pt x="3634" y="1069"/>
                    <a:pt x="3604" y="1146"/>
                    <a:pt x="3543" y="1153"/>
                  </a:cubicBezTo>
                  <a:cubicBezTo>
                    <a:pt x="3535" y="1169"/>
                    <a:pt x="3420" y="1161"/>
                    <a:pt x="3413" y="1146"/>
                  </a:cubicBezTo>
                  <a:lnTo>
                    <a:pt x="3405" y="1161"/>
                  </a:lnTo>
                  <a:lnTo>
                    <a:pt x="3405" y="1161"/>
                  </a:lnTo>
                  <a:cubicBezTo>
                    <a:pt x="3398" y="1169"/>
                    <a:pt x="3405" y="1169"/>
                    <a:pt x="3405" y="1176"/>
                  </a:cubicBezTo>
                  <a:cubicBezTo>
                    <a:pt x="3436" y="1207"/>
                    <a:pt x="3436" y="1207"/>
                    <a:pt x="3436" y="1207"/>
                  </a:cubicBezTo>
                  <a:cubicBezTo>
                    <a:pt x="3459" y="1207"/>
                    <a:pt x="3413" y="1276"/>
                    <a:pt x="3405" y="1283"/>
                  </a:cubicBezTo>
                  <a:cubicBezTo>
                    <a:pt x="3398" y="1299"/>
                    <a:pt x="3398" y="1344"/>
                    <a:pt x="3375" y="1352"/>
                  </a:cubicBezTo>
                  <a:cubicBezTo>
                    <a:pt x="3382" y="1352"/>
                    <a:pt x="3382" y="1352"/>
                    <a:pt x="3382" y="1352"/>
                  </a:cubicBezTo>
                  <a:cubicBezTo>
                    <a:pt x="3375" y="1352"/>
                    <a:pt x="3359" y="1360"/>
                    <a:pt x="3329" y="1375"/>
                  </a:cubicBezTo>
                  <a:cubicBezTo>
                    <a:pt x="3260" y="1421"/>
                    <a:pt x="3078" y="1421"/>
                    <a:pt x="2986" y="1405"/>
                  </a:cubicBezTo>
                  <a:cubicBezTo>
                    <a:pt x="2887" y="1382"/>
                    <a:pt x="2788" y="1398"/>
                    <a:pt x="2688" y="1405"/>
                  </a:cubicBezTo>
                  <a:cubicBezTo>
                    <a:pt x="2627" y="1413"/>
                    <a:pt x="2612" y="1360"/>
                    <a:pt x="2574" y="1360"/>
                  </a:cubicBezTo>
                  <a:cubicBezTo>
                    <a:pt x="2574" y="1398"/>
                    <a:pt x="2581" y="1421"/>
                    <a:pt x="2566" y="1459"/>
                  </a:cubicBezTo>
                  <a:cubicBezTo>
                    <a:pt x="2551" y="1497"/>
                    <a:pt x="2581" y="1527"/>
                    <a:pt x="2581" y="1565"/>
                  </a:cubicBezTo>
                  <a:cubicBezTo>
                    <a:pt x="2581" y="1679"/>
                    <a:pt x="2505" y="1641"/>
                    <a:pt x="2436" y="1679"/>
                  </a:cubicBezTo>
                  <a:cubicBezTo>
                    <a:pt x="2345" y="1672"/>
                    <a:pt x="2367" y="1634"/>
                    <a:pt x="2283" y="1695"/>
                  </a:cubicBezTo>
                  <a:cubicBezTo>
                    <a:pt x="2215" y="1740"/>
                    <a:pt x="2184" y="1794"/>
                    <a:pt x="2131" y="1832"/>
                  </a:cubicBezTo>
                  <a:cubicBezTo>
                    <a:pt x="2062" y="1886"/>
                    <a:pt x="1879" y="1992"/>
                    <a:pt x="1802" y="1924"/>
                  </a:cubicBezTo>
                  <a:cubicBezTo>
                    <a:pt x="1795" y="1916"/>
                    <a:pt x="1772" y="1863"/>
                    <a:pt x="1764" y="1870"/>
                  </a:cubicBezTo>
                  <a:cubicBezTo>
                    <a:pt x="1749" y="1924"/>
                    <a:pt x="1764" y="1931"/>
                    <a:pt x="1764" y="1977"/>
                  </a:cubicBezTo>
                  <a:lnTo>
                    <a:pt x="1764" y="1977"/>
                  </a:lnTo>
                  <a:cubicBezTo>
                    <a:pt x="1749" y="1939"/>
                    <a:pt x="1657" y="1916"/>
                    <a:pt x="1627" y="1893"/>
                  </a:cubicBezTo>
                  <a:cubicBezTo>
                    <a:pt x="1588" y="1863"/>
                    <a:pt x="1543" y="1817"/>
                    <a:pt x="1535" y="1763"/>
                  </a:cubicBezTo>
                  <a:cubicBezTo>
                    <a:pt x="1527" y="1717"/>
                    <a:pt x="1512" y="1786"/>
                    <a:pt x="1489" y="1786"/>
                  </a:cubicBezTo>
                  <a:cubicBezTo>
                    <a:pt x="1466" y="1786"/>
                    <a:pt x="1390" y="1725"/>
                    <a:pt x="1359" y="1710"/>
                  </a:cubicBezTo>
                  <a:cubicBezTo>
                    <a:pt x="1313" y="1695"/>
                    <a:pt x="1283" y="1611"/>
                    <a:pt x="1275" y="1702"/>
                  </a:cubicBezTo>
                  <a:cubicBezTo>
                    <a:pt x="1268" y="1756"/>
                    <a:pt x="1298" y="1779"/>
                    <a:pt x="1329" y="1802"/>
                  </a:cubicBezTo>
                  <a:cubicBezTo>
                    <a:pt x="1397" y="1855"/>
                    <a:pt x="1313" y="1992"/>
                    <a:pt x="1321" y="2054"/>
                  </a:cubicBezTo>
                  <a:cubicBezTo>
                    <a:pt x="1336" y="2115"/>
                    <a:pt x="1344" y="2153"/>
                    <a:pt x="1291" y="2199"/>
                  </a:cubicBezTo>
                  <a:cubicBezTo>
                    <a:pt x="1260" y="2214"/>
                    <a:pt x="1145" y="2138"/>
                    <a:pt x="1107" y="2122"/>
                  </a:cubicBezTo>
                  <a:cubicBezTo>
                    <a:pt x="1000" y="2069"/>
                    <a:pt x="985" y="1962"/>
                    <a:pt x="909" y="1908"/>
                  </a:cubicBezTo>
                  <a:cubicBezTo>
                    <a:pt x="847" y="1870"/>
                    <a:pt x="817" y="1855"/>
                    <a:pt x="771" y="1809"/>
                  </a:cubicBezTo>
                  <a:cubicBezTo>
                    <a:pt x="748" y="1786"/>
                    <a:pt x="702" y="1802"/>
                    <a:pt x="672" y="1802"/>
                  </a:cubicBezTo>
                  <a:cubicBezTo>
                    <a:pt x="649" y="1794"/>
                    <a:pt x="626" y="1756"/>
                    <a:pt x="611" y="1733"/>
                  </a:cubicBezTo>
                  <a:cubicBezTo>
                    <a:pt x="565" y="1687"/>
                    <a:pt x="473" y="1779"/>
                    <a:pt x="435" y="1802"/>
                  </a:cubicBezTo>
                  <a:cubicBezTo>
                    <a:pt x="351" y="1848"/>
                    <a:pt x="435" y="1939"/>
                    <a:pt x="450" y="2008"/>
                  </a:cubicBezTo>
                  <a:cubicBezTo>
                    <a:pt x="473" y="2130"/>
                    <a:pt x="473" y="2130"/>
                    <a:pt x="473" y="2130"/>
                  </a:cubicBezTo>
                  <a:cubicBezTo>
                    <a:pt x="519" y="2191"/>
                    <a:pt x="519" y="2191"/>
                    <a:pt x="519" y="2191"/>
                  </a:cubicBezTo>
                  <a:cubicBezTo>
                    <a:pt x="511" y="2267"/>
                    <a:pt x="511" y="2267"/>
                    <a:pt x="511" y="2267"/>
                  </a:cubicBezTo>
                  <a:cubicBezTo>
                    <a:pt x="504" y="2298"/>
                    <a:pt x="549" y="2313"/>
                    <a:pt x="557" y="2329"/>
                  </a:cubicBezTo>
                  <a:cubicBezTo>
                    <a:pt x="458" y="2329"/>
                    <a:pt x="351" y="2252"/>
                    <a:pt x="397" y="2153"/>
                  </a:cubicBezTo>
                  <a:cubicBezTo>
                    <a:pt x="412" y="2122"/>
                    <a:pt x="320" y="1939"/>
                    <a:pt x="290" y="1908"/>
                  </a:cubicBezTo>
                  <a:cubicBezTo>
                    <a:pt x="252" y="1848"/>
                    <a:pt x="168" y="1817"/>
                    <a:pt x="130" y="1748"/>
                  </a:cubicBezTo>
                  <a:cubicBezTo>
                    <a:pt x="107" y="1664"/>
                    <a:pt x="0" y="1557"/>
                    <a:pt x="30" y="1451"/>
                  </a:cubicBezTo>
                  <a:cubicBezTo>
                    <a:pt x="45" y="1382"/>
                    <a:pt x="61" y="1260"/>
                    <a:pt x="160" y="1260"/>
                  </a:cubicBezTo>
                  <a:cubicBezTo>
                    <a:pt x="160" y="1283"/>
                    <a:pt x="198" y="1337"/>
                    <a:pt x="206" y="1367"/>
                  </a:cubicBezTo>
                  <a:cubicBezTo>
                    <a:pt x="213" y="1405"/>
                    <a:pt x="206" y="1451"/>
                    <a:pt x="206" y="1489"/>
                  </a:cubicBezTo>
                  <a:cubicBezTo>
                    <a:pt x="213" y="1565"/>
                    <a:pt x="366" y="1588"/>
                    <a:pt x="328" y="1512"/>
                  </a:cubicBezTo>
                  <a:cubicBezTo>
                    <a:pt x="282" y="1436"/>
                    <a:pt x="252" y="1360"/>
                    <a:pt x="244" y="1283"/>
                  </a:cubicBezTo>
                  <a:lnTo>
                    <a:pt x="244" y="1283"/>
                  </a:lnTo>
                  <a:cubicBezTo>
                    <a:pt x="297" y="1253"/>
                    <a:pt x="382" y="1230"/>
                    <a:pt x="420" y="1191"/>
                  </a:cubicBezTo>
                  <a:cubicBezTo>
                    <a:pt x="458" y="1161"/>
                    <a:pt x="450" y="1092"/>
                    <a:pt x="488" y="1077"/>
                  </a:cubicBezTo>
                  <a:cubicBezTo>
                    <a:pt x="534" y="1069"/>
                    <a:pt x="565" y="1130"/>
                    <a:pt x="603" y="1146"/>
                  </a:cubicBezTo>
                  <a:cubicBezTo>
                    <a:pt x="657" y="1161"/>
                    <a:pt x="718" y="1169"/>
                    <a:pt x="771" y="1161"/>
                  </a:cubicBezTo>
                  <a:cubicBezTo>
                    <a:pt x="824" y="1161"/>
                    <a:pt x="878" y="1146"/>
                    <a:pt x="924" y="1123"/>
                  </a:cubicBezTo>
                  <a:cubicBezTo>
                    <a:pt x="939" y="1115"/>
                    <a:pt x="939" y="1084"/>
                    <a:pt x="947" y="1069"/>
                  </a:cubicBezTo>
                  <a:cubicBezTo>
                    <a:pt x="947" y="1069"/>
                    <a:pt x="909" y="1031"/>
                    <a:pt x="909" y="1024"/>
                  </a:cubicBezTo>
                  <a:cubicBezTo>
                    <a:pt x="909" y="1016"/>
                    <a:pt x="939" y="917"/>
                    <a:pt x="939" y="917"/>
                  </a:cubicBezTo>
                  <a:cubicBezTo>
                    <a:pt x="947" y="901"/>
                    <a:pt x="962" y="878"/>
                    <a:pt x="977" y="871"/>
                  </a:cubicBezTo>
                  <a:cubicBezTo>
                    <a:pt x="985" y="863"/>
                    <a:pt x="1000" y="878"/>
                    <a:pt x="1008" y="878"/>
                  </a:cubicBezTo>
                  <a:cubicBezTo>
                    <a:pt x="1031" y="863"/>
                    <a:pt x="1038" y="825"/>
                    <a:pt x="1061" y="825"/>
                  </a:cubicBezTo>
                  <a:cubicBezTo>
                    <a:pt x="1092" y="817"/>
                    <a:pt x="1130" y="848"/>
                    <a:pt x="1161" y="840"/>
                  </a:cubicBezTo>
                  <a:cubicBezTo>
                    <a:pt x="1184" y="840"/>
                    <a:pt x="1206" y="817"/>
                    <a:pt x="1222" y="810"/>
                  </a:cubicBezTo>
                  <a:lnTo>
                    <a:pt x="1222" y="810"/>
                  </a:lnTo>
                  <a:cubicBezTo>
                    <a:pt x="1229" y="832"/>
                    <a:pt x="1222" y="886"/>
                    <a:pt x="1252" y="886"/>
                  </a:cubicBezTo>
                  <a:cubicBezTo>
                    <a:pt x="1275" y="894"/>
                    <a:pt x="1283" y="848"/>
                    <a:pt x="1291" y="817"/>
                  </a:cubicBezTo>
                  <a:cubicBezTo>
                    <a:pt x="1306" y="787"/>
                    <a:pt x="1298" y="748"/>
                    <a:pt x="1313" y="718"/>
                  </a:cubicBezTo>
                  <a:cubicBezTo>
                    <a:pt x="1321" y="703"/>
                    <a:pt x="1344" y="718"/>
                    <a:pt x="1352" y="710"/>
                  </a:cubicBezTo>
                  <a:cubicBezTo>
                    <a:pt x="1367" y="665"/>
                    <a:pt x="1367" y="611"/>
                    <a:pt x="1382" y="565"/>
                  </a:cubicBezTo>
                  <a:cubicBezTo>
                    <a:pt x="1405" y="512"/>
                    <a:pt x="1428" y="466"/>
                    <a:pt x="1466" y="435"/>
                  </a:cubicBezTo>
                  <a:cubicBezTo>
                    <a:pt x="1481" y="420"/>
                    <a:pt x="1504" y="435"/>
                    <a:pt x="1527" y="435"/>
                  </a:cubicBezTo>
                  <a:cubicBezTo>
                    <a:pt x="1543" y="428"/>
                    <a:pt x="1550" y="405"/>
                    <a:pt x="1566" y="405"/>
                  </a:cubicBezTo>
                  <a:cubicBezTo>
                    <a:pt x="1573" y="397"/>
                    <a:pt x="1588" y="397"/>
                    <a:pt x="1604" y="405"/>
                  </a:cubicBezTo>
                  <a:cubicBezTo>
                    <a:pt x="1649" y="428"/>
                    <a:pt x="1672" y="481"/>
                    <a:pt x="1726" y="496"/>
                  </a:cubicBezTo>
                  <a:cubicBezTo>
                    <a:pt x="1741" y="504"/>
                    <a:pt x="1749" y="474"/>
                    <a:pt x="1756" y="458"/>
                  </a:cubicBezTo>
                  <a:cubicBezTo>
                    <a:pt x="1756" y="458"/>
                    <a:pt x="1756" y="413"/>
                    <a:pt x="1756" y="405"/>
                  </a:cubicBezTo>
                  <a:cubicBezTo>
                    <a:pt x="1756" y="390"/>
                    <a:pt x="1810" y="321"/>
                    <a:pt x="1810" y="321"/>
                  </a:cubicBezTo>
                  <a:cubicBezTo>
                    <a:pt x="1802" y="298"/>
                    <a:pt x="1779" y="282"/>
                    <a:pt x="1779" y="260"/>
                  </a:cubicBezTo>
                  <a:cubicBezTo>
                    <a:pt x="1779" y="221"/>
                    <a:pt x="1779" y="176"/>
                    <a:pt x="1802" y="153"/>
                  </a:cubicBezTo>
                  <a:cubicBezTo>
                    <a:pt x="1833" y="115"/>
                    <a:pt x="1894" y="122"/>
                    <a:pt x="1932" y="92"/>
                  </a:cubicBezTo>
                  <a:cubicBezTo>
                    <a:pt x="1947" y="84"/>
                    <a:pt x="1917" y="61"/>
                    <a:pt x="1924" y="53"/>
                  </a:cubicBezTo>
                  <a:cubicBezTo>
                    <a:pt x="1932" y="30"/>
                    <a:pt x="1955" y="15"/>
                    <a:pt x="1970" y="0"/>
                  </a:cubicBezTo>
                  <a:lnTo>
                    <a:pt x="1970" y="0"/>
                  </a:lnTo>
                  <a:cubicBezTo>
                    <a:pt x="1985" y="7"/>
                    <a:pt x="1993" y="23"/>
                    <a:pt x="2008" y="23"/>
                  </a:cubicBezTo>
                  <a:cubicBezTo>
                    <a:pt x="2047" y="30"/>
                    <a:pt x="2085" y="15"/>
                    <a:pt x="2123" y="23"/>
                  </a:cubicBezTo>
                  <a:cubicBezTo>
                    <a:pt x="2161" y="23"/>
                    <a:pt x="2192" y="38"/>
                    <a:pt x="2222" y="61"/>
                  </a:cubicBezTo>
                  <a:cubicBezTo>
                    <a:pt x="2245" y="84"/>
                    <a:pt x="2260" y="115"/>
                    <a:pt x="2276" y="138"/>
                  </a:cubicBezTo>
                  <a:cubicBezTo>
                    <a:pt x="2291" y="153"/>
                    <a:pt x="2299" y="176"/>
                    <a:pt x="2306" y="191"/>
                  </a:cubicBezTo>
                  <a:cubicBezTo>
                    <a:pt x="2322" y="221"/>
                    <a:pt x="2337" y="252"/>
                    <a:pt x="2352" y="275"/>
                  </a:cubicBezTo>
                  <a:cubicBezTo>
                    <a:pt x="2367" y="298"/>
                    <a:pt x="2390" y="313"/>
                    <a:pt x="2398" y="336"/>
                  </a:cubicBezTo>
                  <a:cubicBezTo>
                    <a:pt x="2406" y="351"/>
                    <a:pt x="2398" y="382"/>
                    <a:pt x="2406" y="397"/>
                  </a:cubicBezTo>
                  <a:cubicBezTo>
                    <a:pt x="2406" y="413"/>
                    <a:pt x="2429" y="428"/>
                    <a:pt x="2436" y="435"/>
                  </a:cubicBezTo>
                  <a:cubicBezTo>
                    <a:pt x="2452" y="451"/>
                    <a:pt x="2467" y="474"/>
                    <a:pt x="2490" y="481"/>
                  </a:cubicBezTo>
                  <a:cubicBezTo>
                    <a:pt x="2497" y="489"/>
                    <a:pt x="2520" y="489"/>
                    <a:pt x="2528" y="481"/>
                  </a:cubicBezTo>
                  <a:cubicBezTo>
                    <a:pt x="2543" y="451"/>
                    <a:pt x="2535" y="413"/>
                    <a:pt x="2558" y="390"/>
                  </a:cubicBezTo>
                  <a:cubicBezTo>
                    <a:pt x="2566" y="382"/>
                    <a:pt x="2597" y="405"/>
                    <a:pt x="2604" y="390"/>
                  </a:cubicBezTo>
                  <a:cubicBezTo>
                    <a:pt x="2619" y="367"/>
                    <a:pt x="2604" y="328"/>
                    <a:pt x="2604" y="298"/>
                  </a:cubicBezTo>
                  <a:cubicBezTo>
                    <a:pt x="2604" y="267"/>
                    <a:pt x="2589" y="237"/>
                    <a:pt x="2604" y="214"/>
                  </a:cubicBezTo>
                  <a:cubicBezTo>
                    <a:pt x="2612" y="199"/>
                    <a:pt x="2635" y="199"/>
                    <a:pt x="2650" y="191"/>
                  </a:cubicBezTo>
                  <a:cubicBezTo>
                    <a:pt x="2673" y="176"/>
                    <a:pt x="2696" y="168"/>
                    <a:pt x="2711" y="153"/>
                  </a:cubicBezTo>
                  <a:lnTo>
                    <a:pt x="2711" y="153"/>
                  </a:lnTo>
                  <a:cubicBezTo>
                    <a:pt x="2727" y="160"/>
                    <a:pt x="2734" y="168"/>
                    <a:pt x="2749" y="168"/>
                  </a:cubicBezTo>
                  <a:cubicBezTo>
                    <a:pt x="2772" y="168"/>
                    <a:pt x="2803" y="160"/>
                    <a:pt x="2833" y="153"/>
                  </a:cubicBezTo>
                  <a:cubicBezTo>
                    <a:pt x="2879" y="145"/>
                    <a:pt x="2933" y="153"/>
                    <a:pt x="2971" y="130"/>
                  </a:cubicBezTo>
                  <a:cubicBezTo>
                    <a:pt x="2994" y="115"/>
                    <a:pt x="2979" y="76"/>
                    <a:pt x="3002" y="61"/>
                  </a:cubicBezTo>
                  <a:cubicBezTo>
                    <a:pt x="3009" y="53"/>
                    <a:pt x="3024" y="76"/>
                    <a:pt x="3040" y="76"/>
                  </a:cubicBezTo>
                  <a:cubicBezTo>
                    <a:pt x="3070" y="92"/>
                    <a:pt x="3108" y="76"/>
                    <a:pt x="3131" y="99"/>
                  </a:cubicBezTo>
                  <a:cubicBezTo>
                    <a:pt x="3139" y="122"/>
                    <a:pt x="3101" y="130"/>
                    <a:pt x="3085" y="145"/>
                  </a:cubicBezTo>
                  <a:cubicBezTo>
                    <a:pt x="3063" y="160"/>
                    <a:pt x="3047" y="176"/>
                    <a:pt x="3032" y="199"/>
                  </a:cubicBezTo>
                  <a:cubicBezTo>
                    <a:pt x="3024" y="221"/>
                    <a:pt x="3017" y="252"/>
                    <a:pt x="3017" y="275"/>
                  </a:cubicBezTo>
                  <a:cubicBezTo>
                    <a:pt x="3017" y="298"/>
                    <a:pt x="3009" y="328"/>
                    <a:pt x="3024" y="344"/>
                  </a:cubicBezTo>
                  <a:cubicBezTo>
                    <a:pt x="3047" y="351"/>
                    <a:pt x="3063" y="321"/>
                    <a:pt x="3085" y="305"/>
                  </a:cubicBezTo>
                  <a:cubicBezTo>
                    <a:pt x="3101" y="290"/>
                    <a:pt x="3116" y="260"/>
                    <a:pt x="3145" y="252"/>
                  </a:cubicBezTo>
                  <a:cubicBezTo>
                    <a:pt x="3161" y="244"/>
                    <a:pt x="3176" y="260"/>
                    <a:pt x="3191" y="275"/>
                  </a:cubicBezTo>
                  <a:cubicBezTo>
                    <a:pt x="3207" y="282"/>
                    <a:pt x="3207" y="321"/>
                    <a:pt x="3230" y="321"/>
                  </a:cubicBezTo>
                  <a:cubicBezTo>
                    <a:pt x="3260" y="328"/>
                    <a:pt x="3298" y="290"/>
                    <a:pt x="3337" y="298"/>
                  </a:cubicBezTo>
                  <a:cubicBezTo>
                    <a:pt x="3352" y="305"/>
                    <a:pt x="3344" y="328"/>
                    <a:pt x="3344" y="344"/>
                  </a:cubicBezTo>
                  <a:cubicBezTo>
                    <a:pt x="3359" y="367"/>
                    <a:pt x="3367" y="382"/>
                    <a:pt x="3375" y="405"/>
                  </a:cubicBezTo>
                  <a:cubicBezTo>
                    <a:pt x="3390" y="428"/>
                    <a:pt x="3413" y="443"/>
                    <a:pt x="3428" y="466"/>
                  </a:cubicBezTo>
                  <a:cubicBezTo>
                    <a:pt x="3436" y="481"/>
                    <a:pt x="3420" y="512"/>
                    <a:pt x="3436" y="527"/>
                  </a:cubicBezTo>
                  <a:cubicBezTo>
                    <a:pt x="3443" y="535"/>
                    <a:pt x="3459" y="527"/>
                    <a:pt x="3474" y="527"/>
                  </a:cubicBezTo>
                  <a:cubicBezTo>
                    <a:pt x="3482" y="527"/>
                    <a:pt x="3489" y="542"/>
                    <a:pt x="3497" y="535"/>
                  </a:cubicBezTo>
                  <a:cubicBezTo>
                    <a:pt x="3527" y="527"/>
                    <a:pt x="3543" y="496"/>
                    <a:pt x="3573" y="489"/>
                  </a:cubicBezTo>
                  <a:cubicBezTo>
                    <a:pt x="3589" y="489"/>
                    <a:pt x="3604" y="504"/>
                    <a:pt x="3619" y="512"/>
                  </a:cubicBezTo>
                  <a:cubicBezTo>
                    <a:pt x="3642" y="512"/>
                    <a:pt x="3657" y="489"/>
                    <a:pt x="3673" y="496"/>
                  </a:cubicBezTo>
                  <a:cubicBezTo>
                    <a:pt x="3688" y="504"/>
                    <a:pt x="3703" y="535"/>
                    <a:pt x="3695" y="550"/>
                  </a:cubicBezTo>
                  <a:cubicBezTo>
                    <a:pt x="3688" y="580"/>
                    <a:pt x="3627" y="588"/>
                    <a:pt x="3634" y="619"/>
                  </a:cubicBezTo>
                  <a:cubicBezTo>
                    <a:pt x="3642" y="649"/>
                    <a:pt x="3695" y="611"/>
                    <a:pt x="3726" y="626"/>
                  </a:cubicBezTo>
                  <a:cubicBezTo>
                    <a:pt x="3734" y="634"/>
                    <a:pt x="3734" y="657"/>
                    <a:pt x="3726" y="672"/>
                  </a:cubicBezTo>
                  <a:cubicBezTo>
                    <a:pt x="3718" y="687"/>
                    <a:pt x="3695" y="687"/>
                    <a:pt x="3695" y="703"/>
                  </a:cubicBezTo>
                  <a:cubicBezTo>
                    <a:pt x="3680" y="764"/>
                    <a:pt x="3657" y="825"/>
                    <a:pt x="3665" y="878"/>
                  </a:cubicBezTo>
                  <a:cubicBezTo>
                    <a:pt x="3673" y="917"/>
                    <a:pt x="3718" y="924"/>
                    <a:pt x="3749" y="9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" name="Freeform 125"/>
            <p:cNvSpPr>
              <a:spLocks noChangeArrowheads="1"/>
            </p:cNvSpPr>
            <p:nvPr/>
          </p:nvSpPr>
          <p:spPr bwMode="auto">
            <a:xfrm>
              <a:off x="5106656" y="5068888"/>
              <a:ext cx="393674" cy="603250"/>
            </a:xfrm>
            <a:custGeom>
              <a:avLst/>
              <a:gdLst>
                <a:gd name="T0" fmla="*/ 0 w 1093"/>
                <a:gd name="T1" fmla="*/ 1673 h 1674"/>
                <a:gd name="T2" fmla="*/ 244 w 1093"/>
                <a:gd name="T3" fmla="*/ 1467 h 1674"/>
                <a:gd name="T4" fmla="*/ 527 w 1093"/>
                <a:gd name="T5" fmla="*/ 1551 h 1674"/>
                <a:gd name="T6" fmla="*/ 703 w 1093"/>
                <a:gd name="T7" fmla="*/ 1459 h 1674"/>
                <a:gd name="T8" fmla="*/ 695 w 1093"/>
                <a:gd name="T9" fmla="*/ 1307 h 1674"/>
                <a:gd name="T10" fmla="*/ 764 w 1093"/>
                <a:gd name="T11" fmla="*/ 1268 h 1674"/>
                <a:gd name="T12" fmla="*/ 917 w 1093"/>
                <a:gd name="T13" fmla="*/ 1230 h 1674"/>
                <a:gd name="T14" fmla="*/ 978 w 1093"/>
                <a:gd name="T15" fmla="*/ 1200 h 1674"/>
                <a:gd name="T16" fmla="*/ 1001 w 1093"/>
                <a:gd name="T17" fmla="*/ 1032 h 1674"/>
                <a:gd name="T18" fmla="*/ 1008 w 1093"/>
                <a:gd name="T19" fmla="*/ 955 h 1674"/>
                <a:gd name="T20" fmla="*/ 978 w 1093"/>
                <a:gd name="T21" fmla="*/ 879 h 1674"/>
                <a:gd name="T22" fmla="*/ 962 w 1093"/>
                <a:gd name="T23" fmla="*/ 772 h 1674"/>
                <a:gd name="T24" fmla="*/ 878 w 1093"/>
                <a:gd name="T25" fmla="*/ 711 h 1674"/>
                <a:gd name="T26" fmla="*/ 855 w 1093"/>
                <a:gd name="T27" fmla="*/ 650 h 1674"/>
                <a:gd name="T28" fmla="*/ 871 w 1093"/>
                <a:gd name="T29" fmla="*/ 573 h 1674"/>
                <a:gd name="T30" fmla="*/ 772 w 1093"/>
                <a:gd name="T31" fmla="*/ 558 h 1674"/>
                <a:gd name="T32" fmla="*/ 825 w 1093"/>
                <a:gd name="T33" fmla="*/ 482 h 1674"/>
                <a:gd name="T34" fmla="*/ 886 w 1093"/>
                <a:gd name="T35" fmla="*/ 535 h 1674"/>
                <a:gd name="T36" fmla="*/ 1001 w 1093"/>
                <a:gd name="T37" fmla="*/ 520 h 1674"/>
                <a:gd name="T38" fmla="*/ 940 w 1093"/>
                <a:gd name="T39" fmla="*/ 451 h 1674"/>
                <a:gd name="T40" fmla="*/ 932 w 1093"/>
                <a:gd name="T41" fmla="*/ 397 h 1674"/>
                <a:gd name="T42" fmla="*/ 1001 w 1093"/>
                <a:gd name="T43" fmla="*/ 329 h 1674"/>
                <a:gd name="T44" fmla="*/ 1085 w 1093"/>
                <a:gd name="T45" fmla="*/ 260 h 1674"/>
                <a:gd name="T46" fmla="*/ 1031 w 1093"/>
                <a:gd name="T47" fmla="*/ 107 h 1674"/>
                <a:gd name="T48" fmla="*/ 894 w 1093"/>
                <a:gd name="T49" fmla="*/ 100 h 1674"/>
                <a:gd name="T50" fmla="*/ 802 w 1093"/>
                <a:gd name="T51" fmla="*/ 0 h 1674"/>
                <a:gd name="T52" fmla="*/ 718 w 1093"/>
                <a:gd name="T53" fmla="*/ 84 h 1674"/>
                <a:gd name="T54" fmla="*/ 580 w 1093"/>
                <a:gd name="T55" fmla="*/ 84 h 1674"/>
                <a:gd name="T56" fmla="*/ 588 w 1093"/>
                <a:gd name="T57" fmla="*/ 107 h 1674"/>
                <a:gd name="T58" fmla="*/ 634 w 1093"/>
                <a:gd name="T59" fmla="*/ 252 h 1674"/>
                <a:gd name="T60" fmla="*/ 474 w 1093"/>
                <a:gd name="T61" fmla="*/ 550 h 1674"/>
                <a:gd name="T62" fmla="*/ 321 w 1093"/>
                <a:gd name="T63" fmla="*/ 810 h 1674"/>
                <a:gd name="T64" fmla="*/ 298 w 1093"/>
                <a:gd name="T65" fmla="*/ 1024 h 1674"/>
                <a:gd name="T66" fmla="*/ 92 w 1093"/>
                <a:gd name="T67" fmla="*/ 1307 h 1674"/>
                <a:gd name="T68" fmla="*/ 0 w 1093"/>
                <a:gd name="T69" fmla="*/ 1673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3" h="1674">
                  <a:moveTo>
                    <a:pt x="0" y="1673"/>
                  </a:moveTo>
                  <a:lnTo>
                    <a:pt x="0" y="1673"/>
                  </a:lnTo>
                  <a:cubicBezTo>
                    <a:pt x="53" y="1643"/>
                    <a:pt x="138" y="1620"/>
                    <a:pt x="176" y="1581"/>
                  </a:cubicBezTo>
                  <a:cubicBezTo>
                    <a:pt x="214" y="1551"/>
                    <a:pt x="206" y="1482"/>
                    <a:pt x="244" y="1467"/>
                  </a:cubicBezTo>
                  <a:cubicBezTo>
                    <a:pt x="290" y="1459"/>
                    <a:pt x="321" y="1520"/>
                    <a:pt x="359" y="1536"/>
                  </a:cubicBezTo>
                  <a:cubicBezTo>
                    <a:pt x="413" y="1551"/>
                    <a:pt x="474" y="1559"/>
                    <a:pt x="527" y="1551"/>
                  </a:cubicBezTo>
                  <a:cubicBezTo>
                    <a:pt x="580" y="1551"/>
                    <a:pt x="634" y="1536"/>
                    <a:pt x="680" y="1513"/>
                  </a:cubicBezTo>
                  <a:cubicBezTo>
                    <a:pt x="695" y="1505"/>
                    <a:pt x="695" y="1474"/>
                    <a:pt x="703" y="1459"/>
                  </a:cubicBezTo>
                  <a:cubicBezTo>
                    <a:pt x="703" y="1459"/>
                    <a:pt x="665" y="1421"/>
                    <a:pt x="665" y="1414"/>
                  </a:cubicBezTo>
                  <a:cubicBezTo>
                    <a:pt x="665" y="1406"/>
                    <a:pt x="695" y="1307"/>
                    <a:pt x="695" y="1307"/>
                  </a:cubicBezTo>
                  <a:cubicBezTo>
                    <a:pt x="703" y="1291"/>
                    <a:pt x="718" y="1268"/>
                    <a:pt x="733" y="1261"/>
                  </a:cubicBezTo>
                  <a:cubicBezTo>
                    <a:pt x="741" y="1253"/>
                    <a:pt x="756" y="1268"/>
                    <a:pt x="764" y="1268"/>
                  </a:cubicBezTo>
                  <a:cubicBezTo>
                    <a:pt x="787" y="1253"/>
                    <a:pt x="794" y="1215"/>
                    <a:pt x="817" y="1215"/>
                  </a:cubicBezTo>
                  <a:cubicBezTo>
                    <a:pt x="848" y="1207"/>
                    <a:pt x="886" y="1238"/>
                    <a:pt x="917" y="1230"/>
                  </a:cubicBezTo>
                  <a:cubicBezTo>
                    <a:pt x="940" y="1230"/>
                    <a:pt x="962" y="1207"/>
                    <a:pt x="978" y="1200"/>
                  </a:cubicBezTo>
                  <a:lnTo>
                    <a:pt x="978" y="1200"/>
                  </a:lnTo>
                  <a:cubicBezTo>
                    <a:pt x="970" y="1169"/>
                    <a:pt x="955" y="1131"/>
                    <a:pt x="962" y="1100"/>
                  </a:cubicBezTo>
                  <a:cubicBezTo>
                    <a:pt x="962" y="1077"/>
                    <a:pt x="985" y="1055"/>
                    <a:pt x="1001" y="1032"/>
                  </a:cubicBezTo>
                  <a:cubicBezTo>
                    <a:pt x="1008" y="1009"/>
                    <a:pt x="1024" y="986"/>
                    <a:pt x="1024" y="955"/>
                  </a:cubicBezTo>
                  <a:cubicBezTo>
                    <a:pt x="1024" y="955"/>
                    <a:pt x="1008" y="963"/>
                    <a:pt x="1008" y="955"/>
                  </a:cubicBezTo>
                  <a:cubicBezTo>
                    <a:pt x="1001" y="947"/>
                    <a:pt x="1016" y="932"/>
                    <a:pt x="1016" y="925"/>
                  </a:cubicBezTo>
                  <a:cubicBezTo>
                    <a:pt x="1008" y="909"/>
                    <a:pt x="985" y="902"/>
                    <a:pt x="978" y="879"/>
                  </a:cubicBezTo>
                  <a:cubicBezTo>
                    <a:pt x="978" y="856"/>
                    <a:pt x="1008" y="841"/>
                    <a:pt x="1008" y="810"/>
                  </a:cubicBezTo>
                  <a:cubicBezTo>
                    <a:pt x="1001" y="795"/>
                    <a:pt x="978" y="780"/>
                    <a:pt x="962" y="772"/>
                  </a:cubicBezTo>
                  <a:cubicBezTo>
                    <a:pt x="947" y="764"/>
                    <a:pt x="932" y="772"/>
                    <a:pt x="924" y="772"/>
                  </a:cubicBezTo>
                  <a:cubicBezTo>
                    <a:pt x="909" y="757"/>
                    <a:pt x="901" y="734"/>
                    <a:pt x="878" y="711"/>
                  </a:cubicBezTo>
                  <a:cubicBezTo>
                    <a:pt x="863" y="695"/>
                    <a:pt x="840" y="688"/>
                    <a:pt x="825" y="665"/>
                  </a:cubicBezTo>
                  <a:cubicBezTo>
                    <a:pt x="825" y="657"/>
                    <a:pt x="848" y="657"/>
                    <a:pt x="855" y="650"/>
                  </a:cubicBezTo>
                  <a:cubicBezTo>
                    <a:pt x="871" y="634"/>
                    <a:pt x="886" y="619"/>
                    <a:pt x="886" y="596"/>
                  </a:cubicBezTo>
                  <a:cubicBezTo>
                    <a:pt x="886" y="589"/>
                    <a:pt x="878" y="581"/>
                    <a:pt x="871" y="573"/>
                  </a:cubicBezTo>
                  <a:cubicBezTo>
                    <a:pt x="848" y="573"/>
                    <a:pt x="833" y="589"/>
                    <a:pt x="810" y="581"/>
                  </a:cubicBezTo>
                  <a:cubicBezTo>
                    <a:pt x="794" y="581"/>
                    <a:pt x="764" y="573"/>
                    <a:pt x="772" y="558"/>
                  </a:cubicBezTo>
                  <a:cubicBezTo>
                    <a:pt x="772" y="535"/>
                    <a:pt x="810" y="535"/>
                    <a:pt x="825" y="520"/>
                  </a:cubicBezTo>
                  <a:cubicBezTo>
                    <a:pt x="833" y="512"/>
                    <a:pt x="817" y="482"/>
                    <a:pt x="825" y="482"/>
                  </a:cubicBezTo>
                  <a:cubicBezTo>
                    <a:pt x="840" y="474"/>
                    <a:pt x="863" y="482"/>
                    <a:pt x="878" y="497"/>
                  </a:cubicBezTo>
                  <a:cubicBezTo>
                    <a:pt x="886" y="505"/>
                    <a:pt x="871" y="528"/>
                    <a:pt x="886" y="535"/>
                  </a:cubicBezTo>
                  <a:cubicBezTo>
                    <a:pt x="909" y="550"/>
                    <a:pt x="940" y="550"/>
                    <a:pt x="962" y="550"/>
                  </a:cubicBezTo>
                  <a:cubicBezTo>
                    <a:pt x="978" y="543"/>
                    <a:pt x="993" y="535"/>
                    <a:pt x="1001" y="520"/>
                  </a:cubicBezTo>
                  <a:cubicBezTo>
                    <a:pt x="1008" y="505"/>
                    <a:pt x="1008" y="489"/>
                    <a:pt x="1001" y="482"/>
                  </a:cubicBezTo>
                  <a:cubicBezTo>
                    <a:pt x="985" y="466"/>
                    <a:pt x="955" y="466"/>
                    <a:pt x="940" y="451"/>
                  </a:cubicBezTo>
                  <a:cubicBezTo>
                    <a:pt x="940" y="436"/>
                    <a:pt x="962" y="428"/>
                    <a:pt x="955" y="420"/>
                  </a:cubicBezTo>
                  <a:cubicBezTo>
                    <a:pt x="955" y="405"/>
                    <a:pt x="932" y="413"/>
                    <a:pt x="932" y="397"/>
                  </a:cubicBezTo>
                  <a:cubicBezTo>
                    <a:pt x="932" y="375"/>
                    <a:pt x="947" y="352"/>
                    <a:pt x="962" y="329"/>
                  </a:cubicBezTo>
                  <a:cubicBezTo>
                    <a:pt x="970" y="321"/>
                    <a:pt x="993" y="336"/>
                    <a:pt x="1001" y="329"/>
                  </a:cubicBezTo>
                  <a:cubicBezTo>
                    <a:pt x="1008" y="321"/>
                    <a:pt x="1008" y="298"/>
                    <a:pt x="1024" y="291"/>
                  </a:cubicBezTo>
                  <a:cubicBezTo>
                    <a:pt x="1039" y="275"/>
                    <a:pt x="1077" y="283"/>
                    <a:pt x="1085" y="260"/>
                  </a:cubicBezTo>
                  <a:cubicBezTo>
                    <a:pt x="1092" y="222"/>
                    <a:pt x="1077" y="176"/>
                    <a:pt x="1062" y="138"/>
                  </a:cubicBezTo>
                  <a:cubicBezTo>
                    <a:pt x="1062" y="123"/>
                    <a:pt x="1047" y="115"/>
                    <a:pt x="1031" y="107"/>
                  </a:cubicBezTo>
                  <a:cubicBezTo>
                    <a:pt x="1016" y="107"/>
                    <a:pt x="993" y="115"/>
                    <a:pt x="978" y="115"/>
                  </a:cubicBezTo>
                  <a:lnTo>
                    <a:pt x="894" y="100"/>
                  </a:lnTo>
                  <a:cubicBezTo>
                    <a:pt x="886" y="92"/>
                    <a:pt x="863" y="31"/>
                    <a:pt x="863" y="31"/>
                  </a:cubicBezTo>
                  <a:cubicBezTo>
                    <a:pt x="840" y="23"/>
                    <a:pt x="817" y="8"/>
                    <a:pt x="802" y="0"/>
                  </a:cubicBezTo>
                  <a:lnTo>
                    <a:pt x="802" y="0"/>
                  </a:lnTo>
                  <a:cubicBezTo>
                    <a:pt x="772" y="31"/>
                    <a:pt x="749" y="61"/>
                    <a:pt x="718" y="84"/>
                  </a:cubicBezTo>
                  <a:cubicBezTo>
                    <a:pt x="695" y="92"/>
                    <a:pt x="680" y="100"/>
                    <a:pt x="657" y="100"/>
                  </a:cubicBezTo>
                  <a:cubicBezTo>
                    <a:pt x="642" y="100"/>
                    <a:pt x="596" y="92"/>
                    <a:pt x="580" y="84"/>
                  </a:cubicBezTo>
                  <a:lnTo>
                    <a:pt x="580" y="84"/>
                  </a:lnTo>
                  <a:cubicBezTo>
                    <a:pt x="588" y="92"/>
                    <a:pt x="588" y="100"/>
                    <a:pt x="588" y="107"/>
                  </a:cubicBezTo>
                  <a:cubicBezTo>
                    <a:pt x="588" y="130"/>
                    <a:pt x="619" y="161"/>
                    <a:pt x="611" y="176"/>
                  </a:cubicBezTo>
                  <a:cubicBezTo>
                    <a:pt x="588" y="237"/>
                    <a:pt x="588" y="191"/>
                    <a:pt x="634" y="252"/>
                  </a:cubicBezTo>
                  <a:cubicBezTo>
                    <a:pt x="672" y="298"/>
                    <a:pt x="665" y="413"/>
                    <a:pt x="634" y="466"/>
                  </a:cubicBezTo>
                  <a:cubicBezTo>
                    <a:pt x="588" y="535"/>
                    <a:pt x="535" y="520"/>
                    <a:pt x="474" y="550"/>
                  </a:cubicBezTo>
                  <a:cubicBezTo>
                    <a:pt x="436" y="566"/>
                    <a:pt x="451" y="642"/>
                    <a:pt x="443" y="680"/>
                  </a:cubicBezTo>
                  <a:cubicBezTo>
                    <a:pt x="428" y="711"/>
                    <a:pt x="321" y="810"/>
                    <a:pt x="321" y="810"/>
                  </a:cubicBezTo>
                  <a:cubicBezTo>
                    <a:pt x="328" y="848"/>
                    <a:pt x="328" y="871"/>
                    <a:pt x="328" y="917"/>
                  </a:cubicBezTo>
                  <a:cubicBezTo>
                    <a:pt x="328" y="955"/>
                    <a:pt x="298" y="978"/>
                    <a:pt x="298" y="1024"/>
                  </a:cubicBezTo>
                  <a:cubicBezTo>
                    <a:pt x="275" y="1077"/>
                    <a:pt x="222" y="1138"/>
                    <a:pt x="199" y="1192"/>
                  </a:cubicBezTo>
                  <a:cubicBezTo>
                    <a:pt x="168" y="1268"/>
                    <a:pt x="130" y="1253"/>
                    <a:pt x="92" y="1307"/>
                  </a:cubicBezTo>
                  <a:cubicBezTo>
                    <a:pt x="76" y="1329"/>
                    <a:pt x="92" y="1406"/>
                    <a:pt x="69" y="1444"/>
                  </a:cubicBezTo>
                  <a:cubicBezTo>
                    <a:pt x="15" y="1520"/>
                    <a:pt x="0" y="1597"/>
                    <a:pt x="0" y="167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" name="Freeform 126"/>
            <p:cNvSpPr>
              <a:spLocks noChangeArrowheads="1"/>
            </p:cNvSpPr>
            <p:nvPr/>
          </p:nvSpPr>
          <p:spPr bwMode="auto">
            <a:xfrm>
              <a:off x="5413022" y="4854576"/>
              <a:ext cx="190488" cy="142875"/>
            </a:xfrm>
            <a:custGeom>
              <a:avLst/>
              <a:gdLst>
                <a:gd name="T0" fmla="*/ 31 w 529"/>
                <a:gd name="T1" fmla="*/ 206 h 398"/>
                <a:gd name="T2" fmla="*/ 31 w 529"/>
                <a:gd name="T3" fmla="*/ 206 h 398"/>
                <a:gd name="T4" fmla="*/ 0 w 529"/>
                <a:gd name="T5" fmla="*/ 145 h 398"/>
                <a:gd name="T6" fmla="*/ 0 w 529"/>
                <a:gd name="T7" fmla="*/ 145 h 398"/>
                <a:gd name="T8" fmla="*/ 46 w 529"/>
                <a:gd name="T9" fmla="*/ 114 h 398"/>
                <a:gd name="T10" fmla="*/ 100 w 529"/>
                <a:gd name="T11" fmla="*/ 53 h 398"/>
                <a:gd name="T12" fmla="*/ 192 w 529"/>
                <a:gd name="T13" fmla="*/ 53 h 398"/>
                <a:gd name="T14" fmla="*/ 275 w 529"/>
                <a:gd name="T15" fmla="*/ 0 h 398"/>
                <a:gd name="T16" fmla="*/ 275 w 529"/>
                <a:gd name="T17" fmla="*/ 0 h 398"/>
                <a:gd name="T18" fmla="*/ 283 w 529"/>
                <a:gd name="T19" fmla="*/ 76 h 398"/>
                <a:gd name="T20" fmla="*/ 329 w 529"/>
                <a:gd name="T21" fmla="*/ 76 h 398"/>
                <a:gd name="T22" fmla="*/ 367 w 529"/>
                <a:gd name="T23" fmla="*/ 30 h 398"/>
                <a:gd name="T24" fmla="*/ 428 w 529"/>
                <a:gd name="T25" fmla="*/ 30 h 398"/>
                <a:gd name="T26" fmla="*/ 444 w 529"/>
                <a:gd name="T27" fmla="*/ 91 h 398"/>
                <a:gd name="T28" fmla="*/ 474 w 529"/>
                <a:gd name="T29" fmla="*/ 99 h 398"/>
                <a:gd name="T30" fmla="*/ 474 w 529"/>
                <a:gd name="T31" fmla="*/ 99 h 398"/>
                <a:gd name="T32" fmla="*/ 459 w 529"/>
                <a:gd name="T33" fmla="*/ 137 h 398"/>
                <a:gd name="T34" fmla="*/ 421 w 529"/>
                <a:gd name="T35" fmla="*/ 145 h 398"/>
                <a:gd name="T36" fmla="*/ 459 w 529"/>
                <a:gd name="T37" fmla="*/ 214 h 398"/>
                <a:gd name="T38" fmla="*/ 520 w 529"/>
                <a:gd name="T39" fmla="*/ 259 h 398"/>
                <a:gd name="T40" fmla="*/ 520 w 529"/>
                <a:gd name="T41" fmla="*/ 336 h 398"/>
                <a:gd name="T42" fmla="*/ 474 w 529"/>
                <a:gd name="T43" fmla="*/ 397 h 398"/>
                <a:gd name="T44" fmla="*/ 474 w 529"/>
                <a:gd name="T45" fmla="*/ 397 h 398"/>
                <a:gd name="T46" fmla="*/ 436 w 529"/>
                <a:gd name="T47" fmla="*/ 374 h 398"/>
                <a:gd name="T48" fmla="*/ 344 w 529"/>
                <a:gd name="T49" fmla="*/ 366 h 398"/>
                <a:gd name="T50" fmla="*/ 337 w 529"/>
                <a:gd name="T51" fmla="*/ 336 h 398"/>
                <a:gd name="T52" fmla="*/ 260 w 529"/>
                <a:gd name="T53" fmla="*/ 275 h 398"/>
                <a:gd name="T54" fmla="*/ 237 w 529"/>
                <a:gd name="T55" fmla="*/ 290 h 398"/>
                <a:gd name="T56" fmla="*/ 192 w 529"/>
                <a:gd name="T57" fmla="*/ 244 h 398"/>
                <a:gd name="T58" fmla="*/ 130 w 529"/>
                <a:gd name="T59" fmla="*/ 236 h 398"/>
                <a:gd name="T60" fmla="*/ 146 w 529"/>
                <a:gd name="T61" fmla="*/ 198 h 398"/>
                <a:gd name="T62" fmla="*/ 85 w 529"/>
                <a:gd name="T63" fmla="*/ 152 h 398"/>
                <a:gd name="T64" fmla="*/ 31 w 529"/>
                <a:gd name="T65" fmla="*/ 206 h 398"/>
                <a:gd name="T66" fmla="*/ 31 w 529"/>
                <a:gd name="T67" fmla="*/ 206 h 398"/>
                <a:gd name="T68" fmla="*/ 0 w 529"/>
                <a:gd name="T69" fmla="*/ 145 h 398"/>
                <a:gd name="T70" fmla="*/ 31 w 529"/>
                <a:gd name="T71" fmla="*/ 206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9" h="398">
                  <a:moveTo>
                    <a:pt x="31" y="206"/>
                  </a:move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0" y="145"/>
                  </a:lnTo>
                  <a:cubicBezTo>
                    <a:pt x="16" y="129"/>
                    <a:pt x="31" y="122"/>
                    <a:pt x="46" y="114"/>
                  </a:cubicBezTo>
                  <a:cubicBezTo>
                    <a:pt x="69" y="91"/>
                    <a:pt x="77" y="68"/>
                    <a:pt x="100" y="53"/>
                  </a:cubicBezTo>
                  <a:cubicBezTo>
                    <a:pt x="130" y="45"/>
                    <a:pt x="161" y="61"/>
                    <a:pt x="192" y="53"/>
                  </a:cubicBezTo>
                  <a:cubicBezTo>
                    <a:pt x="222" y="45"/>
                    <a:pt x="245" y="15"/>
                    <a:pt x="275" y="0"/>
                  </a:cubicBezTo>
                  <a:lnTo>
                    <a:pt x="275" y="0"/>
                  </a:lnTo>
                  <a:cubicBezTo>
                    <a:pt x="275" y="23"/>
                    <a:pt x="268" y="53"/>
                    <a:pt x="283" y="76"/>
                  </a:cubicBezTo>
                  <a:cubicBezTo>
                    <a:pt x="291" y="84"/>
                    <a:pt x="314" y="84"/>
                    <a:pt x="329" y="76"/>
                  </a:cubicBezTo>
                  <a:cubicBezTo>
                    <a:pt x="344" y="68"/>
                    <a:pt x="344" y="38"/>
                    <a:pt x="367" y="30"/>
                  </a:cubicBezTo>
                  <a:cubicBezTo>
                    <a:pt x="382" y="23"/>
                    <a:pt x="413" y="15"/>
                    <a:pt x="428" y="30"/>
                  </a:cubicBezTo>
                  <a:cubicBezTo>
                    <a:pt x="451" y="38"/>
                    <a:pt x="436" y="76"/>
                    <a:pt x="444" y="91"/>
                  </a:cubicBezTo>
                  <a:cubicBezTo>
                    <a:pt x="451" y="99"/>
                    <a:pt x="467" y="99"/>
                    <a:pt x="474" y="99"/>
                  </a:cubicBezTo>
                  <a:lnTo>
                    <a:pt x="474" y="99"/>
                  </a:lnTo>
                  <a:cubicBezTo>
                    <a:pt x="474" y="114"/>
                    <a:pt x="474" y="129"/>
                    <a:pt x="459" y="137"/>
                  </a:cubicBezTo>
                  <a:cubicBezTo>
                    <a:pt x="451" y="145"/>
                    <a:pt x="421" y="129"/>
                    <a:pt x="421" y="145"/>
                  </a:cubicBezTo>
                  <a:cubicBezTo>
                    <a:pt x="421" y="168"/>
                    <a:pt x="444" y="191"/>
                    <a:pt x="459" y="214"/>
                  </a:cubicBezTo>
                  <a:cubicBezTo>
                    <a:pt x="474" y="229"/>
                    <a:pt x="505" y="236"/>
                    <a:pt x="520" y="259"/>
                  </a:cubicBezTo>
                  <a:cubicBezTo>
                    <a:pt x="528" y="282"/>
                    <a:pt x="528" y="313"/>
                    <a:pt x="520" y="336"/>
                  </a:cubicBezTo>
                  <a:cubicBezTo>
                    <a:pt x="512" y="359"/>
                    <a:pt x="489" y="374"/>
                    <a:pt x="474" y="397"/>
                  </a:cubicBezTo>
                  <a:lnTo>
                    <a:pt x="474" y="397"/>
                  </a:lnTo>
                  <a:cubicBezTo>
                    <a:pt x="459" y="389"/>
                    <a:pt x="444" y="381"/>
                    <a:pt x="436" y="374"/>
                  </a:cubicBezTo>
                  <a:cubicBezTo>
                    <a:pt x="405" y="374"/>
                    <a:pt x="375" y="374"/>
                    <a:pt x="344" y="366"/>
                  </a:cubicBezTo>
                  <a:cubicBezTo>
                    <a:pt x="337" y="359"/>
                    <a:pt x="344" y="343"/>
                    <a:pt x="337" y="336"/>
                  </a:cubicBezTo>
                  <a:cubicBezTo>
                    <a:pt x="314" y="313"/>
                    <a:pt x="291" y="290"/>
                    <a:pt x="260" y="275"/>
                  </a:cubicBezTo>
                  <a:cubicBezTo>
                    <a:pt x="253" y="267"/>
                    <a:pt x="245" y="290"/>
                    <a:pt x="237" y="290"/>
                  </a:cubicBezTo>
                  <a:cubicBezTo>
                    <a:pt x="214" y="275"/>
                    <a:pt x="214" y="252"/>
                    <a:pt x="192" y="244"/>
                  </a:cubicBezTo>
                  <a:cubicBezTo>
                    <a:pt x="176" y="236"/>
                    <a:pt x="146" y="252"/>
                    <a:pt x="130" y="236"/>
                  </a:cubicBezTo>
                  <a:cubicBezTo>
                    <a:pt x="123" y="229"/>
                    <a:pt x="153" y="206"/>
                    <a:pt x="146" y="198"/>
                  </a:cubicBezTo>
                  <a:cubicBezTo>
                    <a:pt x="130" y="175"/>
                    <a:pt x="107" y="152"/>
                    <a:pt x="85" y="152"/>
                  </a:cubicBezTo>
                  <a:cubicBezTo>
                    <a:pt x="54" y="152"/>
                    <a:pt x="46" y="183"/>
                    <a:pt x="31" y="206"/>
                  </a:cubicBezTo>
                  <a:lnTo>
                    <a:pt x="31" y="206"/>
                  </a:lnTo>
                  <a:cubicBezTo>
                    <a:pt x="0" y="145"/>
                    <a:pt x="0" y="145"/>
                    <a:pt x="0" y="145"/>
                  </a:cubicBezTo>
                  <a:lnTo>
                    <a:pt x="31" y="20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" name="Freeform 127"/>
            <p:cNvSpPr>
              <a:spLocks noChangeArrowheads="1"/>
            </p:cNvSpPr>
            <p:nvPr/>
          </p:nvSpPr>
          <p:spPr bwMode="auto">
            <a:xfrm>
              <a:off x="5366989" y="4910138"/>
              <a:ext cx="376212" cy="622300"/>
            </a:xfrm>
            <a:custGeom>
              <a:avLst/>
              <a:gdLst>
                <a:gd name="T0" fmla="*/ 603 w 1047"/>
                <a:gd name="T1" fmla="*/ 245 h 1728"/>
                <a:gd name="T2" fmla="*/ 473 w 1047"/>
                <a:gd name="T3" fmla="*/ 214 h 1728"/>
                <a:gd name="T4" fmla="*/ 389 w 1047"/>
                <a:gd name="T5" fmla="*/ 123 h 1728"/>
                <a:gd name="T6" fmla="*/ 321 w 1047"/>
                <a:gd name="T7" fmla="*/ 92 h 1728"/>
                <a:gd name="T8" fmla="*/ 275 w 1047"/>
                <a:gd name="T9" fmla="*/ 46 h 1728"/>
                <a:gd name="T10" fmla="*/ 160 w 1047"/>
                <a:gd name="T11" fmla="*/ 54 h 1728"/>
                <a:gd name="T12" fmla="*/ 114 w 1047"/>
                <a:gd name="T13" fmla="*/ 107 h 1728"/>
                <a:gd name="T14" fmla="*/ 7 w 1047"/>
                <a:gd name="T15" fmla="*/ 252 h 1728"/>
                <a:gd name="T16" fmla="*/ 68 w 1047"/>
                <a:gd name="T17" fmla="*/ 321 h 1728"/>
                <a:gd name="T18" fmla="*/ 168 w 1047"/>
                <a:gd name="T19" fmla="*/ 283 h 1728"/>
                <a:gd name="T20" fmla="*/ 214 w 1047"/>
                <a:gd name="T21" fmla="*/ 298 h 1728"/>
                <a:gd name="T22" fmla="*/ 107 w 1047"/>
                <a:gd name="T23" fmla="*/ 375 h 1728"/>
                <a:gd name="T24" fmla="*/ 84 w 1047"/>
                <a:gd name="T25" fmla="*/ 398 h 1728"/>
                <a:gd name="T26" fmla="*/ 76 w 1047"/>
                <a:gd name="T27" fmla="*/ 443 h 1728"/>
                <a:gd name="T28" fmla="*/ 168 w 1047"/>
                <a:gd name="T29" fmla="*/ 543 h 1728"/>
                <a:gd name="T30" fmla="*/ 305 w 1047"/>
                <a:gd name="T31" fmla="*/ 550 h 1728"/>
                <a:gd name="T32" fmla="*/ 359 w 1047"/>
                <a:gd name="T33" fmla="*/ 703 h 1728"/>
                <a:gd name="T34" fmla="*/ 275 w 1047"/>
                <a:gd name="T35" fmla="*/ 772 h 1728"/>
                <a:gd name="T36" fmla="*/ 206 w 1047"/>
                <a:gd name="T37" fmla="*/ 840 h 1728"/>
                <a:gd name="T38" fmla="*/ 214 w 1047"/>
                <a:gd name="T39" fmla="*/ 894 h 1728"/>
                <a:gd name="T40" fmla="*/ 275 w 1047"/>
                <a:gd name="T41" fmla="*/ 963 h 1728"/>
                <a:gd name="T42" fmla="*/ 160 w 1047"/>
                <a:gd name="T43" fmla="*/ 978 h 1728"/>
                <a:gd name="T44" fmla="*/ 99 w 1047"/>
                <a:gd name="T45" fmla="*/ 925 h 1728"/>
                <a:gd name="T46" fmla="*/ 46 w 1047"/>
                <a:gd name="T47" fmla="*/ 1001 h 1728"/>
                <a:gd name="T48" fmla="*/ 145 w 1047"/>
                <a:gd name="T49" fmla="*/ 1016 h 1728"/>
                <a:gd name="T50" fmla="*/ 129 w 1047"/>
                <a:gd name="T51" fmla="*/ 1093 h 1728"/>
                <a:gd name="T52" fmla="*/ 152 w 1047"/>
                <a:gd name="T53" fmla="*/ 1154 h 1728"/>
                <a:gd name="T54" fmla="*/ 236 w 1047"/>
                <a:gd name="T55" fmla="*/ 1215 h 1728"/>
                <a:gd name="T56" fmla="*/ 252 w 1047"/>
                <a:gd name="T57" fmla="*/ 1322 h 1728"/>
                <a:gd name="T58" fmla="*/ 282 w 1047"/>
                <a:gd name="T59" fmla="*/ 1398 h 1728"/>
                <a:gd name="T60" fmla="*/ 275 w 1047"/>
                <a:gd name="T61" fmla="*/ 1475 h 1728"/>
                <a:gd name="T62" fmla="*/ 252 w 1047"/>
                <a:gd name="T63" fmla="*/ 1643 h 1728"/>
                <a:gd name="T64" fmla="*/ 282 w 1047"/>
                <a:gd name="T65" fmla="*/ 1719 h 1728"/>
                <a:gd name="T66" fmla="*/ 343 w 1047"/>
                <a:gd name="T67" fmla="*/ 1551 h 1728"/>
                <a:gd name="T68" fmla="*/ 412 w 1047"/>
                <a:gd name="T69" fmla="*/ 1398 h 1728"/>
                <a:gd name="T70" fmla="*/ 557 w 1047"/>
                <a:gd name="T71" fmla="*/ 1268 h 1728"/>
                <a:gd name="T72" fmla="*/ 634 w 1047"/>
                <a:gd name="T73" fmla="*/ 1238 h 1728"/>
                <a:gd name="T74" fmla="*/ 786 w 1047"/>
                <a:gd name="T75" fmla="*/ 1291 h 1728"/>
                <a:gd name="T76" fmla="*/ 840 w 1047"/>
                <a:gd name="T77" fmla="*/ 1154 h 1728"/>
                <a:gd name="T78" fmla="*/ 832 w 1047"/>
                <a:gd name="T79" fmla="*/ 986 h 1728"/>
                <a:gd name="T80" fmla="*/ 954 w 1047"/>
                <a:gd name="T81" fmla="*/ 886 h 1728"/>
                <a:gd name="T82" fmla="*/ 1000 w 1047"/>
                <a:gd name="T83" fmla="*/ 833 h 1728"/>
                <a:gd name="T84" fmla="*/ 947 w 1047"/>
                <a:gd name="T85" fmla="*/ 772 h 1728"/>
                <a:gd name="T86" fmla="*/ 1038 w 1047"/>
                <a:gd name="T87" fmla="*/ 642 h 1728"/>
                <a:gd name="T88" fmla="*/ 970 w 1047"/>
                <a:gd name="T89" fmla="*/ 550 h 1728"/>
                <a:gd name="T90" fmla="*/ 924 w 1047"/>
                <a:gd name="T91" fmla="*/ 489 h 1728"/>
                <a:gd name="T92" fmla="*/ 748 w 1047"/>
                <a:gd name="T93" fmla="*/ 535 h 1728"/>
                <a:gd name="T94" fmla="*/ 634 w 1047"/>
                <a:gd name="T95" fmla="*/ 588 h 1728"/>
                <a:gd name="T96" fmla="*/ 664 w 1047"/>
                <a:gd name="T97" fmla="*/ 482 h 1728"/>
                <a:gd name="T98" fmla="*/ 672 w 1047"/>
                <a:gd name="T99" fmla="*/ 413 h 1728"/>
                <a:gd name="T100" fmla="*/ 603 w 1047"/>
                <a:gd name="T101" fmla="*/ 245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7" h="1728">
                  <a:moveTo>
                    <a:pt x="603" y="245"/>
                  </a:moveTo>
                  <a:lnTo>
                    <a:pt x="603" y="245"/>
                  </a:lnTo>
                  <a:cubicBezTo>
                    <a:pt x="588" y="237"/>
                    <a:pt x="573" y="229"/>
                    <a:pt x="565" y="222"/>
                  </a:cubicBezTo>
                  <a:cubicBezTo>
                    <a:pt x="534" y="222"/>
                    <a:pt x="504" y="222"/>
                    <a:pt x="473" y="214"/>
                  </a:cubicBezTo>
                  <a:cubicBezTo>
                    <a:pt x="466" y="207"/>
                    <a:pt x="473" y="191"/>
                    <a:pt x="466" y="184"/>
                  </a:cubicBezTo>
                  <a:cubicBezTo>
                    <a:pt x="443" y="161"/>
                    <a:pt x="420" y="138"/>
                    <a:pt x="389" y="123"/>
                  </a:cubicBezTo>
                  <a:cubicBezTo>
                    <a:pt x="382" y="115"/>
                    <a:pt x="374" y="138"/>
                    <a:pt x="366" y="138"/>
                  </a:cubicBezTo>
                  <a:cubicBezTo>
                    <a:pt x="343" y="123"/>
                    <a:pt x="343" y="100"/>
                    <a:pt x="321" y="92"/>
                  </a:cubicBezTo>
                  <a:cubicBezTo>
                    <a:pt x="305" y="84"/>
                    <a:pt x="275" y="100"/>
                    <a:pt x="259" y="84"/>
                  </a:cubicBezTo>
                  <a:cubicBezTo>
                    <a:pt x="252" y="77"/>
                    <a:pt x="282" y="54"/>
                    <a:pt x="275" y="46"/>
                  </a:cubicBezTo>
                  <a:cubicBezTo>
                    <a:pt x="259" y="23"/>
                    <a:pt x="236" y="0"/>
                    <a:pt x="214" y="0"/>
                  </a:cubicBezTo>
                  <a:cubicBezTo>
                    <a:pt x="183" y="0"/>
                    <a:pt x="175" y="31"/>
                    <a:pt x="160" y="54"/>
                  </a:cubicBezTo>
                  <a:lnTo>
                    <a:pt x="160" y="54"/>
                  </a:lnTo>
                  <a:cubicBezTo>
                    <a:pt x="145" y="69"/>
                    <a:pt x="129" y="84"/>
                    <a:pt x="114" y="107"/>
                  </a:cubicBezTo>
                  <a:cubicBezTo>
                    <a:pt x="91" y="138"/>
                    <a:pt x="76" y="184"/>
                    <a:pt x="53" y="214"/>
                  </a:cubicBezTo>
                  <a:cubicBezTo>
                    <a:pt x="38" y="229"/>
                    <a:pt x="15" y="237"/>
                    <a:pt x="7" y="252"/>
                  </a:cubicBezTo>
                  <a:cubicBezTo>
                    <a:pt x="0" y="260"/>
                    <a:pt x="23" y="268"/>
                    <a:pt x="30" y="283"/>
                  </a:cubicBezTo>
                  <a:cubicBezTo>
                    <a:pt x="38" y="291"/>
                    <a:pt x="53" y="321"/>
                    <a:pt x="68" y="321"/>
                  </a:cubicBezTo>
                  <a:cubicBezTo>
                    <a:pt x="99" y="321"/>
                    <a:pt x="114" y="275"/>
                    <a:pt x="137" y="268"/>
                  </a:cubicBezTo>
                  <a:cubicBezTo>
                    <a:pt x="152" y="260"/>
                    <a:pt x="160" y="275"/>
                    <a:pt x="168" y="283"/>
                  </a:cubicBezTo>
                  <a:cubicBezTo>
                    <a:pt x="183" y="283"/>
                    <a:pt x="198" y="268"/>
                    <a:pt x="214" y="275"/>
                  </a:cubicBezTo>
                  <a:cubicBezTo>
                    <a:pt x="221" y="275"/>
                    <a:pt x="221" y="291"/>
                    <a:pt x="214" y="298"/>
                  </a:cubicBezTo>
                  <a:cubicBezTo>
                    <a:pt x="191" y="314"/>
                    <a:pt x="152" y="306"/>
                    <a:pt x="129" y="321"/>
                  </a:cubicBezTo>
                  <a:cubicBezTo>
                    <a:pt x="114" y="336"/>
                    <a:pt x="122" y="359"/>
                    <a:pt x="107" y="375"/>
                  </a:cubicBezTo>
                  <a:cubicBezTo>
                    <a:pt x="107" y="382"/>
                    <a:pt x="91" y="390"/>
                    <a:pt x="84" y="398"/>
                  </a:cubicBezTo>
                  <a:lnTo>
                    <a:pt x="84" y="398"/>
                  </a:lnTo>
                  <a:cubicBezTo>
                    <a:pt x="76" y="443"/>
                    <a:pt x="76" y="443"/>
                    <a:pt x="76" y="443"/>
                  </a:cubicBezTo>
                  <a:lnTo>
                    <a:pt x="76" y="443"/>
                  </a:lnTo>
                  <a:cubicBezTo>
                    <a:pt x="91" y="451"/>
                    <a:pt x="114" y="466"/>
                    <a:pt x="137" y="474"/>
                  </a:cubicBezTo>
                  <a:cubicBezTo>
                    <a:pt x="137" y="474"/>
                    <a:pt x="160" y="535"/>
                    <a:pt x="168" y="543"/>
                  </a:cubicBezTo>
                  <a:lnTo>
                    <a:pt x="252" y="558"/>
                  </a:lnTo>
                  <a:cubicBezTo>
                    <a:pt x="267" y="558"/>
                    <a:pt x="290" y="550"/>
                    <a:pt x="305" y="550"/>
                  </a:cubicBezTo>
                  <a:cubicBezTo>
                    <a:pt x="321" y="558"/>
                    <a:pt x="336" y="566"/>
                    <a:pt x="336" y="581"/>
                  </a:cubicBezTo>
                  <a:cubicBezTo>
                    <a:pt x="351" y="619"/>
                    <a:pt x="366" y="665"/>
                    <a:pt x="359" y="703"/>
                  </a:cubicBezTo>
                  <a:cubicBezTo>
                    <a:pt x="351" y="726"/>
                    <a:pt x="313" y="718"/>
                    <a:pt x="298" y="734"/>
                  </a:cubicBezTo>
                  <a:cubicBezTo>
                    <a:pt x="282" y="741"/>
                    <a:pt x="282" y="764"/>
                    <a:pt x="275" y="772"/>
                  </a:cubicBezTo>
                  <a:cubicBezTo>
                    <a:pt x="267" y="779"/>
                    <a:pt x="244" y="764"/>
                    <a:pt x="236" y="772"/>
                  </a:cubicBezTo>
                  <a:cubicBezTo>
                    <a:pt x="221" y="795"/>
                    <a:pt x="206" y="818"/>
                    <a:pt x="206" y="840"/>
                  </a:cubicBezTo>
                  <a:cubicBezTo>
                    <a:pt x="206" y="856"/>
                    <a:pt x="229" y="848"/>
                    <a:pt x="229" y="863"/>
                  </a:cubicBezTo>
                  <a:cubicBezTo>
                    <a:pt x="236" y="871"/>
                    <a:pt x="214" y="879"/>
                    <a:pt x="214" y="894"/>
                  </a:cubicBezTo>
                  <a:cubicBezTo>
                    <a:pt x="229" y="909"/>
                    <a:pt x="259" y="909"/>
                    <a:pt x="275" y="925"/>
                  </a:cubicBezTo>
                  <a:cubicBezTo>
                    <a:pt x="282" y="932"/>
                    <a:pt x="282" y="948"/>
                    <a:pt x="275" y="963"/>
                  </a:cubicBezTo>
                  <a:cubicBezTo>
                    <a:pt x="267" y="978"/>
                    <a:pt x="252" y="986"/>
                    <a:pt x="236" y="993"/>
                  </a:cubicBezTo>
                  <a:cubicBezTo>
                    <a:pt x="214" y="993"/>
                    <a:pt x="183" y="993"/>
                    <a:pt x="160" y="978"/>
                  </a:cubicBezTo>
                  <a:cubicBezTo>
                    <a:pt x="145" y="971"/>
                    <a:pt x="160" y="948"/>
                    <a:pt x="152" y="940"/>
                  </a:cubicBezTo>
                  <a:cubicBezTo>
                    <a:pt x="137" y="925"/>
                    <a:pt x="114" y="917"/>
                    <a:pt x="99" y="925"/>
                  </a:cubicBezTo>
                  <a:cubicBezTo>
                    <a:pt x="91" y="925"/>
                    <a:pt x="107" y="955"/>
                    <a:pt x="99" y="963"/>
                  </a:cubicBezTo>
                  <a:cubicBezTo>
                    <a:pt x="84" y="978"/>
                    <a:pt x="46" y="978"/>
                    <a:pt x="46" y="1001"/>
                  </a:cubicBezTo>
                  <a:cubicBezTo>
                    <a:pt x="38" y="1016"/>
                    <a:pt x="68" y="1024"/>
                    <a:pt x="84" y="1024"/>
                  </a:cubicBezTo>
                  <a:cubicBezTo>
                    <a:pt x="107" y="1032"/>
                    <a:pt x="122" y="1016"/>
                    <a:pt x="145" y="1016"/>
                  </a:cubicBezTo>
                  <a:cubicBezTo>
                    <a:pt x="152" y="1024"/>
                    <a:pt x="160" y="1032"/>
                    <a:pt x="160" y="1039"/>
                  </a:cubicBezTo>
                  <a:cubicBezTo>
                    <a:pt x="160" y="1062"/>
                    <a:pt x="145" y="1077"/>
                    <a:pt x="129" y="1093"/>
                  </a:cubicBezTo>
                  <a:cubicBezTo>
                    <a:pt x="122" y="1100"/>
                    <a:pt x="99" y="1100"/>
                    <a:pt x="99" y="1108"/>
                  </a:cubicBezTo>
                  <a:cubicBezTo>
                    <a:pt x="114" y="1131"/>
                    <a:pt x="137" y="1138"/>
                    <a:pt x="152" y="1154"/>
                  </a:cubicBezTo>
                  <a:cubicBezTo>
                    <a:pt x="175" y="1177"/>
                    <a:pt x="183" y="1200"/>
                    <a:pt x="198" y="1215"/>
                  </a:cubicBezTo>
                  <a:cubicBezTo>
                    <a:pt x="206" y="1215"/>
                    <a:pt x="221" y="1207"/>
                    <a:pt x="236" y="1215"/>
                  </a:cubicBezTo>
                  <a:cubicBezTo>
                    <a:pt x="252" y="1223"/>
                    <a:pt x="275" y="1238"/>
                    <a:pt x="282" y="1253"/>
                  </a:cubicBezTo>
                  <a:cubicBezTo>
                    <a:pt x="282" y="1284"/>
                    <a:pt x="252" y="1299"/>
                    <a:pt x="252" y="1322"/>
                  </a:cubicBezTo>
                  <a:cubicBezTo>
                    <a:pt x="259" y="1345"/>
                    <a:pt x="282" y="1352"/>
                    <a:pt x="290" y="1368"/>
                  </a:cubicBezTo>
                  <a:cubicBezTo>
                    <a:pt x="290" y="1375"/>
                    <a:pt x="275" y="1390"/>
                    <a:pt x="282" y="1398"/>
                  </a:cubicBezTo>
                  <a:cubicBezTo>
                    <a:pt x="282" y="1406"/>
                    <a:pt x="298" y="1398"/>
                    <a:pt x="298" y="1398"/>
                  </a:cubicBezTo>
                  <a:cubicBezTo>
                    <a:pt x="298" y="1429"/>
                    <a:pt x="282" y="1452"/>
                    <a:pt x="275" y="1475"/>
                  </a:cubicBezTo>
                  <a:cubicBezTo>
                    <a:pt x="259" y="1498"/>
                    <a:pt x="236" y="1520"/>
                    <a:pt x="236" y="1543"/>
                  </a:cubicBezTo>
                  <a:cubicBezTo>
                    <a:pt x="229" y="1574"/>
                    <a:pt x="244" y="1612"/>
                    <a:pt x="252" y="1643"/>
                  </a:cubicBezTo>
                  <a:lnTo>
                    <a:pt x="252" y="1643"/>
                  </a:lnTo>
                  <a:cubicBezTo>
                    <a:pt x="259" y="1665"/>
                    <a:pt x="252" y="1719"/>
                    <a:pt x="282" y="1719"/>
                  </a:cubicBezTo>
                  <a:cubicBezTo>
                    <a:pt x="305" y="1727"/>
                    <a:pt x="313" y="1681"/>
                    <a:pt x="321" y="1650"/>
                  </a:cubicBezTo>
                  <a:cubicBezTo>
                    <a:pt x="336" y="1620"/>
                    <a:pt x="328" y="1581"/>
                    <a:pt x="343" y="1551"/>
                  </a:cubicBezTo>
                  <a:cubicBezTo>
                    <a:pt x="351" y="1536"/>
                    <a:pt x="374" y="1551"/>
                    <a:pt x="382" y="1543"/>
                  </a:cubicBezTo>
                  <a:cubicBezTo>
                    <a:pt x="397" y="1498"/>
                    <a:pt x="397" y="1444"/>
                    <a:pt x="412" y="1398"/>
                  </a:cubicBezTo>
                  <a:cubicBezTo>
                    <a:pt x="435" y="1345"/>
                    <a:pt x="458" y="1299"/>
                    <a:pt x="496" y="1268"/>
                  </a:cubicBezTo>
                  <a:cubicBezTo>
                    <a:pt x="511" y="1253"/>
                    <a:pt x="534" y="1268"/>
                    <a:pt x="557" y="1268"/>
                  </a:cubicBezTo>
                  <a:cubicBezTo>
                    <a:pt x="573" y="1261"/>
                    <a:pt x="580" y="1238"/>
                    <a:pt x="596" y="1238"/>
                  </a:cubicBezTo>
                  <a:cubicBezTo>
                    <a:pt x="603" y="1230"/>
                    <a:pt x="618" y="1230"/>
                    <a:pt x="634" y="1238"/>
                  </a:cubicBezTo>
                  <a:cubicBezTo>
                    <a:pt x="679" y="1261"/>
                    <a:pt x="702" y="1314"/>
                    <a:pt x="756" y="1329"/>
                  </a:cubicBezTo>
                  <a:cubicBezTo>
                    <a:pt x="771" y="1337"/>
                    <a:pt x="779" y="1307"/>
                    <a:pt x="786" y="1291"/>
                  </a:cubicBezTo>
                  <a:cubicBezTo>
                    <a:pt x="786" y="1291"/>
                    <a:pt x="786" y="1246"/>
                    <a:pt x="786" y="1238"/>
                  </a:cubicBezTo>
                  <a:cubicBezTo>
                    <a:pt x="786" y="1223"/>
                    <a:pt x="840" y="1154"/>
                    <a:pt x="840" y="1154"/>
                  </a:cubicBezTo>
                  <a:cubicBezTo>
                    <a:pt x="832" y="1131"/>
                    <a:pt x="809" y="1115"/>
                    <a:pt x="809" y="1093"/>
                  </a:cubicBezTo>
                  <a:cubicBezTo>
                    <a:pt x="809" y="1054"/>
                    <a:pt x="809" y="1009"/>
                    <a:pt x="832" y="986"/>
                  </a:cubicBezTo>
                  <a:cubicBezTo>
                    <a:pt x="863" y="948"/>
                    <a:pt x="924" y="955"/>
                    <a:pt x="962" y="925"/>
                  </a:cubicBezTo>
                  <a:cubicBezTo>
                    <a:pt x="977" y="917"/>
                    <a:pt x="947" y="894"/>
                    <a:pt x="954" y="886"/>
                  </a:cubicBezTo>
                  <a:cubicBezTo>
                    <a:pt x="962" y="863"/>
                    <a:pt x="985" y="848"/>
                    <a:pt x="1000" y="833"/>
                  </a:cubicBezTo>
                  <a:lnTo>
                    <a:pt x="1000" y="833"/>
                  </a:lnTo>
                  <a:cubicBezTo>
                    <a:pt x="947" y="772"/>
                    <a:pt x="947" y="772"/>
                    <a:pt x="947" y="772"/>
                  </a:cubicBezTo>
                  <a:lnTo>
                    <a:pt x="947" y="772"/>
                  </a:lnTo>
                  <a:cubicBezTo>
                    <a:pt x="954" y="749"/>
                    <a:pt x="962" y="718"/>
                    <a:pt x="977" y="695"/>
                  </a:cubicBezTo>
                  <a:cubicBezTo>
                    <a:pt x="993" y="673"/>
                    <a:pt x="1023" y="665"/>
                    <a:pt x="1038" y="642"/>
                  </a:cubicBezTo>
                  <a:cubicBezTo>
                    <a:pt x="1046" y="627"/>
                    <a:pt x="1046" y="604"/>
                    <a:pt x="1046" y="588"/>
                  </a:cubicBezTo>
                  <a:cubicBezTo>
                    <a:pt x="1046" y="588"/>
                    <a:pt x="970" y="558"/>
                    <a:pt x="970" y="550"/>
                  </a:cubicBezTo>
                  <a:lnTo>
                    <a:pt x="954" y="520"/>
                  </a:lnTo>
                  <a:cubicBezTo>
                    <a:pt x="947" y="512"/>
                    <a:pt x="939" y="489"/>
                    <a:pt x="924" y="489"/>
                  </a:cubicBezTo>
                  <a:cubicBezTo>
                    <a:pt x="893" y="497"/>
                    <a:pt x="871" y="535"/>
                    <a:pt x="832" y="543"/>
                  </a:cubicBezTo>
                  <a:cubicBezTo>
                    <a:pt x="809" y="550"/>
                    <a:pt x="779" y="535"/>
                    <a:pt x="748" y="535"/>
                  </a:cubicBezTo>
                  <a:cubicBezTo>
                    <a:pt x="725" y="543"/>
                    <a:pt x="702" y="550"/>
                    <a:pt x="679" y="558"/>
                  </a:cubicBezTo>
                  <a:cubicBezTo>
                    <a:pt x="664" y="566"/>
                    <a:pt x="657" y="588"/>
                    <a:pt x="634" y="588"/>
                  </a:cubicBezTo>
                  <a:cubicBezTo>
                    <a:pt x="626" y="588"/>
                    <a:pt x="611" y="573"/>
                    <a:pt x="618" y="558"/>
                  </a:cubicBezTo>
                  <a:cubicBezTo>
                    <a:pt x="626" y="527"/>
                    <a:pt x="649" y="504"/>
                    <a:pt x="664" y="482"/>
                  </a:cubicBezTo>
                  <a:cubicBezTo>
                    <a:pt x="679" y="466"/>
                    <a:pt x="702" y="466"/>
                    <a:pt x="702" y="443"/>
                  </a:cubicBezTo>
                  <a:cubicBezTo>
                    <a:pt x="702" y="428"/>
                    <a:pt x="679" y="428"/>
                    <a:pt x="672" y="413"/>
                  </a:cubicBezTo>
                  <a:cubicBezTo>
                    <a:pt x="657" y="382"/>
                    <a:pt x="649" y="344"/>
                    <a:pt x="634" y="306"/>
                  </a:cubicBezTo>
                  <a:cubicBezTo>
                    <a:pt x="626" y="283"/>
                    <a:pt x="611" y="260"/>
                    <a:pt x="603" y="24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" name="Freeform 128"/>
            <p:cNvSpPr>
              <a:spLocks noChangeArrowheads="1"/>
            </p:cNvSpPr>
            <p:nvPr/>
          </p:nvSpPr>
          <p:spPr bwMode="auto">
            <a:xfrm>
              <a:off x="5565413" y="4835526"/>
              <a:ext cx="492093" cy="550863"/>
            </a:xfrm>
            <a:custGeom>
              <a:avLst/>
              <a:gdLst>
                <a:gd name="T0" fmla="*/ 397 w 1368"/>
                <a:gd name="T1" fmla="*/ 978 h 1529"/>
                <a:gd name="T2" fmla="*/ 488 w 1368"/>
                <a:gd name="T3" fmla="*/ 848 h 1529"/>
                <a:gd name="T4" fmla="*/ 420 w 1368"/>
                <a:gd name="T5" fmla="*/ 756 h 1529"/>
                <a:gd name="T6" fmla="*/ 374 w 1368"/>
                <a:gd name="T7" fmla="*/ 695 h 1529"/>
                <a:gd name="T8" fmla="*/ 198 w 1368"/>
                <a:gd name="T9" fmla="*/ 741 h 1529"/>
                <a:gd name="T10" fmla="*/ 84 w 1368"/>
                <a:gd name="T11" fmla="*/ 794 h 1529"/>
                <a:gd name="T12" fmla="*/ 114 w 1368"/>
                <a:gd name="T13" fmla="*/ 688 h 1529"/>
                <a:gd name="T14" fmla="*/ 122 w 1368"/>
                <a:gd name="T15" fmla="*/ 619 h 1529"/>
                <a:gd name="T16" fmla="*/ 53 w 1368"/>
                <a:gd name="T17" fmla="*/ 451 h 1529"/>
                <a:gd name="T18" fmla="*/ 99 w 1368"/>
                <a:gd name="T19" fmla="*/ 390 h 1529"/>
                <a:gd name="T20" fmla="*/ 38 w 1368"/>
                <a:gd name="T21" fmla="*/ 268 h 1529"/>
                <a:gd name="T22" fmla="*/ 38 w 1368"/>
                <a:gd name="T23" fmla="*/ 191 h 1529"/>
                <a:gd name="T24" fmla="*/ 53 w 1368"/>
                <a:gd name="T25" fmla="*/ 153 h 1529"/>
                <a:gd name="T26" fmla="*/ 76 w 1368"/>
                <a:gd name="T27" fmla="*/ 54 h 1529"/>
                <a:gd name="T28" fmla="*/ 145 w 1368"/>
                <a:gd name="T29" fmla="*/ 8 h 1529"/>
                <a:gd name="T30" fmla="*/ 244 w 1368"/>
                <a:gd name="T31" fmla="*/ 54 h 1529"/>
                <a:gd name="T32" fmla="*/ 267 w 1368"/>
                <a:gd name="T33" fmla="*/ 15 h 1529"/>
                <a:gd name="T34" fmla="*/ 366 w 1368"/>
                <a:gd name="T35" fmla="*/ 122 h 1529"/>
                <a:gd name="T36" fmla="*/ 573 w 1368"/>
                <a:gd name="T37" fmla="*/ 306 h 1529"/>
                <a:gd name="T38" fmla="*/ 695 w 1368"/>
                <a:gd name="T39" fmla="*/ 222 h 1529"/>
                <a:gd name="T40" fmla="*/ 832 w 1368"/>
                <a:gd name="T41" fmla="*/ 176 h 1529"/>
                <a:gd name="T42" fmla="*/ 932 w 1368"/>
                <a:gd name="T43" fmla="*/ 130 h 1529"/>
                <a:gd name="T44" fmla="*/ 1130 w 1368"/>
                <a:gd name="T45" fmla="*/ 145 h 1529"/>
                <a:gd name="T46" fmla="*/ 1252 w 1368"/>
                <a:gd name="T47" fmla="*/ 199 h 1529"/>
                <a:gd name="T48" fmla="*/ 1329 w 1368"/>
                <a:gd name="T49" fmla="*/ 352 h 1529"/>
                <a:gd name="T50" fmla="*/ 1344 w 1368"/>
                <a:gd name="T51" fmla="*/ 405 h 1529"/>
                <a:gd name="T52" fmla="*/ 1229 w 1368"/>
                <a:gd name="T53" fmla="*/ 619 h 1529"/>
                <a:gd name="T54" fmla="*/ 1214 w 1368"/>
                <a:gd name="T55" fmla="*/ 772 h 1529"/>
                <a:gd name="T56" fmla="*/ 1229 w 1368"/>
                <a:gd name="T57" fmla="*/ 901 h 1529"/>
                <a:gd name="T58" fmla="*/ 1138 w 1368"/>
                <a:gd name="T59" fmla="*/ 1108 h 1529"/>
                <a:gd name="T60" fmla="*/ 1191 w 1368"/>
                <a:gd name="T61" fmla="*/ 1192 h 1529"/>
                <a:gd name="T62" fmla="*/ 1084 w 1368"/>
                <a:gd name="T63" fmla="*/ 1253 h 1529"/>
                <a:gd name="T64" fmla="*/ 1084 w 1368"/>
                <a:gd name="T65" fmla="*/ 1429 h 1529"/>
                <a:gd name="T66" fmla="*/ 1008 w 1368"/>
                <a:gd name="T67" fmla="*/ 1520 h 1529"/>
                <a:gd name="T68" fmla="*/ 916 w 1368"/>
                <a:gd name="T69" fmla="*/ 1474 h 1529"/>
                <a:gd name="T70" fmla="*/ 878 w 1368"/>
                <a:gd name="T71" fmla="*/ 1375 h 1529"/>
                <a:gd name="T72" fmla="*/ 786 w 1368"/>
                <a:gd name="T73" fmla="*/ 1230 h 1529"/>
                <a:gd name="T74" fmla="*/ 702 w 1368"/>
                <a:gd name="T75" fmla="*/ 1100 h 1529"/>
                <a:gd name="T76" fmla="*/ 488 w 1368"/>
                <a:gd name="T77" fmla="*/ 1062 h 1529"/>
                <a:gd name="T78" fmla="*/ 450 w 1368"/>
                <a:gd name="T79" fmla="*/ 1039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68" h="1529">
                  <a:moveTo>
                    <a:pt x="397" y="978"/>
                  </a:moveTo>
                  <a:lnTo>
                    <a:pt x="397" y="978"/>
                  </a:lnTo>
                  <a:cubicBezTo>
                    <a:pt x="404" y="955"/>
                    <a:pt x="412" y="924"/>
                    <a:pt x="427" y="901"/>
                  </a:cubicBezTo>
                  <a:cubicBezTo>
                    <a:pt x="443" y="879"/>
                    <a:pt x="473" y="871"/>
                    <a:pt x="488" y="848"/>
                  </a:cubicBezTo>
                  <a:cubicBezTo>
                    <a:pt x="496" y="833"/>
                    <a:pt x="496" y="810"/>
                    <a:pt x="496" y="794"/>
                  </a:cubicBezTo>
                  <a:cubicBezTo>
                    <a:pt x="496" y="794"/>
                    <a:pt x="420" y="764"/>
                    <a:pt x="420" y="756"/>
                  </a:cubicBezTo>
                  <a:lnTo>
                    <a:pt x="404" y="726"/>
                  </a:lnTo>
                  <a:cubicBezTo>
                    <a:pt x="397" y="718"/>
                    <a:pt x="389" y="695"/>
                    <a:pt x="374" y="695"/>
                  </a:cubicBezTo>
                  <a:cubicBezTo>
                    <a:pt x="343" y="703"/>
                    <a:pt x="321" y="741"/>
                    <a:pt x="282" y="749"/>
                  </a:cubicBezTo>
                  <a:cubicBezTo>
                    <a:pt x="259" y="756"/>
                    <a:pt x="229" y="741"/>
                    <a:pt x="198" y="741"/>
                  </a:cubicBezTo>
                  <a:cubicBezTo>
                    <a:pt x="175" y="749"/>
                    <a:pt x="152" y="756"/>
                    <a:pt x="129" y="764"/>
                  </a:cubicBezTo>
                  <a:cubicBezTo>
                    <a:pt x="114" y="772"/>
                    <a:pt x="107" y="794"/>
                    <a:pt x="84" y="794"/>
                  </a:cubicBezTo>
                  <a:cubicBezTo>
                    <a:pt x="76" y="794"/>
                    <a:pt x="61" y="779"/>
                    <a:pt x="68" y="764"/>
                  </a:cubicBezTo>
                  <a:cubicBezTo>
                    <a:pt x="76" y="733"/>
                    <a:pt x="99" y="710"/>
                    <a:pt x="114" y="688"/>
                  </a:cubicBezTo>
                  <a:cubicBezTo>
                    <a:pt x="129" y="672"/>
                    <a:pt x="152" y="672"/>
                    <a:pt x="152" y="649"/>
                  </a:cubicBezTo>
                  <a:cubicBezTo>
                    <a:pt x="152" y="634"/>
                    <a:pt x="129" y="634"/>
                    <a:pt x="122" y="619"/>
                  </a:cubicBezTo>
                  <a:cubicBezTo>
                    <a:pt x="107" y="588"/>
                    <a:pt x="99" y="550"/>
                    <a:pt x="84" y="512"/>
                  </a:cubicBezTo>
                  <a:cubicBezTo>
                    <a:pt x="76" y="489"/>
                    <a:pt x="61" y="466"/>
                    <a:pt x="53" y="451"/>
                  </a:cubicBezTo>
                  <a:lnTo>
                    <a:pt x="53" y="451"/>
                  </a:lnTo>
                  <a:cubicBezTo>
                    <a:pt x="68" y="428"/>
                    <a:pt x="91" y="413"/>
                    <a:pt x="99" y="390"/>
                  </a:cubicBezTo>
                  <a:cubicBezTo>
                    <a:pt x="107" y="367"/>
                    <a:pt x="107" y="336"/>
                    <a:pt x="99" y="313"/>
                  </a:cubicBezTo>
                  <a:cubicBezTo>
                    <a:pt x="84" y="290"/>
                    <a:pt x="53" y="283"/>
                    <a:pt x="38" y="268"/>
                  </a:cubicBezTo>
                  <a:cubicBezTo>
                    <a:pt x="23" y="245"/>
                    <a:pt x="0" y="222"/>
                    <a:pt x="0" y="199"/>
                  </a:cubicBezTo>
                  <a:cubicBezTo>
                    <a:pt x="0" y="183"/>
                    <a:pt x="30" y="199"/>
                    <a:pt x="38" y="191"/>
                  </a:cubicBezTo>
                  <a:cubicBezTo>
                    <a:pt x="53" y="183"/>
                    <a:pt x="53" y="168"/>
                    <a:pt x="53" y="153"/>
                  </a:cubicBezTo>
                  <a:lnTo>
                    <a:pt x="53" y="153"/>
                  </a:lnTo>
                  <a:cubicBezTo>
                    <a:pt x="76" y="145"/>
                    <a:pt x="107" y="138"/>
                    <a:pt x="114" y="115"/>
                  </a:cubicBezTo>
                  <a:cubicBezTo>
                    <a:pt x="122" y="92"/>
                    <a:pt x="84" y="77"/>
                    <a:pt x="76" y="54"/>
                  </a:cubicBezTo>
                  <a:cubicBezTo>
                    <a:pt x="68" y="38"/>
                    <a:pt x="76" y="15"/>
                    <a:pt x="84" y="8"/>
                  </a:cubicBezTo>
                  <a:cubicBezTo>
                    <a:pt x="107" y="0"/>
                    <a:pt x="129" y="0"/>
                    <a:pt x="145" y="8"/>
                  </a:cubicBezTo>
                  <a:cubicBezTo>
                    <a:pt x="160" y="15"/>
                    <a:pt x="160" y="46"/>
                    <a:pt x="175" y="46"/>
                  </a:cubicBezTo>
                  <a:cubicBezTo>
                    <a:pt x="198" y="61"/>
                    <a:pt x="221" y="61"/>
                    <a:pt x="244" y="54"/>
                  </a:cubicBezTo>
                  <a:cubicBezTo>
                    <a:pt x="252" y="46"/>
                    <a:pt x="259" y="31"/>
                    <a:pt x="267" y="23"/>
                  </a:cubicBezTo>
                  <a:cubicBezTo>
                    <a:pt x="267" y="15"/>
                    <a:pt x="267" y="15"/>
                    <a:pt x="267" y="15"/>
                  </a:cubicBezTo>
                  <a:cubicBezTo>
                    <a:pt x="305" y="46"/>
                    <a:pt x="343" y="61"/>
                    <a:pt x="374" y="92"/>
                  </a:cubicBezTo>
                  <a:cubicBezTo>
                    <a:pt x="382" y="99"/>
                    <a:pt x="359" y="115"/>
                    <a:pt x="366" y="122"/>
                  </a:cubicBezTo>
                  <a:cubicBezTo>
                    <a:pt x="420" y="176"/>
                    <a:pt x="481" y="206"/>
                    <a:pt x="534" y="260"/>
                  </a:cubicBezTo>
                  <a:cubicBezTo>
                    <a:pt x="550" y="268"/>
                    <a:pt x="550" y="306"/>
                    <a:pt x="573" y="306"/>
                  </a:cubicBezTo>
                  <a:cubicBezTo>
                    <a:pt x="595" y="298"/>
                    <a:pt x="588" y="252"/>
                    <a:pt x="603" y="245"/>
                  </a:cubicBezTo>
                  <a:cubicBezTo>
                    <a:pt x="634" y="222"/>
                    <a:pt x="664" y="229"/>
                    <a:pt x="695" y="222"/>
                  </a:cubicBezTo>
                  <a:cubicBezTo>
                    <a:pt x="740" y="206"/>
                    <a:pt x="786" y="191"/>
                    <a:pt x="832" y="176"/>
                  </a:cubicBezTo>
                  <a:lnTo>
                    <a:pt x="832" y="176"/>
                  </a:lnTo>
                  <a:cubicBezTo>
                    <a:pt x="847" y="168"/>
                    <a:pt x="863" y="176"/>
                    <a:pt x="870" y="168"/>
                  </a:cubicBezTo>
                  <a:cubicBezTo>
                    <a:pt x="893" y="160"/>
                    <a:pt x="909" y="138"/>
                    <a:pt x="932" y="130"/>
                  </a:cubicBezTo>
                  <a:cubicBezTo>
                    <a:pt x="977" y="115"/>
                    <a:pt x="1023" y="99"/>
                    <a:pt x="1069" y="99"/>
                  </a:cubicBezTo>
                  <a:cubicBezTo>
                    <a:pt x="1092" y="107"/>
                    <a:pt x="1107" y="138"/>
                    <a:pt x="1130" y="145"/>
                  </a:cubicBezTo>
                  <a:cubicBezTo>
                    <a:pt x="1168" y="168"/>
                    <a:pt x="1214" y="183"/>
                    <a:pt x="1252" y="199"/>
                  </a:cubicBezTo>
                  <a:lnTo>
                    <a:pt x="1252" y="199"/>
                  </a:lnTo>
                  <a:cubicBezTo>
                    <a:pt x="1268" y="222"/>
                    <a:pt x="1283" y="245"/>
                    <a:pt x="1290" y="268"/>
                  </a:cubicBezTo>
                  <a:cubicBezTo>
                    <a:pt x="1306" y="298"/>
                    <a:pt x="1306" y="329"/>
                    <a:pt x="1329" y="352"/>
                  </a:cubicBezTo>
                  <a:cubicBezTo>
                    <a:pt x="1336" y="359"/>
                    <a:pt x="1359" y="344"/>
                    <a:pt x="1367" y="359"/>
                  </a:cubicBezTo>
                  <a:cubicBezTo>
                    <a:pt x="1367" y="374"/>
                    <a:pt x="1359" y="390"/>
                    <a:pt x="1344" y="405"/>
                  </a:cubicBezTo>
                  <a:cubicBezTo>
                    <a:pt x="1313" y="443"/>
                    <a:pt x="1268" y="466"/>
                    <a:pt x="1245" y="504"/>
                  </a:cubicBezTo>
                  <a:cubicBezTo>
                    <a:pt x="1222" y="542"/>
                    <a:pt x="1252" y="588"/>
                    <a:pt x="1229" y="619"/>
                  </a:cubicBezTo>
                  <a:cubicBezTo>
                    <a:pt x="1222" y="642"/>
                    <a:pt x="1168" y="611"/>
                    <a:pt x="1168" y="634"/>
                  </a:cubicBezTo>
                  <a:cubicBezTo>
                    <a:pt x="1161" y="680"/>
                    <a:pt x="1207" y="726"/>
                    <a:pt x="1214" y="772"/>
                  </a:cubicBezTo>
                  <a:cubicBezTo>
                    <a:pt x="1214" y="787"/>
                    <a:pt x="1199" y="794"/>
                    <a:pt x="1199" y="810"/>
                  </a:cubicBezTo>
                  <a:cubicBezTo>
                    <a:pt x="1199" y="840"/>
                    <a:pt x="1222" y="871"/>
                    <a:pt x="1229" y="901"/>
                  </a:cubicBezTo>
                  <a:cubicBezTo>
                    <a:pt x="1229" y="909"/>
                    <a:pt x="1214" y="909"/>
                    <a:pt x="1207" y="917"/>
                  </a:cubicBezTo>
                  <a:cubicBezTo>
                    <a:pt x="1184" y="978"/>
                    <a:pt x="1145" y="1039"/>
                    <a:pt x="1138" y="1108"/>
                  </a:cubicBezTo>
                  <a:cubicBezTo>
                    <a:pt x="1138" y="1146"/>
                    <a:pt x="1176" y="1161"/>
                    <a:pt x="1191" y="1192"/>
                  </a:cubicBezTo>
                  <a:lnTo>
                    <a:pt x="1191" y="1192"/>
                  </a:lnTo>
                  <a:cubicBezTo>
                    <a:pt x="1176" y="1207"/>
                    <a:pt x="1153" y="1215"/>
                    <a:pt x="1130" y="1230"/>
                  </a:cubicBezTo>
                  <a:cubicBezTo>
                    <a:pt x="1115" y="1238"/>
                    <a:pt x="1092" y="1238"/>
                    <a:pt x="1084" y="1253"/>
                  </a:cubicBezTo>
                  <a:cubicBezTo>
                    <a:pt x="1069" y="1276"/>
                    <a:pt x="1084" y="1306"/>
                    <a:pt x="1084" y="1337"/>
                  </a:cubicBezTo>
                  <a:cubicBezTo>
                    <a:pt x="1084" y="1367"/>
                    <a:pt x="1099" y="1406"/>
                    <a:pt x="1084" y="1429"/>
                  </a:cubicBezTo>
                  <a:cubicBezTo>
                    <a:pt x="1077" y="1444"/>
                    <a:pt x="1046" y="1421"/>
                    <a:pt x="1038" y="1429"/>
                  </a:cubicBezTo>
                  <a:cubicBezTo>
                    <a:pt x="1015" y="1452"/>
                    <a:pt x="1023" y="1490"/>
                    <a:pt x="1008" y="1520"/>
                  </a:cubicBezTo>
                  <a:cubicBezTo>
                    <a:pt x="1000" y="1528"/>
                    <a:pt x="977" y="1528"/>
                    <a:pt x="970" y="1520"/>
                  </a:cubicBezTo>
                  <a:cubicBezTo>
                    <a:pt x="947" y="1513"/>
                    <a:pt x="932" y="1490"/>
                    <a:pt x="916" y="1474"/>
                  </a:cubicBezTo>
                  <a:cubicBezTo>
                    <a:pt x="909" y="1467"/>
                    <a:pt x="886" y="1452"/>
                    <a:pt x="886" y="1436"/>
                  </a:cubicBezTo>
                  <a:cubicBezTo>
                    <a:pt x="878" y="1421"/>
                    <a:pt x="886" y="1390"/>
                    <a:pt x="878" y="1375"/>
                  </a:cubicBezTo>
                  <a:cubicBezTo>
                    <a:pt x="870" y="1352"/>
                    <a:pt x="847" y="1337"/>
                    <a:pt x="832" y="1314"/>
                  </a:cubicBezTo>
                  <a:cubicBezTo>
                    <a:pt x="817" y="1291"/>
                    <a:pt x="802" y="1260"/>
                    <a:pt x="786" y="1230"/>
                  </a:cubicBezTo>
                  <a:cubicBezTo>
                    <a:pt x="779" y="1215"/>
                    <a:pt x="771" y="1192"/>
                    <a:pt x="756" y="1177"/>
                  </a:cubicBezTo>
                  <a:cubicBezTo>
                    <a:pt x="740" y="1154"/>
                    <a:pt x="725" y="1123"/>
                    <a:pt x="702" y="1100"/>
                  </a:cubicBezTo>
                  <a:cubicBezTo>
                    <a:pt x="672" y="1077"/>
                    <a:pt x="641" y="1062"/>
                    <a:pt x="603" y="1062"/>
                  </a:cubicBezTo>
                  <a:cubicBezTo>
                    <a:pt x="565" y="1054"/>
                    <a:pt x="527" y="1069"/>
                    <a:pt x="488" y="1062"/>
                  </a:cubicBezTo>
                  <a:cubicBezTo>
                    <a:pt x="473" y="1062"/>
                    <a:pt x="465" y="1046"/>
                    <a:pt x="450" y="1039"/>
                  </a:cubicBezTo>
                  <a:lnTo>
                    <a:pt x="450" y="1039"/>
                  </a:lnTo>
                  <a:cubicBezTo>
                    <a:pt x="397" y="978"/>
                    <a:pt x="397" y="978"/>
                    <a:pt x="397" y="97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" name="Freeform 129"/>
            <p:cNvSpPr>
              <a:spLocks noChangeArrowheads="1"/>
            </p:cNvSpPr>
            <p:nvPr/>
          </p:nvSpPr>
          <p:spPr bwMode="auto">
            <a:xfrm>
              <a:off x="6027346" y="4678363"/>
              <a:ext cx="206362" cy="182562"/>
            </a:xfrm>
            <a:custGeom>
              <a:avLst/>
              <a:gdLst>
                <a:gd name="T0" fmla="*/ 38 w 573"/>
                <a:gd name="T1" fmla="*/ 23 h 505"/>
                <a:gd name="T2" fmla="*/ 38 w 573"/>
                <a:gd name="T3" fmla="*/ 23 h 505"/>
                <a:gd name="T4" fmla="*/ 7 w 573"/>
                <a:gd name="T5" fmla="*/ 91 h 505"/>
                <a:gd name="T6" fmla="*/ 23 w 573"/>
                <a:gd name="T7" fmla="*/ 122 h 505"/>
                <a:gd name="T8" fmla="*/ 7 w 573"/>
                <a:gd name="T9" fmla="*/ 153 h 505"/>
                <a:gd name="T10" fmla="*/ 38 w 573"/>
                <a:gd name="T11" fmla="*/ 183 h 505"/>
                <a:gd name="T12" fmla="*/ 23 w 573"/>
                <a:gd name="T13" fmla="*/ 267 h 505"/>
                <a:gd name="T14" fmla="*/ 91 w 573"/>
                <a:gd name="T15" fmla="*/ 282 h 505"/>
                <a:gd name="T16" fmla="*/ 68 w 573"/>
                <a:gd name="T17" fmla="*/ 374 h 505"/>
                <a:gd name="T18" fmla="*/ 53 w 573"/>
                <a:gd name="T19" fmla="*/ 435 h 505"/>
                <a:gd name="T20" fmla="*/ 91 w 573"/>
                <a:gd name="T21" fmla="*/ 504 h 505"/>
                <a:gd name="T22" fmla="*/ 91 w 573"/>
                <a:gd name="T23" fmla="*/ 504 h 505"/>
                <a:gd name="T24" fmla="*/ 130 w 573"/>
                <a:gd name="T25" fmla="*/ 496 h 505"/>
                <a:gd name="T26" fmla="*/ 130 w 573"/>
                <a:gd name="T27" fmla="*/ 496 h 505"/>
                <a:gd name="T28" fmla="*/ 244 w 573"/>
                <a:gd name="T29" fmla="*/ 374 h 505"/>
                <a:gd name="T30" fmla="*/ 275 w 573"/>
                <a:gd name="T31" fmla="*/ 351 h 505"/>
                <a:gd name="T32" fmla="*/ 313 w 573"/>
                <a:gd name="T33" fmla="*/ 351 h 505"/>
                <a:gd name="T34" fmla="*/ 358 w 573"/>
                <a:gd name="T35" fmla="*/ 328 h 505"/>
                <a:gd name="T36" fmla="*/ 373 w 573"/>
                <a:gd name="T37" fmla="*/ 313 h 505"/>
                <a:gd name="T38" fmla="*/ 511 w 573"/>
                <a:gd name="T39" fmla="*/ 298 h 505"/>
                <a:gd name="T40" fmla="*/ 511 w 573"/>
                <a:gd name="T41" fmla="*/ 237 h 505"/>
                <a:gd name="T42" fmla="*/ 564 w 573"/>
                <a:gd name="T43" fmla="*/ 198 h 505"/>
                <a:gd name="T44" fmla="*/ 564 w 573"/>
                <a:gd name="T45" fmla="*/ 198 h 505"/>
                <a:gd name="T46" fmla="*/ 572 w 573"/>
                <a:gd name="T47" fmla="*/ 160 h 505"/>
                <a:gd name="T48" fmla="*/ 572 w 573"/>
                <a:gd name="T49" fmla="*/ 160 h 505"/>
                <a:gd name="T50" fmla="*/ 396 w 573"/>
                <a:gd name="T51" fmla="*/ 45 h 505"/>
                <a:gd name="T52" fmla="*/ 183 w 573"/>
                <a:gd name="T53" fmla="*/ 53 h 505"/>
                <a:gd name="T54" fmla="*/ 107 w 573"/>
                <a:gd name="T55" fmla="*/ 0 h 505"/>
                <a:gd name="T56" fmla="*/ 38 w 573"/>
                <a:gd name="T57" fmla="*/ 2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73" h="505">
                  <a:moveTo>
                    <a:pt x="38" y="23"/>
                  </a:moveTo>
                  <a:lnTo>
                    <a:pt x="38" y="23"/>
                  </a:lnTo>
                  <a:cubicBezTo>
                    <a:pt x="23" y="45"/>
                    <a:pt x="15" y="61"/>
                    <a:pt x="7" y="91"/>
                  </a:cubicBezTo>
                  <a:cubicBezTo>
                    <a:pt x="7" y="99"/>
                    <a:pt x="23" y="114"/>
                    <a:pt x="23" y="122"/>
                  </a:cubicBezTo>
                  <a:cubicBezTo>
                    <a:pt x="23" y="137"/>
                    <a:pt x="0" y="145"/>
                    <a:pt x="7" y="153"/>
                  </a:cubicBezTo>
                  <a:cubicBezTo>
                    <a:pt x="7" y="168"/>
                    <a:pt x="38" y="168"/>
                    <a:pt x="38" y="183"/>
                  </a:cubicBezTo>
                  <a:cubicBezTo>
                    <a:pt x="38" y="214"/>
                    <a:pt x="7" y="244"/>
                    <a:pt x="23" y="267"/>
                  </a:cubicBezTo>
                  <a:cubicBezTo>
                    <a:pt x="30" y="282"/>
                    <a:pt x="76" y="259"/>
                    <a:pt x="91" y="282"/>
                  </a:cubicBezTo>
                  <a:cubicBezTo>
                    <a:pt x="99" y="305"/>
                    <a:pt x="76" y="343"/>
                    <a:pt x="68" y="374"/>
                  </a:cubicBezTo>
                  <a:cubicBezTo>
                    <a:pt x="61" y="397"/>
                    <a:pt x="53" y="412"/>
                    <a:pt x="53" y="435"/>
                  </a:cubicBezTo>
                  <a:cubicBezTo>
                    <a:pt x="61" y="458"/>
                    <a:pt x="76" y="481"/>
                    <a:pt x="91" y="504"/>
                  </a:cubicBezTo>
                  <a:lnTo>
                    <a:pt x="91" y="504"/>
                  </a:lnTo>
                  <a:cubicBezTo>
                    <a:pt x="130" y="496"/>
                    <a:pt x="130" y="496"/>
                    <a:pt x="130" y="496"/>
                  </a:cubicBezTo>
                  <a:lnTo>
                    <a:pt x="130" y="496"/>
                  </a:lnTo>
                  <a:cubicBezTo>
                    <a:pt x="168" y="450"/>
                    <a:pt x="206" y="412"/>
                    <a:pt x="244" y="374"/>
                  </a:cubicBezTo>
                  <a:cubicBezTo>
                    <a:pt x="252" y="366"/>
                    <a:pt x="260" y="359"/>
                    <a:pt x="275" y="351"/>
                  </a:cubicBezTo>
                  <a:cubicBezTo>
                    <a:pt x="282" y="351"/>
                    <a:pt x="298" y="359"/>
                    <a:pt x="313" y="351"/>
                  </a:cubicBezTo>
                  <a:cubicBezTo>
                    <a:pt x="328" y="351"/>
                    <a:pt x="342" y="343"/>
                    <a:pt x="358" y="328"/>
                  </a:cubicBezTo>
                  <a:cubicBezTo>
                    <a:pt x="365" y="328"/>
                    <a:pt x="365" y="313"/>
                    <a:pt x="373" y="313"/>
                  </a:cubicBezTo>
                  <a:cubicBezTo>
                    <a:pt x="419" y="298"/>
                    <a:pt x="472" y="313"/>
                    <a:pt x="511" y="298"/>
                  </a:cubicBezTo>
                  <a:cubicBezTo>
                    <a:pt x="526" y="282"/>
                    <a:pt x="503" y="252"/>
                    <a:pt x="511" y="237"/>
                  </a:cubicBezTo>
                  <a:cubicBezTo>
                    <a:pt x="526" y="214"/>
                    <a:pt x="549" y="214"/>
                    <a:pt x="564" y="198"/>
                  </a:cubicBezTo>
                  <a:lnTo>
                    <a:pt x="564" y="198"/>
                  </a:lnTo>
                  <a:cubicBezTo>
                    <a:pt x="572" y="160"/>
                    <a:pt x="572" y="160"/>
                    <a:pt x="572" y="160"/>
                  </a:cubicBezTo>
                  <a:lnTo>
                    <a:pt x="572" y="160"/>
                  </a:lnTo>
                  <a:cubicBezTo>
                    <a:pt x="503" y="145"/>
                    <a:pt x="434" y="91"/>
                    <a:pt x="396" y="45"/>
                  </a:cubicBezTo>
                  <a:cubicBezTo>
                    <a:pt x="381" y="30"/>
                    <a:pt x="237" y="68"/>
                    <a:pt x="183" y="53"/>
                  </a:cubicBezTo>
                  <a:cubicBezTo>
                    <a:pt x="160" y="45"/>
                    <a:pt x="114" y="0"/>
                    <a:pt x="107" y="0"/>
                  </a:cubicBezTo>
                  <a:cubicBezTo>
                    <a:pt x="84" y="15"/>
                    <a:pt x="61" y="15"/>
                    <a:pt x="38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" name="Freeform 130"/>
            <p:cNvSpPr>
              <a:spLocks noChangeArrowheads="1"/>
            </p:cNvSpPr>
            <p:nvPr/>
          </p:nvSpPr>
          <p:spPr bwMode="auto">
            <a:xfrm>
              <a:off x="5974961" y="4738688"/>
              <a:ext cx="838145" cy="811212"/>
            </a:xfrm>
            <a:custGeom>
              <a:avLst/>
              <a:gdLst>
                <a:gd name="T0" fmla="*/ 236 w 2329"/>
                <a:gd name="T1" fmla="*/ 336 h 2254"/>
                <a:gd name="T2" fmla="*/ 160 w 2329"/>
                <a:gd name="T3" fmla="*/ 420 h 2254"/>
                <a:gd name="T4" fmla="*/ 152 w 2329"/>
                <a:gd name="T5" fmla="*/ 535 h 2254"/>
                <a:gd name="T6" fmla="*/ 206 w 2329"/>
                <a:gd name="T7" fmla="*/ 672 h 2254"/>
                <a:gd name="T8" fmla="*/ 30 w 2329"/>
                <a:gd name="T9" fmla="*/ 901 h 2254"/>
                <a:gd name="T10" fmla="*/ 91 w 2329"/>
                <a:gd name="T11" fmla="*/ 1168 h 2254"/>
                <a:gd name="T12" fmla="*/ 53 w 2329"/>
                <a:gd name="T13" fmla="*/ 1459 h 2254"/>
                <a:gd name="T14" fmla="*/ 175 w 2329"/>
                <a:gd name="T15" fmla="*/ 1459 h 2254"/>
                <a:gd name="T16" fmla="*/ 382 w 2329"/>
                <a:gd name="T17" fmla="*/ 1382 h 2254"/>
                <a:gd name="T18" fmla="*/ 374 w 2329"/>
                <a:gd name="T19" fmla="*/ 1505 h 2254"/>
                <a:gd name="T20" fmla="*/ 427 w 2329"/>
                <a:gd name="T21" fmla="*/ 1611 h 2254"/>
                <a:gd name="T22" fmla="*/ 572 w 2329"/>
                <a:gd name="T23" fmla="*/ 1627 h 2254"/>
                <a:gd name="T24" fmla="*/ 717 w 2329"/>
                <a:gd name="T25" fmla="*/ 1711 h 2254"/>
                <a:gd name="T26" fmla="*/ 816 w 2329"/>
                <a:gd name="T27" fmla="*/ 1833 h 2254"/>
                <a:gd name="T28" fmla="*/ 961 w 2329"/>
                <a:gd name="T29" fmla="*/ 1818 h 2254"/>
                <a:gd name="T30" fmla="*/ 976 w 2329"/>
                <a:gd name="T31" fmla="*/ 1925 h 2254"/>
                <a:gd name="T32" fmla="*/ 1037 w 2329"/>
                <a:gd name="T33" fmla="*/ 2009 h 2254"/>
                <a:gd name="T34" fmla="*/ 1091 w 2329"/>
                <a:gd name="T35" fmla="*/ 2253 h 2254"/>
                <a:gd name="T36" fmla="*/ 1282 w 2329"/>
                <a:gd name="T37" fmla="*/ 2138 h 2254"/>
                <a:gd name="T38" fmla="*/ 1351 w 2329"/>
                <a:gd name="T39" fmla="*/ 2016 h 2254"/>
                <a:gd name="T40" fmla="*/ 1427 w 2329"/>
                <a:gd name="T41" fmla="*/ 1841 h 2254"/>
                <a:gd name="T42" fmla="*/ 1756 w 2329"/>
                <a:gd name="T43" fmla="*/ 1627 h 2254"/>
                <a:gd name="T44" fmla="*/ 1870 w 2329"/>
                <a:gd name="T45" fmla="*/ 1497 h 2254"/>
                <a:gd name="T46" fmla="*/ 2084 w 2329"/>
                <a:gd name="T47" fmla="*/ 1382 h 2254"/>
                <a:gd name="T48" fmla="*/ 2115 w 2329"/>
                <a:gd name="T49" fmla="*/ 1313 h 2254"/>
                <a:gd name="T50" fmla="*/ 2008 w 2329"/>
                <a:gd name="T51" fmla="*/ 1069 h 2254"/>
                <a:gd name="T52" fmla="*/ 1939 w 2329"/>
                <a:gd name="T53" fmla="*/ 1016 h 2254"/>
                <a:gd name="T54" fmla="*/ 1885 w 2329"/>
                <a:gd name="T55" fmla="*/ 894 h 2254"/>
                <a:gd name="T56" fmla="*/ 1992 w 2329"/>
                <a:gd name="T57" fmla="*/ 840 h 2254"/>
                <a:gd name="T58" fmla="*/ 2130 w 2329"/>
                <a:gd name="T59" fmla="*/ 619 h 2254"/>
                <a:gd name="T60" fmla="*/ 2168 w 2329"/>
                <a:gd name="T61" fmla="*/ 565 h 2254"/>
                <a:gd name="T62" fmla="*/ 2260 w 2329"/>
                <a:gd name="T63" fmla="*/ 427 h 2254"/>
                <a:gd name="T64" fmla="*/ 2298 w 2329"/>
                <a:gd name="T65" fmla="*/ 397 h 2254"/>
                <a:gd name="T66" fmla="*/ 2328 w 2329"/>
                <a:gd name="T67" fmla="*/ 374 h 2254"/>
                <a:gd name="T68" fmla="*/ 1985 w 2329"/>
                <a:gd name="T69" fmla="*/ 46 h 2254"/>
                <a:gd name="T70" fmla="*/ 1717 w 2329"/>
                <a:gd name="T71" fmla="*/ 99 h 2254"/>
                <a:gd name="T72" fmla="*/ 1542 w 2329"/>
                <a:gd name="T73" fmla="*/ 69 h 2254"/>
                <a:gd name="T74" fmla="*/ 1557 w 2329"/>
                <a:gd name="T75" fmla="*/ 191 h 2254"/>
                <a:gd name="T76" fmla="*/ 1481 w 2329"/>
                <a:gd name="T77" fmla="*/ 305 h 2254"/>
                <a:gd name="T78" fmla="*/ 1351 w 2329"/>
                <a:gd name="T79" fmla="*/ 260 h 2254"/>
                <a:gd name="T80" fmla="*/ 1114 w 2329"/>
                <a:gd name="T81" fmla="*/ 298 h 2254"/>
                <a:gd name="T82" fmla="*/ 1060 w 2329"/>
                <a:gd name="T83" fmla="*/ 313 h 2254"/>
                <a:gd name="T84" fmla="*/ 923 w 2329"/>
                <a:gd name="T85" fmla="*/ 336 h 2254"/>
                <a:gd name="T86" fmla="*/ 640 w 2329"/>
                <a:gd name="T87" fmla="*/ 626 h 2254"/>
                <a:gd name="T88" fmla="*/ 595 w 2329"/>
                <a:gd name="T89" fmla="*/ 512 h 2254"/>
                <a:gd name="T90" fmla="*/ 420 w 2329"/>
                <a:gd name="T91" fmla="*/ 450 h 2254"/>
                <a:gd name="T92" fmla="*/ 275 w 2329"/>
                <a:gd name="T93" fmla="*/ 328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9" h="2254">
                  <a:moveTo>
                    <a:pt x="275" y="328"/>
                  </a:moveTo>
                  <a:lnTo>
                    <a:pt x="275" y="328"/>
                  </a:lnTo>
                  <a:cubicBezTo>
                    <a:pt x="236" y="336"/>
                    <a:pt x="236" y="336"/>
                    <a:pt x="236" y="336"/>
                  </a:cubicBezTo>
                  <a:lnTo>
                    <a:pt x="236" y="336"/>
                  </a:lnTo>
                  <a:cubicBezTo>
                    <a:pt x="213" y="344"/>
                    <a:pt x="191" y="351"/>
                    <a:pt x="175" y="366"/>
                  </a:cubicBezTo>
                  <a:cubicBezTo>
                    <a:pt x="160" y="382"/>
                    <a:pt x="175" y="405"/>
                    <a:pt x="160" y="420"/>
                  </a:cubicBezTo>
                  <a:cubicBezTo>
                    <a:pt x="152" y="435"/>
                    <a:pt x="130" y="450"/>
                    <a:pt x="114" y="466"/>
                  </a:cubicBezTo>
                  <a:lnTo>
                    <a:pt x="114" y="466"/>
                  </a:lnTo>
                  <a:cubicBezTo>
                    <a:pt x="130" y="489"/>
                    <a:pt x="145" y="512"/>
                    <a:pt x="152" y="535"/>
                  </a:cubicBezTo>
                  <a:cubicBezTo>
                    <a:pt x="168" y="565"/>
                    <a:pt x="168" y="596"/>
                    <a:pt x="191" y="619"/>
                  </a:cubicBezTo>
                  <a:cubicBezTo>
                    <a:pt x="198" y="626"/>
                    <a:pt x="221" y="611"/>
                    <a:pt x="229" y="626"/>
                  </a:cubicBezTo>
                  <a:cubicBezTo>
                    <a:pt x="229" y="641"/>
                    <a:pt x="221" y="657"/>
                    <a:pt x="206" y="672"/>
                  </a:cubicBezTo>
                  <a:cubicBezTo>
                    <a:pt x="175" y="710"/>
                    <a:pt x="130" y="733"/>
                    <a:pt x="107" y="771"/>
                  </a:cubicBezTo>
                  <a:cubicBezTo>
                    <a:pt x="84" y="809"/>
                    <a:pt x="114" y="855"/>
                    <a:pt x="91" y="886"/>
                  </a:cubicBezTo>
                  <a:cubicBezTo>
                    <a:pt x="84" y="909"/>
                    <a:pt x="30" y="878"/>
                    <a:pt x="30" y="901"/>
                  </a:cubicBezTo>
                  <a:cubicBezTo>
                    <a:pt x="23" y="947"/>
                    <a:pt x="69" y="993"/>
                    <a:pt x="76" y="1039"/>
                  </a:cubicBezTo>
                  <a:cubicBezTo>
                    <a:pt x="76" y="1054"/>
                    <a:pt x="61" y="1061"/>
                    <a:pt x="61" y="1077"/>
                  </a:cubicBezTo>
                  <a:cubicBezTo>
                    <a:pt x="61" y="1107"/>
                    <a:pt x="84" y="1138"/>
                    <a:pt x="91" y="1168"/>
                  </a:cubicBezTo>
                  <a:cubicBezTo>
                    <a:pt x="91" y="1176"/>
                    <a:pt x="76" y="1176"/>
                    <a:pt x="69" y="1184"/>
                  </a:cubicBezTo>
                  <a:cubicBezTo>
                    <a:pt x="46" y="1245"/>
                    <a:pt x="7" y="1306"/>
                    <a:pt x="0" y="1375"/>
                  </a:cubicBezTo>
                  <a:cubicBezTo>
                    <a:pt x="0" y="1413"/>
                    <a:pt x="38" y="1428"/>
                    <a:pt x="53" y="1459"/>
                  </a:cubicBezTo>
                  <a:lnTo>
                    <a:pt x="53" y="1459"/>
                  </a:lnTo>
                  <a:cubicBezTo>
                    <a:pt x="69" y="1466"/>
                    <a:pt x="76" y="1474"/>
                    <a:pt x="91" y="1474"/>
                  </a:cubicBezTo>
                  <a:cubicBezTo>
                    <a:pt x="114" y="1474"/>
                    <a:pt x="145" y="1466"/>
                    <a:pt x="175" y="1459"/>
                  </a:cubicBezTo>
                  <a:cubicBezTo>
                    <a:pt x="221" y="1451"/>
                    <a:pt x="275" y="1459"/>
                    <a:pt x="313" y="1436"/>
                  </a:cubicBezTo>
                  <a:cubicBezTo>
                    <a:pt x="336" y="1421"/>
                    <a:pt x="321" y="1382"/>
                    <a:pt x="344" y="1367"/>
                  </a:cubicBezTo>
                  <a:cubicBezTo>
                    <a:pt x="351" y="1359"/>
                    <a:pt x="366" y="1382"/>
                    <a:pt x="382" y="1382"/>
                  </a:cubicBezTo>
                  <a:cubicBezTo>
                    <a:pt x="412" y="1398"/>
                    <a:pt x="450" y="1382"/>
                    <a:pt x="473" y="1405"/>
                  </a:cubicBezTo>
                  <a:cubicBezTo>
                    <a:pt x="481" y="1428"/>
                    <a:pt x="443" y="1436"/>
                    <a:pt x="427" y="1451"/>
                  </a:cubicBezTo>
                  <a:cubicBezTo>
                    <a:pt x="405" y="1466"/>
                    <a:pt x="389" y="1482"/>
                    <a:pt x="374" y="1505"/>
                  </a:cubicBezTo>
                  <a:cubicBezTo>
                    <a:pt x="366" y="1527"/>
                    <a:pt x="359" y="1558"/>
                    <a:pt x="359" y="1581"/>
                  </a:cubicBezTo>
                  <a:cubicBezTo>
                    <a:pt x="359" y="1604"/>
                    <a:pt x="351" y="1634"/>
                    <a:pt x="366" y="1650"/>
                  </a:cubicBezTo>
                  <a:cubicBezTo>
                    <a:pt x="389" y="1657"/>
                    <a:pt x="405" y="1627"/>
                    <a:pt x="427" y="1611"/>
                  </a:cubicBezTo>
                  <a:cubicBezTo>
                    <a:pt x="443" y="1596"/>
                    <a:pt x="458" y="1566"/>
                    <a:pt x="487" y="1558"/>
                  </a:cubicBezTo>
                  <a:cubicBezTo>
                    <a:pt x="503" y="1550"/>
                    <a:pt x="518" y="1566"/>
                    <a:pt x="533" y="1581"/>
                  </a:cubicBezTo>
                  <a:cubicBezTo>
                    <a:pt x="549" y="1588"/>
                    <a:pt x="549" y="1627"/>
                    <a:pt x="572" y="1627"/>
                  </a:cubicBezTo>
                  <a:cubicBezTo>
                    <a:pt x="602" y="1634"/>
                    <a:pt x="640" y="1596"/>
                    <a:pt x="679" y="1604"/>
                  </a:cubicBezTo>
                  <a:cubicBezTo>
                    <a:pt x="694" y="1611"/>
                    <a:pt x="686" y="1634"/>
                    <a:pt x="686" y="1650"/>
                  </a:cubicBezTo>
                  <a:cubicBezTo>
                    <a:pt x="701" y="1673"/>
                    <a:pt x="709" y="1688"/>
                    <a:pt x="717" y="1711"/>
                  </a:cubicBezTo>
                  <a:cubicBezTo>
                    <a:pt x="732" y="1734"/>
                    <a:pt x="755" y="1749"/>
                    <a:pt x="770" y="1772"/>
                  </a:cubicBezTo>
                  <a:cubicBezTo>
                    <a:pt x="778" y="1787"/>
                    <a:pt x="762" y="1818"/>
                    <a:pt x="778" y="1833"/>
                  </a:cubicBezTo>
                  <a:cubicBezTo>
                    <a:pt x="785" y="1841"/>
                    <a:pt x="801" y="1833"/>
                    <a:pt x="816" y="1833"/>
                  </a:cubicBezTo>
                  <a:cubicBezTo>
                    <a:pt x="824" y="1833"/>
                    <a:pt x="831" y="1848"/>
                    <a:pt x="839" y="1841"/>
                  </a:cubicBezTo>
                  <a:cubicBezTo>
                    <a:pt x="869" y="1833"/>
                    <a:pt x="885" y="1802"/>
                    <a:pt x="915" y="1795"/>
                  </a:cubicBezTo>
                  <a:cubicBezTo>
                    <a:pt x="931" y="1795"/>
                    <a:pt x="946" y="1810"/>
                    <a:pt x="961" y="1818"/>
                  </a:cubicBezTo>
                  <a:cubicBezTo>
                    <a:pt x="984" y="1818"/>
                    <a:pt x="999" y="1795"/>
                    <a:pt x="1015" y="1802"/>
                  </a:cubicBezTo>
                  <a:cubicBezTo>
                    <a:pt x="1030" y="1810"/>
                    <a:pt x="1045" y="1841"/>
                    <a:pt x="1037" y="1856"/>
                  </a:cubicBezTo>
                  <a:cubicBezTo>
                    <a:pt x="1030" y="1886"/>
                    <a:pt x="969" y="1894"/>
                    <a:pt x="976" y="1925"/>
                  </a:cubicBezTo>
                  <a:cubicBezTo>
                    <a:pt x="984" y="1955"/>
                    <a:pt x="1037" y="1917"/>
                    <a:pt x="1068" y="1932"/>
                  </a:cubicBezTo>
                  <a:cubicBezTo>
                    <a:pt x="1076" y="1940"/>
                    <a:pt x="1076" y="1963"/>
                    <a:pt x="1068" y="1978"/>
                  </a:cubicBezTo>
                  <a:cubicBezTo>
                    <a:pt x="1060" y="1993"/>
                    <a:pt x="1037" y="1993"/>
                    <a:pt x="1037" y="2009"/>
                  </a:cubicBezTo>
                  <a:cubicBezTo>
                    <a:pt x="1022" y="2070"/>
                    <a:pt x="999" y="2131"/>
                    <a:pt x="1007" y="2184"/>
                  </a:cubicBezTo>
                  <a:cubicBezTo>
                    <a:pt x="1015" y="2223"/>
                    <a:pt x="1060" y="2230"/>
                    <a:pt x="1091" y="2253"/>
                  </a:cubicBezTo>
                  <a:lnTo>
                    <a:pt x="1091" y="2253"/>
                  </a:lnTo>
                  <a:cubicBezTo>
                    <a:pt x="1091" y="2238"/>
                    <a:pt x="1129" y="2238"/>
                    <a:pt x="1144" y="2230"/>
                  </a:cubicBezTo>
                  <a:cubicBezTo>
                    <a:pt x="1183" y="2223"/>
                    <a:pt x="1213" y="2192"/>
                    <a:pt x="1236" y="2169"/>
                  </a:cubicBezTo>
                  <a:cubicBezTo>
                    <a:pt x="1251" y="2154"/>
                    <a:pt x="1274" y="2146"/>
                    <a:pt x="1282" y="2138"/>
                  </a:cubicBezTo>
                  <a:lnTo>
                    <a:pt x="1282" y="2138"/>
                  </a:lnTo>
                  <a:cubicBezTo>
                    <a:pt x="1290" y="2131"/>
                    <a:pt x="1290" y="2123"/>
                    <a:pt x="1290" y="2123"/>
                  </a:cubicBezTo>
                  <a:cubicBezTo>
                    <a:pt x="1297" y="2100"/>
                    <a:pt x="1328" y="2016"/>
                    <a:pt x="1351" y="2016"/>
                  </a:cubicBezTo>
                  <a:cubicBezTo>
                    <a:pt x="1366" y="2009"/>
                    <a:pt x="1396" y="2009"/>
                    <a:pt x="1396" y="1986"/>
                  </a:cubicBezTo>
                  <a:cubicBezTo>
                    <a:pt x="1396" y="1963"/>
                    <a:pt x="1412" y="1948"/>
                    <a:pt x="1412" y="1932"/>
                  </a:cubicBezTo>
                  <a:cubicBezTo>
                    <a:pt x="1358" y="1917"/>
                    <a:pt x="1419" y="1863"/>
                    <a:pt x="1427" y="1841"/>
                  </a:cubicBezTo>
                  <a:cubicBezTo>
                    <a:pt x="1465" y="1810"/>
                    <a:pt x="1488" y="1795"/>
                    <a:pt x="1519" y="1757"/>
                  </a:cubicBezTo>
                  <a:cubicBezTo>
                    <a:pt x="1549" y="1719"/>
                    <a:pt x="1626" y="1642"/>
                    <a:pt x="1671" y="1627"/>
                  </a:cubicBezTo>
                  <a:cubicBezTo>
                    <a:pt x="1702" y="1619"/>
                    <a:pt x="1733" y="1611"/>
                    <a:pt x="1756" y="1627"/>
                  </a:cubicBezTo>
                  <a:cubicBezTo>
                    <a:pt x="1763" y="1634"/>
                    <a:pt x="1778" y="1657"/>
                    <a:pt x="1786" y="1650"/>
                  </a:cubicBezTo>
                  <a:cubicBezTo>
                    <a:pt x="1794" y="1650"/>
                    <a:pt x="1817" y="1634"/>
                    <a:pt x="1824" y="1627"/>
                  </a:cubicBezTo>
                  <a:cubicBezTo>
                    <a:pt x="1878" y="1611"/>
                    <a:pt x="1847" y="1497"/>
                    <a:pt x="1870" y="1497"/>
                  </a:cubicBezTo>
                  <a:cubicBezTo>
                    <a:pt x="1916" y="1474"/>
                    <a:pt x="1916" y="1474"/>
                    <a:pt x="1916" y="1474"/>
                  </a:cubicBezTo>
                  <a:cubicBezTo>
                    <a:pt x="1946" y="1459"/>
                    <a:pt x="1969" y="1421"/>
                    <a:pt x="2008" y="1428"/>
                  </a:cubicBezTo>
                  <a:cubicBezTo>
                    <a:pt x="2030" y="1436"/>
                    <a:pt x="2069" y="1398"/>
                    <a:pt x="2084" y="1382"/>
                  </a:cubicBezTo>
                  <a:cubicBezTo>
                    <a:pt x="2092" y="1375"/>
                    <a:pt x="2130" y="1329"/>
                    <a:pt x="2130" y="1313"/>
                  </a:cubicBezTo>
                  <a:lnTo>
                    <a:pt x="2130" y="1313"/>
                  </a:lnTo>
                  <a:cubicBezTo>
                    <a:pt x="2122" y="1313"/>
                    <a:pt x="2122" y="1313"/>
                    <a:pt x="2115" y="1313"/>
                  </a:cubicBezTo>
                  <a:cubicBezTo>
                    <a:pt x="2115" y="1306"/>
                    <a:pt x="2061" y="1268"/>
                    <a:pt x="2053" y="1260"/>
                  </a:cubicBezTo>
                  <a:cubicBezTo>
                    <a:pt x="2030" y="1214"/>
                    <a:pt x="2046" y="1184"/>
                    <a:pt x="2030" y="1138"/>
                  </a:cubicBezTo>
                  <a:cubicBezTo>
                    <a:pt x="2030" y="1115"/>
                    <a:pt x="2023" y="1084"/>
                    <a:pt x="2008" y="1069"/>
                  </a:cubicBezTo>
                  <a:cubicBezTo>
                    <a:pt x="2000" y="1061"/>
                    <a:pt x="1969" y="1039"/>
                    <a:pt x="1962" y="1023"/>
                  </a:cubicBezTo>
                  <a:cubicBezTo>
                    <a:pt x="1962" y="1023"/>
                    <a:pt x="1954" y="1016"/>
                    <a:pt x="1946" y="1016"/>
                  </a:cubicBezTo>
                  <a:lnTo>
                    <a:pt x="1939" y="1016"/>
                  </a:lnTo>
                  <a:cubicBezTo>
                    <a:pt x="1939" y="1008"/>
                    <a:pt x="1946" y="955"/>
                    <a:pt x="1931" y="947"/>
                  </a:cubicBezTo>
                  <a:cubicBezTo>
                    <a:pt x="1923" y="932"/>
                    <a:pt x="1901" y="924"/>
                    <a:pt x="1901" y="909"/>
                  </a:cubicBezTo>
                  <a:cubicBezTo>
                    <a:pt x="1893" y="901"/>
                    <a:pt x="1885" y="894"/>
                    <a:pt x="1885" y="894"/>
                  </a:cubicBezTo>
                  <a:cubicBezTo>
                    <a:pt x="1878" y="886"/>
                    <a:pt x="1862" y="840"/>
                    <a:pt x="1862" y="832"/>
                  </a:cubicBezTo>
                  <a:cubicBezTo>
                    <a:pt x="1870" y="832"/>
                    <a:pt x="1870" y="832"/>
                    <a:pt x="1870" y="832"/>
                  </a:cubicBezTo>
                  <a:cubicBezTo>
                    <a:pt x="1908" y="832"/>
                    <a:pt x="1954" y="840"/>
                    <a:pt x="1992" y="840"/>
                  </a:cubicBezTo>
                  <a:cubicBezTo>
                    <a:pt x="2015" y="809"/>
                    <a:pt x="2030" y="756"/>
                    <a:pt x="2061" y="718"/>
                  </a:cubicBezTo>
                  <a:cubicBezTo>
                    <a:pt x="2076" y="702"/>
                    <a:pt x="2099" y="695"/>
                    <a:pt x="2115" y="680"/>
                  </a:cubicBezTo>
                  <a:cubicBezTo>
                    <a:pt x="2130" y="649"/>
                    <a:pt x="2130" y="649"/>
                    <a:pt x="2130" y="619"/>
                  </a:cubicBezTo>
                  <a:lnTo>
                    <a:pt x="2130" y="611"/>
                  </a:lnTo>
                  <a:cubicBezTo>
                    <a:pt x="2137" y="611"/>
                    <a:pt x="2145" y="603"/>
                    <a:pt x="2145" y="603"/>
                  </a:cubicBezTo>
                  <a:cubicBezTo>
                    <a:pt x="2153" y="596"/>
                    <a:pt x="2168" y="573"/>
                    <a:pt x="2168" y="565"/>
                  </a:cubicBezTo>
                  <a:cubicBezTo>
                    <a:pt x="2237" y="565"/>
                    <a:pt x="2198" y="512"/>
                    <a:pt x="2244" y="504"/>
                  </a:cubicBezTo>
                  <a:cubicBezTo>
                    <a:pt x="2252" y="489"/>
                    <a:pt x="2252" y="458"/>
                    <a:pt x="2260" y="450"/>
                  </a:cubicBezTo>
                  <a:cubicBezTo>
                    <a:pt x="2260" y="443"/>
                    <a:pt x="2260" y="435"/>
                    <a:pt x="2260" y="427"/>
                  </a:cubicBezTo>
                  <a:lnTo>
                    <a:pt x="2267" y="420"/>
                  </a:lnTo>
                  <a:cubicBezTo>
                    <a:pt x="2275" y="412"/>
                    <a:pt x="2282" y="405"/>
                    <a:pt x="2290" y="405"/>
                  </a:cubicBezTo>
                  <a:cubicBezTo>
                    <a:pt x="2290" y="397"/>
                    <a:pt x="2298" y="397"/>
                    <a:pt x="2298" y="397"/>
                  </a:cubicBezTo>
                  <a:cubicBezTo>
                    <a:pt x="2305" y="397"/>
                    <a:pt x="2313" y="389"/>
                    <a:pt x="2313" y="389"/>
                  </a:cubicBezTo>
                  <a:cubicBezTo>
                    <a:pt x="2328" y="374"/>
                    <a:pt x="2328" y="374"/>
                    <a:pt x="2328" y="374"/>
                  </a:cubicBezTo>
                  <a:lnTo>
                    <a:pt x="2328" y="374"/>
                  </a:lnTo>
                  <a:cubicBezTo>
                    <a:pt x="2305" y="336"/>
                    <a:pt x="2282" y="298"/>
                    <a:pt x="2275" y="267"/>
                  </a:cubicBezTo>
                  <a:cubicBezTo>
                    <a:pt x="2275" y="168"/>
                    <a:pt x="2191" y="183"/>
                    <a:pt x="2168" y="99"/>
                  </a:cubicBezTo>
                  <a:cubicBezTo>
                    <a:pt x="2160" y="76"/>
                    <a:pt x="2008" y="38"/>
                    <a:pt x="1985" y="46"/>
                  </a:cubicBezTo>
                  <a:cubicBezTo>
                    <a:pt x="1916" y="61"/>
                    <a:pt x="1847" y="46"/>
                    <a:pt x="1801" y="0"/>
                  </a:cubicBezTo>
                  <a:lnTo>
                    <a:pt x="1801" y="0"/>
                  </a:lnTo>
                  <a:cubicBezTo>
                    <a:pt x="1763" y="46"/>
                    <a:pt x="1756" y="61"/>
                    <a:pt x="1717" y="99"/>
                  </a:cubicBezTo>
                  <a:cubicBezTo>
                    <a:pt x="1694" y="114"/>
                    <a:pt x="1679" y="145"/>
                    <a:pt x="1656" y="137"/>
                  </a:cubicBezTo>
                  <a:cubicBezTo>
                    <a:pt x="1633" y="130"/>
                    <a:pt x="1633" y="91"/>
                    <a:pt x="1610" y="76"/>
                  </a:cubicBezTo>
                  <a:cubicBezTo>
                    <a:pt x="1587" y="69"/>
                    <a:pt x="1565" y="61"/>
                    <a:pt x="1542" y="69"/>
                  </a:cubicBezTo>
                  <a:cubicBezTo>
                    <a:pt x="1526" y="69"/>
                    <a:pt x="1542" y="91"/>
                    <a:pt x="1534" y="99"/>
                  </a:cubicBezTo>
                  <a:cubicBezTo>
                    <a:pt x="1526" y="114"/>
                    <a:pt x="1488" y="114"/>
                    <a:pt x="1496" y="130"/>
                  </a:cubicBezTo>
                  <a:cubicBezTo>
                    <a:pt x="1496" y="160"/>
                    <a:pt x="1542" y="168"/>
                    <a:pt x="1557" y="191"/>
                  </a:cubicBezTo>
                  <a:cubicBezTo>
                    <a:pt x="1565" y="214"/>
                    <a:pt x="1565" y="252"/>
                    <a:pt x="1549" y="267"/>
                  </a:cubicBezTo>
                  <a:cubicBezTo>
                    <a:pt x="1534" y="282"/>
                    <a:pt x="1511" y="244"/>
                    <a:pt x="1496" y="252"/>
                  </a:cubicBezTo>
                  <a:cubicBezTo>
                    <a:pt x="1481" y="260"/>
                    <a:pt x="1496" y="298"/>
                    <a:pt x="1481" y="305"/>
                  </a:cubicBezTo>
                  <a:cubicBezTo>
                    <a:pt x="1458" y="313"/>
                    <a:pt x="1427" y="298"/>
                    <a:pt x="1404" y="290"/>
                  </a:cubicBezTo>
                  <a:cubicBezTo>
                    <a:pt x="1389" y="290"/>
                    <a:pt x="1389" y="275"/>
                    <a:pt x="1381" y="267"/>
                  </a:cubicBezTo>
                  <a:cubicBezTo>
                    <a:pt x="1373" y="267"/>
                    <a:pt x="1358" y="260"/>
                    <a:pt x="1351" y="260"/>
                  </a:cubicBezTo>
                  <a:cubicBezTo>
                    <a:pt x="1312" y="267"/>
                    <a:pt x="1274" y="298"/>
                    <a:pt x="1236" y="298"/>
                  </a:cubicBezTo>
                  <a:cubicBezTo>
                    <a:pt x="1221" y="298"/>
                    <a:pt x="1206" y="267"/>
                    <a:pt x="1183" y="267"/>
                  </a:cubicBezTo>
                  <a:cubicBezTo>
                    <a:pt x="1160" y="267"/>
                    <a:pt x="1137" y="282"/>
                    <a:pt x="1114" y="298"/>
                  </a:cubicBezTo>
                  <a:cubicBezTo>
                    <a:pt x="1099" y="305"/>
                    <a:pt x="1106" y="336"/>
                    <a:pt x="1091" y="336"/>
                  </a:cubicBezTo>
                  <a:cubicBezTo>
                    <a:pt x="1076" y="344"/>
                    <a:pt x="1068" y="321"/>
                    <a:pt x="1060" y="313"/>
                  </a:cubicBezTo>
                  <a:lnTo>
                    <a:pt x="1060" y="313"/>
                  </a:lnTo>
                  <a:cubicBezTo>
                    <a:pt x="1045" y="328"/>
                    <a:pt x="1037" y="351"/>
                    <a:pt x="1015" y="366"/>
                  </a:cubicBezTo>
                  <a:cubicBezTo>
                    <a:pt x="992" y="382"/>
                    <a:pt x="969" y="405"/>
                    <a:pt x="938" y="397"/>
                  </a:cubicBezTo>
                  <a:cubicBezTo>
                    <a:pt x="923" y="397"/>
                    <a:pt x="946" y="328"/>
                    <a:pt x="923" y="336"/>
                  </a:cubicBezTo>
                  <a:cubicBezTo>
                    <a:pt x="839" y="382"/>
                    <a:pt x="762" y="450"/>
                    <a:pt x="701" y="527"/>
                  </a:cubicBezTo>
                  <a:cubicBezTo>
                    <a:pt x="686" y="542"/>
                    <a:pt x="717" y="580"/>
                    <a:pt x="709" y="596"/>
                  </a:cubicBezTo>
                  <a:cubicBezTo>
                    <a:pt x="694" y="619"/>
                    <a:pt x="663" y="626"/>
                    <a:pt x="640" y="626"/>
                  </a:cubicBezTo>
                  <a:cubicBezTo>
                    <a:pt x="625" y="619"/>
                    <a:pt x="610" y="596"/>
                    <a:pt x="610" y="580"/>
                  </a:cubicBezTo>
                  <a:cubicBezTo>
                    <a:pt x="610" y="565"/>
                    <a:pt x="625" y="557"/>
                    <a:pt x="625" y="542"/>
                  </a:cubicBezTo>
                  <a:cubicBezTo>
                    <a:pt x="617" y="527"/>
                    <a:pt x="595" y="527"/>
                    <a:pt x="595" y="512"/>
                  </a:cubicBezTo>
                  <a:cubicBezTo>
                    <a:pt x="587" y="504"/>
                    <a:pt x="602" y="489"/>
                    <a:pt x="595" y="481"/>
                  </a:cubicBezTo>
                  <a:cubicBezTo>
                    <a:pt x="587" y="450"/>
                    <a:pt x="587" y="389"/>
                    <a:pt x="556" y="382"/>
                  </a:cubicBezTo>
                  <a:cubicBezTo>
                    <a:pt x="503" y="374"/>
                    <a:pt x="473" y="450"/>
                    <a:pt x="420" y="450"/>
                  </a:cubicBezTo>
                  <a:cubicBezTo>
                    <a:pt x="405" y="458"/>
                    <a:pt x="405" y="412"/>
                    <a:pt x="389" y="405"/>
                  </a:cubicBezTo>
                  <a:cubicBezTo>
                    <a:pt x="374" y="389"/>
                    <a:pt x="344" y="405"/>
                    <a:pt x="328" y="397"/>
                  </a:cubicBezTo>
                  <a:cubicBezTo>
                    <a:pt x="305" y="382"/>
                    <a:pt x="290" y="351"/>
                    <a:pt x="275" y="3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" name="Freeform 131"/>
            <p:cNvSpPr>
              <a:spLocks noChangeArrowheads="1"/>
            </p:cNvSpPr>
            <p:nvPr/>
          </p:nvSpPr>
          <p:spPr bwMode="auto">
            <a:xfrm>
              <a:off x="6073380" y="4749801"/>
              <a:ext cx="282557" cy="214313"/>
            </a:xfrm>
            <a:custGeom>
              <a:avLst/>
              <a:gdLst>
                <a:gd name="T0" fmla="*/ 785 w 786"/>
                <a:gd name="T1" fmla="*/ 283 h 597"/>
                <a:gd name="T2" fmla="*/ 785 w 786"/>
                <a:gd name="T3" fmla="*/ 283 h 597"/>
                <a:gd name="T4" fmla="*/ 740 w 786"/>
                <a:gd name="T5" fmla="*/ 336 h 597"/>
                <a:gd name="T6" fmla="*/ 663 w 786"/>
                <a:gd name="T7" fmla="*/ 367 h 597"/>
                <a:gd name="T8" fmla="*/ 648 w 786"/>
                <a:gd name="T9" fmla="*/ 306 h 597"/>
                <a:gd name="T10" fmla="*/ 426 w 786"/>
                <a:gd name="T11" fmla="*/ 497 h 597"/>
                <a:gd name="T12" fmla="*/ 434 w 786"/>
                <a:gd name="T13" fmla="*/ 566 h 597"/>
                <a:gd name="T14" fmla="*/ 365 w 786"/>
                <a:gd name="T15" fmla="*/ 596 h 597"/>
                <a:gd name="T16" fmla="*/ 335 w 786"/>
                <a:gd name="T17" fmla="*/ 550 h 597"/>
                <a:gd name="T18" fmla="*/ 350 w 786"/>
                <a:gd name="T19" fmla="*/ 512 h 597"/>
                <a:gd name="T20" fmla="*/ 320 w 786"/>
                <a:gd name="T21" fmla="*/ 482 h 597"/>
                <a:gd name="T22" fmla="*/ 320 w 786"/>
                <a:gd name="T23" fmla="*/ 451 h 597"/>
                <a:gd name="T24" fmla="*/ 281 w 786"/>
                <a:gd name="T25" fmla="*/ 352 h 597"/>
                <a:gd name="T26" fmla="*/ 145 w 786"/>
                <a:gd name="T27" fmla="*/ 420 h 597"/>
                <a:gd name="T28" fmla="*/ 114 w 786"/>
                <a:gd name="T29" fmla="*/ 375 h 597"/>
                <a:gd name="T30" fmla="*/ 53 w 786"/>
                <a:gd name="T31" fmla="*/ 367 h 597"/>
                <a:gd name="T32" fmla="*/ 0 w 786"/>
                <a:gd name="T33" fmla="*/ 298 h 597"/>
                <a:gd name="T34" fmla="*/ 0 w 786"/>
                <a:gd name="T35" fmla="*/ 298 h 597"/>
                <a:gd name="T36" fmla="*/ 114 w 786"/>
                <a:gd name="T37" fmla="*/ 176 h 597"/>
                <a:gd name="T38" fmla="*/ 145 w 786"/>
                <a:gd name="T39" fmla="*/ 153 h 597"/>
                <a:gd name="T40" fmla="*/ 183 w 786"/>
                <a:gd name="T41" fmla="*/ 153 h 597"/>
                <a:gd name="T42" fmla="*/ 228 w 786"/>
                <a:gd name="T43" fmla="*/ 130 h 597"/>
                <a:gd name="T44" fmla="*/ 243 w 786"/>
                <a:gd name="T45" fmla="*/ 115 h 597"/>
                <a:gd name="T46" fmla="*/ 381 w 786"/>
                <a:gd name="T47" fmla="*/ 100 h 597"/>
                <a:gd name="T48" fmla="*/ 381 w 786"/>
                <a:gd name="T49" fmla="*/ 39 h 597"/>
                <a:gd name="T50" fmla="*/ 434 w 786"/>
                <a:gd name="T51" fmla="*/ 0 h 597"/>
                <a:gd name="T52" fmla="*/ 434 w 786"/>
                <a:gd name="T53" fmla="*/ 0 h 597"/>
                <a:gd name="T54" fmla="*/ 549 w 786"/>
                <a:gd name="T55" fmla="*/ 84 h 597"/>
                <a:gd name="T56" fmla="*/ 556 w 786"/>
                <a:gd name="T57" fmla="*/ 54 h 597"/>
                <a:gd name="T58" fmla="*/ 602 w 786"/>
                <a:gd name="T59" fmla="*/ 46 h 597"/>
                <a:gd name="T60" fmla="*/ 656 w 786"/>
                <a:gd name="T61" fmla="*/ 153 h 597"/>
                <a:gd name="T62" fmla="*/ 694 w 786"/>
                <a:gd name="T63" fmla="*/ 176 h 597"/>
                <a:gd name="T64" fmla="*/ 762 w 786"/>
                <a:gd name="T65" fmla="*/ 222 h 597"/>
                <a:gd name="T66" fmla="*/ 785 w 786"/>
                <a:gd name="T67" fmla="*/ 283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6" h="597">
                  <a:moveTo>
                    <a:pt x="785" y="283"/>
                  </a:moveTo>
                  <a:lnTo>
                    <a:pt x="785" y="283"/>
                  </a:lnTo>
                  <a:cubicBezTo>
                    <a:pt x="770" y="298"/>
                    <a:pt x="762" y="321"/>
                    <a:pt x="740" y="336"/>
                  </a:cubicBezTo>
                  <a:cubicBezTo>
                    <a:pt x="717" y="352"/>
                    <a:pt x="694" y="375"/>
                    <a:pt x="663" y="367"/>
                  </a:cubicBezTo>
                  <a:cubicBezTo>
                    <a:pt x="648" y="367"/>
                    <a:pt x="671" y="298"/>
                    <a:pt x="648" y="306"/>
                  </a:cubicBezTo>
                  <a:cubicBezTo>
                    <a:pt x="564" y="352"/>
                    <a:pt x="487" y="420"/>
                    <a:pt x="426" y="497"/>
                  </a:cubicBezTo>
                  <a:cubicBezTo>
                    <a:pt x="411" y="512"/>
                    <a:pt x="442" y="550"/>
                    <a:pt x="434" y="566"/>
                  </a:cubicBezTo>
                  <a:cubicBezTo>
                    <a:pt x="419" y="589"/>
                    <a:pt x="388" y="596"/>
                    <a:pt x="365" y="596"/>
                  </a:cubicBezTo>
                  <a:cubicBezTo>
                    <a:pt x="350" y="589"/>
                    <a:pt x="335" y="566"/>
                    <a:pt x="335" y="550"/>
                  </a:cubicBezTo>
                  <a:cubicBezTo>
                    <a:pt x="335" y="535"/>
                    <a:pt x="350" y="527"/>
                    <a:pt x="350" y="512"/>
                  </a:cubicBezTo>
                  <a:cubicBezTo>
                    <a:pt x="342" y="497"/>
                    <a:pt x="320" y="497"/>
                    <a:pt x="320" y="482"/>
                  </a:cubicBezTo>
                  <a:cubicBezTo>
                    <a:pt x="312" y="474"/>
                    <a:pt x="327" y="459"/>
                    <a:pt x="320" y="451"/>
                  </a:cubicBezTo>
                  <a:cubicBezTo>
                    <a:pt x="312" y="420"/>
                    <a:pt x="312" y="359"/>
                    <a:pt x="281" y="352"/>
                  </a:cubicBezTo>
                  <a:cubicBezTo>
                    <a:pt x="228" y="344"/>
                    <a:pt x="198" y="420"/>
                    <a:pt x="145" y="420"/>
                  </a:cubicBezTo>
                  <a:cubicBezTo>
                    <a:pt x="130" y="428"/>
                    <a:pt x="130" y="382"/>
                    <a:pt x="114" y="375"/>
                  </a:cubicBezTo>
                  <a:cubicBezTo>
                    <a:pt x="99" y="359"/>
                    <a:pt x="69" y="375"/>
                    <a:pt x="53" y="367"/>
                  </a:cubicBezTo>
                  <a:cubicBezTo>
                    <a:pt x="30" y="352"/>
                    <a:pt x="15" y="321"/>
                    <a:pt x="0" y="298"/>
                  </a:cubicBezTo>
                  <a:lnTo>
                    <a:pt x="0" y="298"/>
                  </a:lnTo>
                  <a:cubicBezTo>
                    <a:pt x="38" y="252"/>
                    <a:pt x="76" y="214"/>
                    <a:pt x="114" y="176"/>
                  </a:cubicBezTo>
                  <a:cubicBezTo>
                    <a:pt x="122" y="168"/>
                    <a:pt x="130" y="161"/>
                    <a:pt x="145" y="153"/>
                  </a:cubicBezTo>
                  <a:cubicBezTo>
                    <a:pt x="152" y="153"/>
                    <a:pt x="168" y="161"/>
                    <a:pt x="183" y="153"/>
                  </a:cubicBezTo>
                  <a:cubicBezTo>
                    <a:pt x="198" y="153"/>
                    <a:pt x="212" y="145"/>
                    <a:pt x="228" y="130"/>
                  </a:cubicBezTo>
                  <a:cubicBezTo>
                    <a:pt x="235" y="130"/>
                    <a:pt x="235" y="115"/>
                    <a:pt x="243" y="115"/>
                  </a:cubicBezTo>
                  <a:cubicBezTo>
                    <a:pt x="289" y="100"/>
                    <a:pt x="342" y="115"/>
                    <a:pt x="381" y="100"/>
                  </a:cubicBezTo>
                  <a:cubicBezTo>
                    <a:pt x="396" y="84"/>
                    <a:pt x="373" y="54"/>
                    <a:pt x="381" y="39"/>
                  </a:cubicBezTo>
                  <a:cubicBezTo>
                    <a:pt x="396" y="16"/>
                    <a:pt x="419" y="16"/>
                    <a:pt x="434" y="0"/>
                  </a:cubicBezTo>
                  <a:lnTo>
                    <a:pt x="434" y="0"/>
                  </a:lnTo>
                  <a:cubicBezTo>
                    <a:pt x="472" y="31"/>
                    <a:pt x="503" y="69"/>
                    <a:pt x="549" y="84"/>
                  </a:cubicBezTo>
                  <a:cubicBezTo>
                    <a:pt x="556" y="92"/>
                    <a:pt x="549" y="61"/>
                    <a:pt x="556" y="54"/>
                  </a:cubicBezTo>
                  <a:cubicBezTo>
                    <a:pt x="572" y="46"/>
                    <a:pt x="594" y="31"/>
                    <a:pt x="602" y="46"/>
                  </a:cubicBezTo>
                  <a:cubicBezTo>
                    <a:pt x="633" y="69"/>
                    <a:pt x="633" y="115"/>
                    <a:pt x="656" y="153"/>
                  </a:cubicBezTo>
                  <a:cubicBezTo>
                    <a:pt x="663" y="161"/>
                    <a:pt x="679" y="168"/>
                    <a:pt x="694" y="176"/>
                  </a:cubicBezTo>
                  <a:cubicBezTo>
                    <a:pt x="717" y="191"/>
                    <a:pt x="740" y="207"/>
                    <a:pt x="762" y="222"/>
                  </a:cubicBezTo>
                  <a:cubicBezTo>
                    <a:pt x="778" y="237"/>
                    <a:pt x="778" y="260"/>
                    <a:pt x="785" y="28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" name="Freeform 132"/>
            <p:cNvSpPr>
              <a:spLocks noChangeArrowheads="1"/>
            </p:cNvSpPr>
            <p:nvPr/>
          </p:nvSpPr>
          <p:spPr bwMode="auto">
            <a:xfrm>
              <a:off x="6230532" y="4614863"/>
              <a:ext cx="393674" cy="247650"/>
            </a:xfrm>
            <a:custGeom>
              <a:avLst/>
              <a:gdLst>
                <a:gd name="T0" fmla="*/ 8 w 1093"/>
                <a:gd name="T1" fmla="*/ 336 h 689"/>
                <a:gd name="T2" fmla="*/ 8 w 1093"/>
                <a:gd name="T3" fmla="*/ 336 h 689"/>
                <a:gd name="T4" fmla="*/ 0 w 1093"/>
                <a:gd name="T5" fmla="*/ 374 h 689"/>
                <a:gd name="T6" fmla="*/ 0 w 1093"/>
                <a:gd name="T7" fmla="*/ 374 h 689"/>
                <a:gd name="T8" fmla="*/ 115 w 1093"/>
                <a:gd name="T9" fmla="*/ 458 h 689"/>
                <a:gd name="T10" fmla="*/ 122 w 1093"/>
                <a:gd name="T11" fmla="*/ 428 h 689"/>
                <a:gd name="T12" fmla="*/ 168 w 1093"/>
                <a:gd name="T13" fmla="*/ 420 h 689"/>
                <a:gd name="T14" fmla="*/ 222 w 1093"/>
                <a:gd name="T15" fmla="*/ 527 h 689"/>
                <a:gd name="T16" fmla="*/ 260 w 1093"/>
                <a:gd name="T17" fmla="*/ 550 h 689"/>
                <a:gd name="T18" fmla="*/ 328 w 1093"/>
                <a:gd name="T19" fmla="*/ 596 h 689"/>
                <a:gd name="T20" fmla="*/ 351 w 1093"/>
                <a:gd name="T21" fmla="*/ 657 h 689"/>
                <a:gd name="T22" fmla="*/ 351 w 1093"/>
                <a:gd name="T23" fmla="*/ 657 h 689"/>
                <a:gd name="T24" fmla="*/ 382 w 1093"/>
                <a:gd name="T25" fmla="*/ 680 h 689"/>
                <a:gd name="T26" fmla="*/ 405 w 1093"/>
                <a:gd name="T27" fmla="*/ 642 h 689"/>
                <a:gd name="T28" fmla="*/ 474 w 1093"/>
                <a:gd name="T29" fmla="*/ 611 h 689"/>
                <a:gd name="T30" fmla="*/ 527 w 1093"/>
                <a:gd name="T31" fmla="*/ 642 h 689"/>
                <a:gd name="T32" fmla="*/ 642 w 1093"/>
                <a:gd name="T33" fmla="*/ 604 h 689"/>
                <a:gd name="T34" fmla="*/ 672 w 1093"/>
                <a:gd name="T35" fmla="*/ 611 h 689"/>
                <a:gd name="T36" fmla="*/ 695 w 1093"/>
                <a:gd name="T37" fmla="*/ 634 h 689"/>
                <a:gd name="T38" fmla="*/ 772 w 1093"/>
                <a:gd name="T39" fmla="*/ 649 h 689"/>
                <a:gd name="T40" fmla="*/ 787 w 1093"/>
                <a:gd name="T41" fmla="*/ 596 h 689"/>
                <a:gd name="T42" fmla="*/ 840 w 1093"/>
                <a:gd name="T43" fmla="*/ 611 h 689"/>
                <a:gd name="T44" fmla="*/ 848 w 1093"/>
                <a:gd name="T45" fmla="*/ 535 h 689"/>
                <a:gd name="T46" fmla="*/ 787 w 1093"/>
                <a:gd name="T47" fmla="*/ 474 h 689"/>
                <a:gd name="T48" fmla="*/ 825 w 1093"/>
                <a:gd name="T49" fmla="*/ 443 h 689"/>
                <a:gd name="T50" fmla="*/ 833 w 1093"/>
                <a:gd name="T51" fmla="*/ 413 h 689"/>
                <a:gd name="T52" fmla="*/ 901 w 1093"/>
                <a:gd name="T53" fmla="*/ 420 h 689"/>
                <a:gd name="T54" fmla="*/ 947 w 1093"/>
                <a:gd name="T55" fmla="*/ 481 h 689"/>
                <a:gd name="T56" fmla="*/ 1008 w 1093"/>
                <a:gd name="T57" fmla="*/ 443 h 689"/>
                <a:gd name="T58" fmla="*/ 1092 w 1093"/>
                <a:gd name="T59" fmla="*/ 344 h 689"/>
                <a:gd name="T60" fmla="*/ 1092 w 1093"/>
                <a:gd name="T61" fmla="*/ 344 h 689"/>
                <a:gd name="T62" fmla="*/ 1069 w 1093"/>
                <a:gd name="T63" fmla="*/ 321 h 689"/>
                <a:gd name="T64" fmla="*/ 863 w 1093"/>
                <a:gd name="T65" fmla="*/ 206 h 689"/>
                <a:gd name="T66" fmla="*/ 634 w 1093"/>
                <a:gd name="T67" fmla="*/ 15 h 689"/>
                <a:gd name="T68" fmla="*/ 435 w 1093"/>
                <a:gd name="T69" fmla="*/ 8 h 689"/>
                <a:gd name="T70" fmla="*/ 298 w 1093"/>
                <a:gd name="T71" fmla="*/ 115 h 689"/>
                <a:gd name="T72" fmla="*/ 176 w 1093"/>
                <a:gd name="T73" fmla="*/ 252 h 689"/>
                <a:gd name="T74" fmla="*/ 99 w 1093"/>
                <a:gd name="T75" fmla="*/ 313 h 689"/>
                <a:gd name="T76" fmla="*/ 8 w 1093"/>
                <a:gd name="T77" fmla="*/ 336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93" h="689">
                  <a:moveTo>
                    <a:pt x="8" y="336"/>
                  </a:moveTo>
                  <a:lnTo>
                    <a:pt x="8" y="336"/>
                  </a:lnTo>
                  <a:cubicBezTo>
                    <a:pt x="0" y="374"/>
                    <a:pt x="0" y="374"/>
                    <a:pt x="0" y="374"/>
                  </a:cubicBezTo>
                  <a:lnTo>
                    <a:pt x="0" y="374"/>
                  </a:lnTo>
                  <a:cubicBezTo>
                    <a:pt x="38" y="405"/>
                    <a:pt x="69" y="443"/>
                    <a:pt x="115" y="458"/>
                  </a:cubicBezTo>
                  <a:cubicBezTo>
                    <a:pt x="122" y="466"/>
                    <a:pt x="115" y="435"/>
                    <a:pt x="122" y="428"/>
                  </a:cubicBezTo>
                  <a:cubicBezTo>
                    <a:pt x="138" y="420"/>
                    <a:pt x="160" y="405"/>
                    <a:pt x="168" y="420"/>
                  </a:cubicBezTo>
                  <a:cubicBezTo>
                    <a:pt x="199" y="443"/>
                    <a:pt x="199" y="489"/>
                    <a:pt x="222" y="527"/>
                  </a:cubicBezTo>
                  <a:cubicBezTo>
                    <a:pt x="229" y="535"/>
                    <a:pt x="245" y="542"/>
                    <a:pt x="260" y="550"/>
                  </a:cubicBezTo>
                  <a:cubicBezTo>
                    <a:pt x="283" y="565"/>
                    <a:pt x="306" y="581"/>
                    <a:pt x="328" y="596"/>
                  </a:cubicBezTo>
                  <a:cubicBezTo>
                    <a:pt x="344" y="611"/>
                    <a:pt x="344" y="634"/>
                    <a:pt x="351" y="657"/>
                  </a:cubicBezTo>
                  <a:lnTo>
                    <a:pt x="351" y="657"/>
                  </a:lnTo>
                  <a:cubicBezTo>
                    <a:pt x="359" y="665"/>
                    <a:pt x="367" y="688"/>
                    <a:pt x="382" y="680"/>
                  </a:cubicBezTo>
                  <a:cubicBezTo>
                    <a:pt x="397" y="680"/>
                    <a:pt x="390" y="649"/>
                    <a:pt x="405" y="642"/>
                  </a:cubicBezTo>
                  <a:cubicBezTo>
                    <a:pt x="428" y="626"/>
                    <a:pt x="451" y="611"/>
                    <a:pt x="474" y="611"/>
                  </a:cubicBezTo>
                  <a:cubicBezTo>
                    <a:pt x="497" y="611"/>
                    <a:pt x="512" y="642"/>
                    <a:pt x="527" y="642"/>
                  </a:cubicBezTo>
                  <a:cubicBezTo>
                    <a:pt x="565" y="642"/>
                    <a:pt x="603" y="611"/>
                    <a:pt x="642" y="604"/>
                  </a:cubicBezTo>
                  <a:cubicBezTo>
                    <a:pt x="649" y="604"/>
                    <a:pt x="664" y="611"/>
                    <a:pt x="672" y="611"/>
                  </a:cubicBezTo>
                  <a:cubicBezTo>
                    <a:pt x="680" y="619"/>
                    <a:pt x="680" y="634"/>
                    <a:pt x="695" y="634"/>
                  </a:cubicBezTo>
                  <a:cubicBezTo>
                    <a:pt x="718" y="642"/>
                    <a:pt x="749" y="657"/>
                    <a:pt x="772" y="649"/>
                  </a:cubicBezTo>
                  <a:cubicBezTo>
                    <a:pt x="787" y="642"/>
                    <a:pt x="772" y="604"/>
                    <a:pt x="787" y="596"/>
                  </a:cubicBezTo>
                  <a:cubicBezTo>
                    <a:pt x="802" y="588"/>
                    <a:pt x="825" y="626"/>
                    <a:pt x="840" y="611"/>
                  </a:cubicBezTo>
                  <a:cubicBezTo>
                    <a:pt x="856" y="596"/>
                    <a:pt x="856" y="558"/>
                    <a:pt x="848" y="535"/>
                  </a:cubicBezTo>
                  <a:cubicBezTo>
                    <a:pt x="833" y="512"/>
                    <a:pt x="787" y="504"/>
                    <a:pt x="787" y="474"/>
                  </a:cubicBezTo>
                  <a:cubicBezTo>
                    <a:pt x="779" y="458"/>
                    <a:pt x="817" y="458"/>
                    <a:pt x="825" y="443"/>
                  </a:cubicBezTo>
                  <a:cubicBezTo>
                    <a:pt x="833" y="435"/>
                    <a:pt x="817" y="413"/>
                    <a:pt x="833" y="413"/>
                  </a:cubicBezTo>
                  <a:cubicBezTo>
                    <a:pt x="856" y="405"/>
                    <a:pt x="878" y="413"/>
                    <a:pt x="901" y="420"/>
                  </a:cubicBezTo>
                  <a:cubicBezTo>
                    <a:pt x="924" y="435"/>
                    <a:pt x="924" y="474"/>
                    <a:pt x="947" y="481"/>
                  </a:cubicBezTo>
                  <a:cubicBezTo>
                    <a:pt x="970" y="489"/>
                    <a:pt x="985" y="458"/>
                    <a:pt x="1008" y="443"/>
                  </a:cubicBezTo>
                  <a:cubicBezTo>
                    <a:pt x="1047" y="405"/>
                    <a:pt x="1054" y="390"/>
                    <a:pt x="1092" y="344"/>
                  </a:cubicBezTo>
                  <a:lnTo>
                    <a:pt x="1092" y="344"/>
                  </a:lnTo>
                  <a:cubicBezTo>
                    <a:pt x="1085" y="336"/>
                    <a:pt x="1077" y="329"/>
                    <a:pt x="1069" y="321"/>
                  </a:cubicBezTo>
                  <a:cubicBezTo>
                    <a:pt x="1001" y="237"/>
                    <a:pt x="955" y="237"/>
                    <a:pt x="863" y="206"/>
                  </a:cubicBezTo>
                  <a:cubicBezTo>
                    <a:pt x="733" y="160"/>
                    <a:pt x="749" y="23"/>
                    <a:pt x="634" y="15"/>
                  </a:cubicBezTo>
                  <a:cubicBezTo>
                    <a:pt x="435" y="8"/>
                    <a:pt x="435" y="8"/>
                    <a:pt x="435" y="8"/>
                  </a:cubicBezTo>
                  <a:cubicBezTo>
                    <a:pt x="344" y="0"/>
                    <a:pt x="367" y="84"/>
                    <a:pt x="298" y="115"/>
                  </a:cubicBezTo>
                  <a:cubicBezTo>
                    <a:pt x="222" y="168"/>
                    <a:pt x="321" y="244"/>
                    <a:pt x="176" y="252"/>
                  </a:cubicBezTo>
                  <a:cubicBezTo>
                    <a:pt x="160" y="252"/>
                    <a:pt x="122" y="306"/>
                    <a:pt x="99" y="313"/>
                  </a:cubicBezTo>
                  <a:cubicBezTo>
                    <a:pt x="69" y="336"/>
                    <a:pt x="38" y="344"/>
                    <a:pt x="8" y="3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1" name="Freeform 133"/>
            <p:cNvSpPr>
              <a:spLocks noChangeArrowheads="1"/>
            </p:cNvSpPr>
            <p:nvPr/>
          </p:nvSpPr>
          <p:spPr bwMode="auto">
            <a:xfrm>
              <a:off x="5708279" y="4583113"/>
              <a:ext cx="284144" cy="201612"/>
            </a:xfrm>
            <a:custGeom>
              <a:avLst/>
              <a:gdLst>
                <a:gd name="T0" fmla="*/ 374 w 788"/>
                <a:gd name="T1" fmla="*/ 77 h 559"/>
                <a:gd name="T2" fmla="*/ 374 w 788"/>
                <a:gd name="T3" fmla="*/ 77 h 559"/>
                <a:gd name="T4" fmla="*/ 267 w 788"/>
                <a:gd name="T5" fmla="*/ 0 h 559"/>
                <a:gd name="T6" fmla="*/ 267 w 788"/>
                <a:gd name="T7" fmla="*/ 0 h 559"/>
                <a:gd name="T8" fmla="*/ 229 w 788"/>
                <a:gd name="T9" fmla="*/ 77 h 559"/>
                <a:gd name="T10" fmla="*/ 267 w 788"/>
                <a:gd name="T11" fmla="*/ 123 h 559"/>
                <a:gd name="T12" fmla="*/ 252 w 788"/>
                <a:gd name="T13" fmla="*/ 146 h 559"/>
                <a:gd name="T14" fmla="*/ 176 w 788"/>
                <a:gd name="T15" fmla="*/ 161 h 559"/>
                <a:gd name="T16" fmla="*/ 46 w 788"/>
                <a:gd name="T17" fmla="*/ 153 h 559"/>
                <a:gd name="T18" fmla="*/ 15 w 788"/>
                <a:gd name="T19" fmla="*/ 191 h 559"/>
                <a:gd name="T20" fmla="*/ 15 w 788"/>
                <a:gd name="T21" fmla="*/ 191 h 559"/>
                <a:gd name="T22" fmla="*/ 7 w 788"/>
                <a:gd name="T23" fmla="*/ 245 h 559"/>
                <a:gd name="T24" fmla="*/ 53 w 788"/>
                <a:gd name="T25" fmla="*/ 260 h 559"/>
                <a:gd name="T26" fmla="*/ 76 w 788"/>
                <a:gd name="T27" fmla="*/ 283 h 559"/>
                <a:gd name="T28" fmla="*/ 68 w 788"/>
                <a:gd name="T29" fmla="*/ 313 h 559"/>
                <a:gd name="T30" fmla="*/ 122 w 788"/>
                <a:gd name="T31" fmla="*/ 321 h 559"/>
                <a:gd name="T32" fmla="*/ 145 w 788"/>
                <a:gd name="T33" fmla="*/ 375 h 559"/>
                <a:gd name="T34" fmla="*/ 260 w 788"/>
                <a:gd name="T35" fmla="*/ 382 h 559"/>
                <a:gd name="T36" fmla="*/ 191 w 788"/>
                <a:gd name="T37" fmla="*/ 444 h 559"/>
                <a:gd name="T38" fmla="*/ 267 w 788"/>
                <a:gd name="T39" fmla="*/ 520 h 559"/>
                <a:gd name="T40" fmla="*/ 290 w 788"/>
                <a:gd name="T41" fmla="*/ 550 h 559"/>
                <a:gd name="T42" fmla="*/ 313 w 788"/>
                <a:gd name="T43" fmla="*/ 558 h 559"/>
                <a:gd name="T44" fmla="*/ 313 w 788"/>
                <a:gd name="T45" fmla="*/ 558 h 559"/>
                <a:gd name="T46" fmla="*/ 405 w 788"/>
                <a:gd name="T47" fmla="*/ 543 h 559"/>
                <a:gd name="T48" fmla="*/ 450 w 788"/>
                <a:gd name="T49" fmla="*/ 466 h 559"/>
                <a:gd name="T50" fmla="*/ 550 w 788"/>
                <a:gd name="T51" fmla="*/ 428 h 559"/>
                <a:gd name="T52" fmla="*/ 550 w 788"/>
                <a:gd name="T53" fmla="*/ 405 h 559"/>
                <a:gd name="T54" fmla="*/ 580 w 788"/>
                <a:gd name="T55" fmla="*/ 367 h 559"/>
                <a:gd name="T56" fmla="*/ 664 w 788"/>
                <a:gd name="T57" fmla="*/ 291 h 559"/>
                <a:gd name="T58" fmla="*/ 756 w 788"/>
                <a:gd name="T59" fmla="*/ 321 h 559"/>
                <a:gd name="T60" fmla="*/ 787 w 788"/>
                <a:gd name="T61" fmla="*/ 268 h 559"/>
                <a:gd name="T62" fmla="*/ 787 w 788"/>
                <a:gd name="T63" fmla="*/ 268 h 559"/>
                <a:gd name="T64" fmla="*/ 626 w 788"/>
                <a:gd name="T65" fmla="*/ 230 h 559"/>
                <a:gd name="T66" fmla="*/ 420 w 788"/>
                <a:gd name="T67" fmla="*/ 153 h 559"/>
                <a:gd name="T68" fmla="*/ 420 w 788"/>
                <a:gd name="T69" fmla="*/ 153 h 559"/>
                <a:gd name="T70" fmla="*/ 374 w 788"/>
                <a:gd name="T71" fmla="*/ 77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88" h="559">
                  <a:moveTo>
                    <a:pt x="374" y="77"/>
                  </a:moveTo>
                  <a:lnTo>
                    <a:pt x="374" y="77"/>
                  </a:lnTo>
                  <a:cubicBezTo>
                    <a:pt x="267" y="0"/>
                    <a:pt x="267" y="0"/>
                    <a:pt x="267" y="0"/>
                  </a:cubicBezTo>
                  <a:lnTo>
                    <a:pt x="267" y="0"/>
                  </a:lnTo>
                  <a:cubicBezTo>
                    <a:pt x="252" y="23"/>
                    <a:pt x="229" y="46"/>
                    <a:pt x="229" y="77"/>
                  </a:cubicBezTo>
                  <a:cubicBezTo>
                    <a:pt x="237" y="100"/>
                    <a:pt x="267" y="107"/>
                    <a:pt x="267" y="123"/>
                  </a:cubicBezTo>
                  <a:cubicBezTo>
                    <a:pt x="275" y="130"/>
                    <a:pt x="267" y="146"/>
                    <a:pt x="252" y="146"/>
                  </a:cubicBezTo>
                  <a:cubicBezTo>
                    <a:pt x="229" y="161"/>
                    <a:pt x="198" y="161"/>
                    <a:pt x="176" y="161"/>
                  </a:cubicBezTo>
                  <a:cubicBezTo>
                    <a:pt x="130" y="161"/>
                    <a:pt x="84" y="146"/>
                    <a:pt x="46" y="153"/>
                  </a:cubicBezTo>
                  <a:cubicBezTo>
                    <a:pt x="30" y="153"/>
                    <a:pt x="23" y="176"/>
                    <a:pt x="15" y="191"/>
                  </a:cubicBezTo>
                  <a:lnTo>
                    <a:pt x="15" y="191"/>
                  </a:lnTo>
                  <a:cubicBezTo>
                    <a:pt x="15" y="214"/>
                    <a:pt x="0" y="230"/>
                    <a:pt x="7" y="245"/>
                  </a:cubicBezTo>
                  <a:cubicBezTo>
                    <a:pt x="15" y="260"/>
                    <a:pt x="38" y="245"/>
                    <a:pt x="53" y="260"/>
                  </a:cubicBezTo>
                  <a:cubicBezTo>
                    <a:pt x="68" y="260"/>
                    <a:pt x="76" y="275"/>
                    <a:pt x="76" y="283"/>
                  </a:cubicBezTo>
                  <a:cubicBezTo>
                    <a:pt x="76" y="298"/>
                    <a:pt x="61" y="313"/>
                    <a:pt x="68" y="313"/>
                  </a:cubicBezTo>
                  <a:cubicBezTo>
                    <a:pt x="84" y="329"/>
                    <a:pt x="107" y="306"/>
                    <a:pt x="122" y="321"/>
                  </a:cubicBezTo>
                  <a:cubicBezTo>
                    <a:pt x="137" y="329"/>
                    <a:pt x="122" y="367"/>
                    <a:pt x="145" y="375"/>
                  </a:cubicBezTo>
                  <a:cubicBezTo>
                    <a:pt x="176" y="390"/>
                    <a:pt x="237" y="352"/>
                    <a:pt x="260" y="382"/>
                  </a:cubicBezTo>
                  <a:cubicBezTo>
                    <a:pt x="275" y="405"/>
                    <a:pt x="183" y="413"/>
                    <a:pt x="191" y="444"/>
                  </a:cubicBezTo>
                  <a:cubicBezTo>
                    <a:pt x="191" y="482"/>
                    <a:pt x="244" y="489"/>
                    <a:pt x="267" y="520"/>
                  </a:cubicBezTo>
                  <a:cubicBezTo>
                    <a:pt x="282" y="527"/>
                    <a:pt x="282" y="543"/>
                    <a:pt x="290" y="550"/>
                  </a:cubicBezTo>
                  <a:cubicBezTo>
                    <a:pt x="298" y="558"/>
                    <a:pt x="305" y="558"/>
                    <a:pt x="313" y="558"/>
                  </a:cubicBezTo>
                  <a:lnTo>
                    <a:pt x="313" y="558"/>
                  </a:lnTo>
                  <a:cubicBezTo>
                    <a:pt x="343" y="550"/>
                    <a:pt x="382" y="558"/>
                    <a:pt x="405" y="543"/>
                  </a:cubicBezTo>
                  <a:cubicBezTo>
                    <a:pt x="428" y="520"/>
                    <a:pt x="428" y="482"/>
                    <a:pt x="450" y="466"/>
                  </a:cubicBezTo>
                  <a:cubicBezTo>
                    <a:pt x="481" y="444"/>
                    <a:pt x="519" y="444"/>
                    <a:pt x="550" y="428"/>
                  </a:cubicBezTo>
                  <a:cubicBezTo>
                    <a:pt x="557" y="428"/>
                    <a:pt x="550" y="413"/>
                    <a:pt x="550" y="405"/>
                  </a:cubicBezTo>
                  <a:cubicBezTo>
                    <a:pt x="557" y="390"/>
                    <a:pt x="573" y="375"/>
                    <a:pt x="580" y="367"/>
                  </a:cubicBezTo>
                  <a:cubicBezTo>
                    <a:pt x="611" y="336"/>
                    <a:pt x="626" y="298"/>
                    <a:pt x="664" y="291"/>
                  </a:cubicBezTo>
                  <a:cubicBezTo>
                    <a:pt x="695" y="283"/>
                    <a:pt x="725" y="329"/>
                    <a:pt x="756" y="321"/>
                  </a:cubicBezTo>
                  <a:cubicBezTo>
                    <a:pt x="787" y="313"/>
                    <a:pt x="779" y="291"/>
                    <a:pt x="787" y="268"/>
                  </a:cubicBezTo>
                  <a:lnTo>
                    <a:pt x="787" y="268"/>
                  </a:lnTo>
                  <a:cubicBezTo>
                    <a:pt x="741" y="252"/>
                    <a:pt x="687" y="237"/>
                    <a:pt x="626" y="230"/>
                  </a:cubicBezTo>
                  <a:cubicBezTo>
                    <a:pt x="542" y="222"/>
                    <a:pt x="496" y="169"/>
                    <a:pt x="420" y="153"/>
                  </a:cubicBezTo>
                  <a:lnTo>
                    <a:pt x="420" y="153"/>
                  </a:lnTo>
                  <a:cubicBezTo>
                    <a:pt x="374" y="77"/>
                    <a:pt x="374" y="77"/>
                    <a:pt x="374" y="7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2" name="Freeform 134"/>
            <p:cNvSpPr>
              <a:spLocks noChangeArrowheads="1"/>
            </p:cNvSpPr>
            <p:nvPr/>
          </p:nvSpPr>
          <p:spPr bwMode="auto">
            <a:xfrm>
              <a:off x="5820984" y="4678363"/>
              <a:ext cx="242871" cy="228600"/>
            </a:xfrm>
            <a:custGeom>
              <a:avLst/>
              <a:gdLst>
                <a:gd name="T0" fmla="*/ 611 w 673"/>
                <a:gd name="T1" fmla="*/ 23 h 635"/>
                <a:gd name="T2" fmla="*/ 611 w 673"/>
                <a:gd name="T3" fmla="*/ 23 h 635"/>
                <a:gd name="T4" fmla="*/ 474 w 673"/>
                <a:gd name="T5" fmla="*/ 0 h 635"/>
                <a:gd name="T6" fmla="*/ 474 w 673"/>
                <a:gd name="T7" fmla="*/ 0 h 635"/>
                <a:gd name="T8" fmla="*/ 443 w 673"/>
                <a:gd name="T9" fmla="*/ 53 h 635"/>
                <a:gd name="T10" fmla="*/ 351 w 673"/>
                <a:gd name="T11" fmla="*/ 23 h 635"/>
                <a:gd name="T12" fmla="*/ 267 w 673"/>
                <a:gd name="T13" fmla="*/ 99 h 635"/>
                <a:gd name="T14" fmla="*/ 237 w 673"/>
                <a:gd name="T15" fmla="*/ 137 h 635"/>
                <a:gd name="T16" fmla="*/ 237 w 673"/>
                <a:gd name="T17" fmla="*/ 160 h 635"/>
                <a:gd name="T18" fmla="*/ 137 w 673"/>
                <a:gd name="T19" fmla="*/ 198 h 635"/>
                <a:gd name="T20" fmla="*/ 92 w 673"/>
                <a:gd name="T21" fmla="*/ 275 h 635"/>
                <a:gd name="T22" fmla="*/ 0 w 673"/>
                <a:gd name="T23" fmla="*/ 290 h 635"/>
                <a:gd name="T24" fmla="*/ 0 w 673"/>
                <a:gd name="T25" fmla="*/ 290 h 635"/>
                <a:gd name="T26" fmla="*/ 46 w 673"/>
                <a:gd name="T27" fmla="*/ 351 h 635"/>
                <a:gd name="T28" fmla="*/ 160 w 673"/>
                <a:gd name="T29" fmla="*/ 313 h 635"/>
                <a:gd name="T30" fmla="*/ 168 w 673"/>
                <a:gd name="T31" fmla="*/ 343 h 635"/>
                <a:gd name="T32" fmla="*/ 107 w 673"/>
                <a:gd name="T33" fmla="*/ 389 h 635"/>
                <a:gd name="T34" fmla="*/ 130 w 673"/>
                <a:gd name="T35" fmla="*/ 473 h 635"/>
                <a:gd name="T36" fmla="*/ 168 w 673"/>
                <a:gd name="T37" fmla="*/ 512 h 635"/>
                <a:gd name="T38" fmla="*/ 137 w 673"/>
                <a:gd name="T39" fmla="*/ 542 h 635"/>
                <a:gd name="T40" fmla="*/ 122 w 673"/>
                <a:gd name="T41" fmla="*/ 611 h 635"/>
                <a:gd name="T42" fmla="*/ 122 w 673"/>
                <a:gd name="T43" fmla="*/ 611 h 635"/>
                <a:gd name="T44" fmla="*/ 160 w 673"/>
                <a:gd name="T45" fmla="*/ 603 h 635"/>
                <a:gd name="T46" fmla="*/ 222 w 673"/>
                <a:gd name="T47" fmla="*/ 565 h 635"/>
                <a:gd name="T48" fmla="*/ 359 w 673"/>
                <a:gd name="T49" fmla="*/ 534 h 635"/>
                <a:gd name="T50" fmla="*/ 420 w 673"/>
                <a:gd name="T51" fmla="*/ 580 h 635"/>
                <a:gd name="T52" fmla="*/ 542 w 673"/>
                <a:gd name="T53" fmla="*/ 634 h 635"/>
                <a:gd name="T54" fmla="*/ 542 w 673"/>
                <a:gd name="T55" fmla="*/ 634 h 635"/>
                <a:gd name="T56" fmla="*/ 588 w 673"/>
                <a:gd name="T57" fmla="*/ 588 h 635"/>
                <a:gd name="T58" fmla="*/ 603 w 673"/>
                <a:gd name="T59" fmla="*/ 534 h 635"/>
                <a:gd name="T60" fmla="*/ 664 w 673"/>
                <a:gd name="T61" fmla="*/ 504 h 635"/>
                <a:gd name="T62" fmla="*/ 664 w 673"/>
                <a:gd name="T63" fmla="*/ 504 h 635"/>
                <a:gd name="T64" fmla="*/ 626 w 673"/>
                <a:gd name="T65" fmla="*/ 435 h 635"/>
                <a:gd name="T66" fmla="*/ 641 w 673"/>
                <a:gd name="T67" fmla="*/ 374 h 635"/>
                <a:gd name="T68" fmla="*/ 664 w 673"/>
                <a:gd name="T69" fmla="*/ 282 h 635"/>
                <a:gd name="T70" fmla="*/ 596 w 673"/>
                <a:gd name="T71" fmla="*/ 267 h 635"/>
                <a:gd name="T72" fmla="*/ 611 w 673"/>
                <a:gd name="T73" fmla="*/ 183 h 635"/>
                <a:gd name="T74" fmla="*/ 580 w 673"/>
                <a:gd name="T75" fmla="*/ 153 h 635"/>
                <a:gd name="T76" fmla="*/ 596 w 673"/>
                <a:gd name="T77" fmla="*/ 122 h 635"/>
                <a:gd name="T78" fmla="*/ 580 w 673"/>
                <a:gd name="T79" fmla="*/ 91 h 635"/>
                <a:gd name="T80" fmla="*/ 611 w 673"/>
                <a:gd name="T81" fmla="*/ 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3" h="635">
                  <a:moveTo>
                    <a:pt x="611" y="23"/>
                  </a:moveTo>
                  <a:lnTo>
                    <a:pt x="611" y="23"/>
                  </a:lnTo>
                  <a:cubicBezTo>
                    <a:pt x="565" y="23"/>
                    <a:pt x="519" y="15"/>
                    <a:pt x="474" y="0"/>
                  </a:cubicBezTo>
                  <a:lnTo>
                    <a:pt x="474" y="0"/>
                  </a:lnTo>
                  <a:cubicBezTo>
                    <a:pt x="466" y="23"/>
                    <a:pt x="474" y="45"/>
                    <a:pt x="443" y="53"/>
                  </a:cubicBezTo>
                  <a:cubicBezTo>
                    <a:pt x="412" y="61"/>
                    <a:pt x="382" y="15"/>
                    <a:pt x="351" y="23"/>
                  </a:cubicBezTo>
                  <a:cubicBezTo>
                    <a:pt x="313" y="30"/>
                    <a:pt x="298" y="68"/>
                    <a:pt x="267" y="99"/>
                  </a:cubicBezTo>
                  <a:cubicBezTo>
                    <a:pt x="260" y="107"/>
                    <a:pt x="244" y="122"/>
                    <a:pt x="237" y="137"/>
                  </a:cubicBezTo>
                  <a:cubicBezTo>
                    <a:pt x="237" y="145"/>
                    <a:pt x="244" y="160"/>
                    <a:pt x="237" y="160"/>
                  </a:cubicBezTo>
                  <a:cubicBezTo>
                    <a:pt x="206" y="176"/>
                    <a:pt x="168" y="176"/>
                    <a:pt x="137" y="198"/>
                  </a:cubicBezTo>
                  <a:cubicBezTo>
                    <a:pt x="115" y="214"/>
                    <a:pt x="115" y="252"/>
                    <a:pt x="92" y="275"/>
                  </a:cubicBezTo>
                  <a:cubicBezTo>
                    <a:pt x="69" y="290"/>
                    <a:pt x="30" y="282"/>
                    <a:pt x="0" y="290"/>
                  </a:cubicBezTo>
                  <a:lnTo>
                    <a:pt x="0" y="290"/>
                  </a:lnTo>
                  <a:cubicBezTo>
                    <a:pt x="15" y="313"/>
                    <a:pt x="23" y="351"/>
                    <a:pt x="46" y="351"/>
                  </a:cubicBezTo>
                  <a:cubicBezTo>
                    <a:pt x="84" y="359"/>
                    <a:pt x="122" y="320"/>
                    <a:pt x="160" y="313"/>
                  </a:cubicBezTo>
                  <a:cubicBezTo>
                    <a:pt x="168" y="313"/>
                    <a:pt x="176" y="336"/>
                    <a:pt x="168" y="343"/>
                  </a:cubicBezTo>
                  <a:cubicBezTo>
                    <a:pt x="153" y="359"/>
                    <a:pt x="115" y="366"/>
                    <a:pt x="107" y="389"/>
                  </a:cubicBezTo>
                  <a:cubicBezTo>
                    <a:pt x="99" y="412"/>
                    <a:pt x="122" y="443"/>
                    <a:pt x="130" y="473"/>
                  </a:cubicBezTo>
                  <a:cubicBezTo>
                    <a:pt x="137" y="489"/>
                    <a:pt x="160" y="489"/>
                    <a:pt x="168" y="512"/>
                  </a:cubicBezTo>
                  <a:cubicBezTo>
                    <a:pt x="168" y="519"/>
                    <a:pt x="145" y="527"/>
                    <a:pt x="137" y="542"/>
                  </a:cubicBezTo>
                  <a:cubicBezTo>
                    <a:pt x="130" y="565"/>
                    <a:pt x="130" y="588"/>
                    <a:pt x="122" y="611"/>
                  </a:cubicBezTo>
                  <a:lnTo>
                    <a:pt x="122" y="611"/>
                  </a:lnTo>
                  <a:cubicBezTo>
                    <a:pt x="137" y="603"/>
                    <a:pt x="153" y="611"/>
                    <a:pt x="160" y="603"/>
                  </a:cubicBezTo>
                  <a:cubicBezTo>
                    <a:pt x="183" y="595"/>
                    <a:pt x="199" y="573"/>
                    <a:pt x="222" y="565"/>
                  </a:cubicBezTo>
                  <a:cubicBezTo>
                    <a:pt x="267" y="550"/>
                    <a:pt x="313" y="534"/>
                    <a:pt x="359" y="534"/>
                  </a:cubicBezTo>
                  <a:cubicBezTo>
                    <a:pt x="382" y="542"/>
                    <a:pt x="397" y="573"/>
                    <a:pt x="420" y="580"/>
                  </a:cubicBezTo>
                  <a:cubicBezTo>
                    <a:pt x="458" y="603"/>
                    <a:pt x="504" y="618"/>
                    <a:pt x="542" y="634"/>
                  </a:cubicBezTo>
                  <a:lnTo>
                    <a:pt x="542" y="634"/>
                  </a:lnTo>
                  <a:cubicBezTo>
                    <a:pt x="558" y="618"/>
                    <a:pt x="580" y="603"/>
                    <a:pt x="588" y="588"/>
                  </a:cubicBezTo>
                  <a:cubicBezTo>
                    <a:pt x="603" y="573"/>
                    <a:pt x="588" y="550"/>
                    <a:pt x="603" y="534"/>
                  </a:cubicBezTo>
                  <a:cubicBezTo>
                    <a:pt x="619" y="519"/>
                    <a:pt x="641" y="512"/>
                    <a:pt x="664" y="504"/>
                  </a:cubicBezTo>
                  <a:lnTo>
                    <a:pt x="664" y="504"/>
                  </a:lnTo>
                  <a:cubicBezTo>
                    <a:pt x="649" y="481"/>
                    <a:pt x="634" y="458"/>
                    <a:pt x="626" y="435"/>
                  </a:cubicBezTo>
                  <a:cubicBezTo>
                    <a:pt x="626" y="412"/>
                    <a:pt x="634" y="397"/>
                    <a:pt x="641" y="374"/>
                  </a:cubicBezTo>
                  <a:cubicBezTo>
                    <a:pt x="649" y="343"/>
                    <a:pt x="672" y="305"/>
                    <a:pt x="664" y="282"/>
                  </a:cubicBezTo>
                  <a:cubicBezTo>
                    <a:pt x="649" y="259"/>
                    <a:pt x="603" y="282"/>
                    <a:pt x="596" y="267"/>
                  </a:cubicBezTo>
                  <a:cubicBezTo>
                    <a:pt x="580" y="244"/>
                    <a:pt x="611" y="214"/>
                    <a:pt x="611" y="183"/>
                  </a:cubicBezTo>
                  <a:cubicBezTo>
                    <a:pt x="611" y="168"/>
                    <a:pt x="580" y="168"/>
                    <a:pt x="580" y="153"/>
                  </a:cubicBezTo>
                  <a:cubicBezTo>
                    <a:pt x="573" y="145"/>
                    <a:pt x="596" y="137"/>
                    <a:pt x="596" y="122"/>
                  </a:cubicBezTo>
                  <a:cubicBezTo>
                    <a:pt x="596" y="114"/>
                    <a:pt x="580" y="99"/>
                    <a:pt x="580" y="91"/>
                  </a:cubicBezTo>
                  <a:cubicBezTo>
                    <a:pt x="588" y="61"/>
                    <a:pt x="596" y="45"/>
                    <a:pt x="611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3" name="Freeform 135"/>
            <p:cNvSpPr>
              <a:spLocks noChangeArrowheads="1"/>
            </p:cNvSpPr>
            <p:nvPr/>
          </p:nvSpPr>
          <p:spPr bwMode="auto">
            <a:xfrm>
              <a:off x="5603510" y="4651376"/>
              <a:ext cx="280970" cy="295275"/>
            </a:xfrm>
            <a:custGeom>
              <a:avLst/>
              <a:gdLst>
                <a:gd name="T0" fmla="*/ 305 w 780"/>
                <a:gd name="T1" fmla="*/ 0 h 819"/>
                <a:gd name="T2" fmla="*/ 305 w 780"/>
                <a:gd name="T3" fmla="*/ 0 h 819"/>
                <a:gd name="T4" fmla="*/ 297 w 780"/>
                <a:gd name="T5" fmla="*/ 54 h 819"/>
                <a:gd name="T6" fmla="*/ 343 w 780"/>
                <a:gd name="T7" fmla="*/ 69 h 819"/>
                <a:gd name="T8" fmla="*/ 366 w 780"/>
                <a:gd name="T9" fmla="*/ 92 h 819"/>
                <a:gd name="T10" fmla="*/ 358 w 780"/>
                <a:gd name="T11" fmla="*/ 122 h 819"/>
                <a:gd name="T12" fmla="*/ 412 w 780"/>
                <a:gd name="T13" fmla="*/ 130 h 819"/>
                <a:gd name="T14" fmla="*/ 435 w 780"/>
                <a:gd name="T15" fmla="*/ 184 h 819"/>
                <a:gd name="T16" fmla="*/ 550 w 780"/>
                <a:gd name="T17" fmla="*/ 191 h 819"/>
                <a:gd name="T18" fmla="*/ 481 w 780"/>
                <a:gd name="T19" fmla="*/ 253 h 819"/>
                <a:gd name="T20" fmla="*/ 557 w 780"/>
                <a:gd name="T21" fmla="*/ 329 h 819"/>
                <a:gd name="T22" fmla="*/ 580 w 780"/>
                <a:gd name="T23" fmla="*/ 359 h 819"/>
                <a:gd name="T24" fmla="*/ 603 w 780"/>
                <a:gd name="T25" fmla="*/ 367 h 819"/>
                <a:gd name="T26" fmla="*/ 603 w 780"/>
                <a:gd name="T27" fmla="*/ 367 h 819"/>
                <a:gd name="T28" fmla="*/ 649 w 780"/>
                <a:gd name="T29" fmla="*/ 428 h 819"/>
                <a:gd name="T30" fmla="*/ 763 w 780"/>
                <a:gd name="T31" fmla="*/ 390 h 819"/>
                <a:gd name="T32" fmla="*/ 771 w 780"/>
                <a:gd name="T33" fmla="*/ 420 h 819"/>
                <a:gd name="T34" fmla="*/ 710 w 780"/>
                <a:gd name="T35" fmla="*/ 466 h 819"/>
                <a:gd name="T36" fmla="*/ 733 w 780"/>
                <a:gd name="T37" fmla="*/ 550 h 819"/>
                <a:gd name="T38" fmla="*/ 771 w 780"/>
                <a:gd name="T39" fmla="*/ 589 h 819"/>
                <a:gd name="T40" fmla="*/ 740 w 780"/>
                <a:gd name="T41" fmla="*/ 619 h 819"/>
                <a:gd name="T42" fmla="*/ 725 w 780"/>
                <a:gd name="T43" fmla="*/ 688 h 819"/>
                <a:gd name="T44" fmla="*/ 725 w 780"/>
                <a:gd name="T45" fmla="*/ 688 h 819"/>
                <a:gd name="T46" fmla="*/ 588 w 780"/>
                <a:gd name="T47" fmla="*/ 734 h 819"/>
                <a:gd name="T48" fmla="*/ 496 w 780"/>
                <a:gd name="T49" fmla="*/ 757 h 819"/>
                <a:gd name="T50" fmla="*/ 466 w 780"/>
                <a:gd name="T51" fmla="*/ 818 h 819"/>
                <a:gd name="T52" fmla="*/ 427 w 780"/>
                <a:gd name="T53" fmla="*/ 772 h 819"/>
                <a:gd name="T54" fmla="*/ 259 w 780"/>
                <a:gd name="T55" fmla="*/ 634 h 819"/>
                <a:gd name="T56" fmla="*/ 267 w 780"/>
                <a:gd name="T57" fmla="*/ 604 h 819"/>
                <a:gd name="T58" fmla="*/ 160 w 780"/>
                <a:gd name="T59" fmla="*/ 527 h 819"/>
                <a:gd name="T60" fmla="*/ 160 w 780"/>
                <a:gd name="T61" fmla="*/ 527 h 819"/>
                <a:gd name="T62" fmla="*/ 91 w 780"/>
                <a:gd name="T63" fmla="*/ 474 h 819"/>
                <a:gd name="T64" fmla="*/ 68 w 780"/>
                <a:gd name="T65" fmla="*/ 428 h 819"/>
                <a:gd name="T66" fmla="*/ 0 w 780"/>
                <a:gd name="T67" fmla="*/ 413 h 819"/>
                <a:gd name="T68" fmla="*/ 0 w 780"/>
                <a:gd name="T69" fmla="*/ 359 h 819"/>
                <a:gd name="T70" fmla="*/ 0 w 780"/>
                <a:gd name="T71" fmla="*/ 359 h 819"/>
                <a:gd name="T72" fmla="*/ 61 w 780"/>
                <a:gd name="T73" fmla="*/ 352 h 819"/>
                <a:gd name="T74" fmla="*/ 61 w 780"/>
                <a:gd name="T75" fmla="*/ 352 h 819"/>
                <a:gd name="T76" fmla="*/ 38 w 780"/>
                <a:gd name="T77" fmla="*/ 314 h 819"/>
                <a:gd name="T78" fmla="*/ 145 w 780"/>
                <a:gd name="T79" fmla="*/ 321 h 819"/>
                <a:gd name="T80" fmla="*/ 160 w 780"/>
                <a:gd name="T81" fmla="*/ 291 h 819"/>
                <a:gd name="T82" fmla="*/ 244 w 780"/>
                <a:gd name="T83" fmla="*/ 275 h 819"/>
                <a:gd name="T84" fmla="*/ 229 w 780"/>
                <a:gd name="T85" fmla="*/ 222 h 819"/>
                <a:gd name="T86" fmla="*/ 259 w 780"/>
                <a:gd name="T87" fmla="*/ 199 h 819"/>
                <a:gd name="T88" fmla="*/ 252 w 780"/>
                <a:gd name="T89" fmla="*/ 168 h 819"/>
                <a:gd name="T90" fmla="*/ 145 w 780"/>
                <a:gd name="T91" fmla="*/ 214 h 819"/>
                <a:gd name="T92" fmla="*/ 160 w 780"/>
                <a:gd name="T93" fmla="*/ 176 h 819"/>
                <a:gd name="T94" fmla="*/ 152 w 780"/>
                <a:gd name="T95" fmla="*/ 138 h 819"/>
                <a:gd name="T96" fmla="*/ 114 w 780"/>
                <a:gd name="T97" fmla="*/ 84 h 819"/>
                <a:gd name="T98" fmla="*/ 106 w 780"/>
                <a:gd name="T99" fmla="*/ 54 h 819"/>
                <a:gd name="T100" fmla="*/ 106 w 780"/>
                <a:gd name="T101" fmla="*/ 54 h 819"/>
                <a:gd name="T102" fmla="*/ 175 w 780"/>
                <a:gd name="T103" fmla="*/ 31 h 819"/>
                <a:gd name="T104" fmla="*/ 191 w 780"/>
                <a:gd name="T105" fmla="*/ 8 h 819"/>
                <a:gd name="T106" fmla="*/ 305 w 780"/>
                <a:gd name="T107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80" h="819">
                  <a:moveTo>
                    <a:pt x="305" y="0"/>
                  </a:moveTo>
                  <a:lnTo>
                    <a:pt x="305" y="0"/>
                  </a:lnTo>
                  <a:cubicBezTo>
                    <a:pt x="305" y="23"/>
                    <a:pt x="290" y="39"/>
                    <a:pt x="297" y="54"/>
                  </a:cubicBezTo>
                  <a:cubicBezTo>
                    <a:pt x="305" y="69"/>
                    <a:pt x="328" y="54"/>
                    <a:pt x="343" y="69"/>
                  </a:cubicBezTo>
                  <a:cubicBezTo>
                    <a:pt x="358" y="69"/>
                    <a:pt x="366" y="84"/>
                    <a:pt x="366" y="92"/>
                  </a:cubicBezTo>
                  <a:cubicBezTo>
                    <a:pt x="366" y="107"/>
                    <a:pt x="351" y="122"/>
                    <a:pt x="358" y="122"/>
                  </a:cubicBezTo>
                  <a:cubicBezTo>
                    <a:pt x="374" y="138"/>
                    <a:pt x="397" y="115"/>
                    <a:pt x="412" y="130"/>
                  </a:cubicBezTo>
                  <a:cubicBezTo>
                    <a:pt x="427" y="138"/>
                    <a:pt x="412" y="176"/>
                    <a:pt x="435" y="184"/>
                  </a:cubicBezTo>
                  <a:cubicBezTo>
                    <a:pt x="466" y="199"/>
                    <a:pt x="527" y="161"/>
                    <a:pt x="550" y="191"/>
                  </a:cubicBezTo>
                  <a:cubicBezTo>
                    <a:pt x="565" y="214"/>
                    <a:pt x="473" y="222"/>
                    <a:pt x="481" y="253"/>
                  </a:cubicBezTo>
                  <a:cubicBezTo>
                    <a:pt x="481" y="291"/>
                    <a:pt x="534" y="298"/>
                    <a:pt x="557" y="329"/>
                  </a:cubicBezTo>
                  <a:cubicBezTo>
                    <a:pt x="572" y="336"/>
                    <a:pt x="572" y="352"/>
                    <a:pt x="580" y="359"/>
                  </a:cubicBezTo>
                  <a:cubicBezTo>
                    <a:pt x="588" y="367"/>
                    <a:pt x="595" y="367"/>
                    <a:pt x="603" y="367"/>
                  </a:cubicBezTo>
                  <a:lnTo>
                    <a:pt x="603" y="367"/>
                  </a:lnTo>
                  <a:cubicBezTo>
                    <a:pt x="618" y="390"/>
                    <a:pt x="626" y="428"/>
                    <a:pt x="649" y="428"/>
                  </a:cubicBezTo>
                  <a:cubicBezTo>
                    <a:pt x="687" y="436"/>
                    <a:pt x="725" y="397"/>
                    <a:pt x="763" y="390"/>
                  </a:cubicBezTo>
                  <a:cubicBezTo>
                    <a:pt x="771" y="390"/>
                    <a:pt x="779" y="413"/>
                    <a:pt x="771" y="420"/>
                  </a:cubicBezTo>
                  <a:cubicBezTo>
                    <a:pt x="756" y="436"/>
                    <a:pt x="718" y="443"/>
                    <a:pt x="710" y="466"/>
                  </a:cubicBezTo>
                  <a:cubicBezTo>
                    <a:pt x="702" y="489"/>
                    <a:pt x="725" y="520"/>
                    <a:pt x="733" y="550"/>
                  </a:cubicBezTo>
                  <a:cubicBezTo>
                    <a:pt x="740" y="566"/>
                    <a:pt x="763" y="566"/>
                    <a:pt x="771" y="589"/>
                  </a:cubicBezTo>
                  <a:cubicBezTo>
                    <a:pt x="771" y="596"/>
                    <a:pt x="748" y="604"/>
                    <a:pt x="740" y="619"/>
                  </a:cubicBezTo>
                  <a:cubicBezTo>
                    <a:pt x="733" y="642"/>
                    <a:pt x="733" y="665"/>
                    <a:pt x="725" y="688"/>
                  </a:cubicBezTo>
                  <a:lnTo>
                    <a:pt x="725" y="688"/>
                  </a:lnTo>
                  <a:cubicBezTo>
                    <a:pt x="679" y="703"/>
                    <a:pt x="633" y="718"/>
                    <a:pt x="588" y="734"/>
                  </a:cubicBezTo>
                  <a:cubicBezTo>
                    <a:pt x="557" y="741"/>
                    <a:pt x="527" y="734"/>
                    <a:pt x="496" y="757"/>
                  </a:cubicBezTo>
                  <a:cubicBezTo>
                    <a:pt x="481" y="764"/>
                    <a:pt x="488" y="810"/>
                    <a:pt x="466" y="818"/>
                  </a:cubicBezTo>
                  <a:cubicBezTo>
                    <a:pt x="443" y="818"/>
                    <a:pt x="443" y="780"/>
                    <a:pt x="427" y="772"/>
                  </a:cubicBezTo>
                  <a:cubicBezTo>
                    <a:pt x="374" y="718"/>
                    <a:pt x="313" y="688"/>
                    <a:pt x="259" y="634"/>
                  </a:cubicBezTo>
                  <a:cubicBezTo>
                    <a:pt x="252" y="627"/>
                    <a:pt x="275" y="611"/>
                    <a:pt x="267" y="604"/>
                  </a:cubicBezTo>
                  <a:cubicBezTo>
                    <a:pt x="236" y="573"/>
                    <a:pt x="198" y="558"/>
                    <a:pt x="160" y="527"/>
                  </a:cubicBezTo>
                  <a:lnTo>
                    <a:pt x="160" y="527"/>
                  </a:lnTo>
                  <a:cubicBezTo>
                    <a:pt x="91" y="474"/>
                    <a:pt x="91" y="474"/>
                    <a:pt x="91" y="474"/>
                  </a:cubicBezTo>
                  <a:cubicBezTo>
                    <a:pt x="68" y="428"/>
                    <a:pt x="68" y="428"/>
                    <a:pt x="68" y="428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359"/>
                    <a:pt x="0" y="359"/>
                    <a:pt x="0" y="359"/>
                  </a:cubicBezTo>
                  <a:lnTo>
                    <a:pt x="0" y="359"/>
                  </a:lnTo>
                  <a:cubicBezTo>
                    <a:pt x="22" y="359"/>
                    <a:pt x="45" y="352"/>
                    <a:pt x="61" y="352"/>
                  </a:cubicBezTo>
                  <a:lnTo>
                    <a:pt x="61" y="352"/>
                  </a:lnTo>
                  <a:cubicBezTo>
                    <a:pt x="53" y="336"/>
                    <a:pt x="22" y="314"/>
                    <a:pt x="38" y="314"/>
                  </a:cubicBezTo>
                  <a:cubicBezTo>
                    <a:pt x="76" y="298"/>
                    <a:pt x="114" y="329"/>
                    <a:pt x="145" y="321"/>
                  </a:cubicBezTo>
                  <a:cubicBezTo>
                    <a:pt x="160" y="321"/>
                    <a:pt x="152" y="298"/>
                    <a:pt x="160" y="291"/>
                  </a:cubicBezTo>
                  <a:cubicBezTo>
                    <a:pt x="183" y="283"/>
                    <a:pt x="221" y="298"/>
                    <a:pt x="244" y="275"/>
                  </a:cubicBezTo>
                  <a:cubicBezTo>
                    <a:pt x="259" y="268"/>
                    <a:pt x="229" y="245"/>
                    <a:pt x="229" y="222"/>
                  </a:cubicBezTo>
                  <a:cubicBezTo>
                    <a:pt x="236" y="214"/>
                    <a:pt x="252" y="207"/>
                    <a:pt x="259" y="199"/>
                  </a:cubicBezTo>
                  <a:cubicBezTo>
                    <a:pt x="259" y="184"/>
                    <a:pt x="259" y="161"/>
                    <a:pt x="252" y="168"/>
                  </a:cubicBezTo>
                  <a:cubicBezTo>
                    <a:pt x="214" y="168"/>
                    <a:pt x="183" y="207"/>
                    <a:pt x="145" y="214"/>
                  </a:cubicBezTo>
                  <a:cubicBezTo>
                    <a:pt x="137" y="214"/>
                    <a:pt x="160" y="191"/>
                    <a:pt x="160" y="176"/>
                  </a:cubicBezTo>
                  <a:cubicBezTo>
                    <a:pt x="160" y="161"/>
                    <a:pt x="160" y="145"/>
                    <a:pt x="152" y="138"/>
                  </a:cubicBezTo>
                  <a:cubicBezTo>
                    <a:pt x="145" y="115"/>
                    <a:pt x="122" y="107"/>
                    <a:pt x="114" y="84"/>
                  </a:cubicBezTo>
                  <a:cubicBezTo>
                    <a:pt x="106" y="77"/>
                    <a:pt x="106" y="69"/>
                    <a:pt x="106" y="54"/>
                  </a:cubicBezTo>
                  <a:lnTo>
                    <a:pt x="106" y="54"/>
                  </a:lnTo>
                  <a:cubicBezTo>
                    <a:pt x="129" y="46"/>
                    <a:pt x="152" y="46"/>
                    <a:pt x="175" y="31"/>
                  </a:cubicBezTo>
                  <a:cubicBezTo>
                    <a:pt x="183" y="31"/>
                    <a:pt x="183" y="8"/>
                    <a:pt x="191" y="8"/>
                  </a:cubicBezTo>
                  <a:cubicBezTo>
                    <a:pt x="229" y="0"/>
                    <a:pt x="267" y="8"/>
                    <a:pt x="305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4" name="Freeform 136"/>
            <p:cNvSpPr>
              <a:spLocks noChangeArrowheads="1"/>
            </p:cNvSpPr>
            <p:nvPr/>
          </p:nvSpPr>
          <p:spPr bwMode="auto">
            <a:xfrm>
              <a:off x="5363814" y="4598988"/>
              <a:ext cx="150802" cy="190500"/>
            </a:xfrm>
            <a:custGeom>
              <a:avLst/>
              <a:gdLst>
                <a:gd name="T0" fmla="*/ 84 w 421"/>
                <a:gd name="T1" fmla="*/ 0 h 528"/>
                <a:gd name="T2" fmla="*/ 84 w 421"/>
                <a:gd name="T3" fmla="*/ 0 h 528"/>
                <a:gd name="T4" fmla="*/ 160 w 421"/>
                <a:gd name="T5" fmla="*/ 23 h 528"/>
                <a:gd name="T6" fmla="*/ 191 w 421"/>
                <a:gd name="T7" fmla="*/ 23 h 528"/>
                <a:gd name="T8" fmla="*/ 222 w 421"/>
                <a:gd name="T9" fmla="*/ 46 h 528"/>
                <a:gd name="T10" fmla="*/ 275 w 421"/>
                <a:gd name="T11" fmla="*/ 61 h 528"/>
                <a:gd name="T12" fmla="*/ 237 w 421"/>
                <a:gd name="T13" fmla="*/ 84 h 528"/>
                <a:gd name="T14" fmla="*/ 267 w 421"/>
                <a:gd name="T15" fmla="*/ 206 h 528"/>
                <a:gd name="T16" fmla="*/ 298 w 421"/>
                <a:gd name="T17" fmla="*/ 206 h 528"/>
                <a:gd name="T18" fmla="*/ 344 w 421"/>
                <a:gd name="T19" fmla="*/ 283 h 528"/>
                <a:gd name="T20" fmla="*/ 374 w 421"/>
                <a:gd name="T21" fmla="*/ 298 h 528"/>
                <a:gd name="T22" fmla="*/ 374 w 421"/>
                <a:gd name="T23" fmla="*/ 298 h 528"/>
                <a:gd name="T24" fmla="*/ 405 w 421"/>
                <a:gd name="T25" fmla="*/ 359 h 528"/>
                <a:gd name="T26" fmla="*/ 412 w 421"/>
                <a:gd name="T27" fmla="*/ 436 h 528"/>
                <a:gd name="T28" fmla="*/ 412 w 421"/>
                <a:gd name="T29" fmla="*/ 436 h 528"/>
                <a:gd name="T30" fmla="*/ 420 w 421"/>
                <a:gd name="T31" fmla="*/ 497 h 528"/>
                <a:gd name="T32" fmla="*/ 397 w 421"/>
                <a:gd name="T33" fmla="*/ 527 h 528"/>
                <a:gd name="T34" fmla="*/ 397 w 421"/>
                <a:gd name="T35" fmla="*/ 527 h 528"/>
                <a:gd name="T36" fmla="*/ 329 w 421"/>
                <a:gd name="T37" fmla="*/ 481 h 528"/>
                <a:gd name="T38" fmla="*/ 252 w 421"/>
                <a:gd name="T39" fmla="*/ 413 h 528"/>
                <a:gd name="T40" fmla="*/ 23 w 421"/>
                <a:gd name="T41" fmla="*/ 390 h 528"/>
                <a:gd name="T42" fmla="*/ 23 w 421"/>
                <a:gd name="T43" fmla="*/ 390 h 528"/>
                <a:gd name="T44" fmla="*/ 61 w 421"/>
                <a:gd name="T45" fmla="*/ 321 h 528"/>
                <a:gd name="T46" fmla="*/ 54 w 421"/>
                <a:gd name="T47" fmla="*/ 267 h 528"/>
                <a:gd name="T48" fmla="*/ 0 w 421"/>
                <a:gd name="T49" fmla="*/ 206 h 528"/>
                <a:gd name="T50" fmla="*/ 54 w 421"/>
                <a:gd name="T51" fmla="*/ 199 h 528"/>
                <a:gd name="T52" fmla="*/ 84 w 421"/>
                <a:gd name="T53" fmla="*/ 161 h 528"/>
                <a:gd name="T54" fmla="*/ 61 w 421"/>
                <a:gd name="T55" fmla="*/ 92 h 528"/>
                <a:gd name="T56" fmla="*/ 84 w 421"/>
                <a:gd name="T5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1" h="528">
                  <a:moveTo>
                    <a:pt x="84" y="0"/>
                  </a:moveTo>
                  <a:lnTo>
                    <a:pt x="84" y="0"/>
                  </a:lnTo>
                  <a:cubicBezTo>
                    <a:pt x="107" y="8"/>
                    <a:pt x="130" y="15"/>
                    <a:pt x="160" y="23"/>
                  </a:cubicBezTo>
                  <a:cubicBezTo>
                    <a:pt x="168" y="23"/>
                    <a:pt x="183" y="15"/>
                    <a:pt x="191" y="23"/>
                  </a:cubicBezTo>
                  <a:cubicBezTo>
                    <a:pt x="206" y="23"/>
                    <a:pt x="206" y="38"/>
                    <a:pt x="222" y="46"/>
                  </a:cubicBezTo>
                  <a:cubicBezTo>
                    <a:pt x="237" y="54"/>
                    <a:pt x="267" y="38"/>
                    <a:pt x="275" y="61"/>
                  </a:cubicBezTo>
                  <a:cubicBezTo>
                    <a:pt x="283" y="69"/>
                    <a:pt x="244" y="69"/>
                    <a:pt x="237" y="84"/>
                  </a:cubicBezTo>
                  <a:cubicBezTo>
                    <a:pt x="237" y="130"/>
                    <a:pt x="252" y="168"/>
                    <a:pt x="267" y="206"/>
                  </a:cubicBezTo>
                  <a:cubicBezTo>
                    <a:pt x="275" y="214"/>
                    <a:pt x="290" y="199"/>
                    <a:pt x="298" y="206"/>
                  </a:cubicBezTo>
                  <a:cubicBezTo>
                    <a:pt x="321" y="229"/>
                    <a:pt x="321" y="260"/>
                    <a:pt x="344" y="283"/>
                  </a:cubicBezTo>
                  <a:cubicBezTo>
                    <a:pt x="351" y="290"/>
                    <a:pt x="367" y="290"/>
                    <a:pt x="374" y="298"/>
                  </a:cubicBezTo>
                  <a:lnTo>
                    <a:pt x="374" y="298"/>
                  </a:lnTo>
                  <a:cubicBezTo>
                    <a:pt x="405" y="359"/>
                    <a:pt x="405" y="359"/>
                    <a:pt x="405" y="359"/>
                  </a:cubicBezTo>
                  <a:cubicBezTo>
                    <a:pt x="412" y="436"/>
                    <a:pt x="412" y="436"/>
                    <a:pt x="412" y="436"/>
                  </a:cubicBezTo>
                  <a:lnTo>
                    <a:pt x="412" y="436"/>
                  </a:lnTo>
                  <a:cubicBezTo>
                    <a:pt x="412" y="459"/>
                    <a:pt x="420" y="474"/>
                    <a:pt x="420" y="497"/>
                  </a:cubicBezTo>
                  <a:cubicBezTo>
                    <a:pt x="420" y="504"/>
                    <a:pt x="405" y="512"/>
                    <a:pt x="397" y="527"/>
                  </a:cubicBezTo>
                  <a:lnTo>
                    <a:pt x="397" y="527"/>
                  </a:lnTo>
                  <a:cubicBezTo>
                    <a:pt x="374" y="512"/>
                    <a:pt x="351" y="497"/>
                    <a:pt x="329" y="481"/>
                  </a:cubicBezTo>
                  <a:cubicBezTo>
                    <a:pt x="298" y="459"/>
                    <a:pt x="283" y="428"/>
                    <a:pt x="252" y="413"/>
                  </a:cubicBezTo>
                  <a:cubicBezTo>
                    <a:pt x="176" y="390"/>
                    <a:pt x="99" y="398"/>
                    <a:pt x="23" y="390"/>
                  </a:cubicBezTo>
                  <a:lnTo>
                    <a:pt x="23" y="390"/>
                  </a:lnTo>
                  <a:cubicBezTo>
                    <a:pt x="38" y="367"/>
                    <a:pt x="61" y="344"/>
                    <a:pt x="61" y="321"/>
                  </a:cubicBezTo>
                  <a:cubicBezTo>
                    <a:pt x="69" y="306"/>
                    <a:pt x="61" y="283"/>
                    <a:pt x="54" y="267"/>
                  </a:cubicBezTo>
                  <a:cubicBezTo>
                    <a:pt x="38" y="245"/>
                    <a:pt x="0" y="229"/>
                    <a:pt x="0" y="206"/>
                  </a:cubicBezTo>
                  <a:cubicBezTo>
                    <a:pt x="0" y="191"/>
                    <a:pt x="38" y="206"/>
                    <a:pt x="54" y="199"/>
                  </a:cubicBezTo>
                  <a:cubicBezTo>
                    <a:pt x="69" y="191"/>
                    <a:pt x="84" y="176"/>
                    <a:pt x="84" y="161"/>
                  </a:cubicBezTo>
                  <a:cubicBezTo>
                    <a:pt x="92" y="138"/>
                    <a:pt x="69" y="115"/>
                    <a:pt x="61" y="92"/>
                  </a:cubicBezTo>
                  <a:cubicBezTo>
                    <a:pt x="61" y="61"/>
                    <a:pt x="76" y="31"/>
                    <a:pt x="8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5" name="Freeform 137"/>
            <p:cNvSpPr>
              <a:spLocks noChangeArrowheads="1"/>
            </p:cNvSpPr>
            <p:nvPr/>
          </p:nvSpPr>
          <p:spPr bwMode="auto">
            <a:xfrm>
              <a:off x="5506680" y="4748214"/>
              <a:ext cx="153977" cy="142875"/>
            </a:xfrm>
            <a:custGeom>
              <a:avLst/>
              <a:gdLst>
                <a:gd name="T0" fmla="*/ 15 w 429"/>
                <a:gd name="T1" fmla="*/ 23 h 398"/>
                <a:gd name="T2" fmla="*/ 15 w 429"/>
                <a:gd name="T3" fmla="*/ 23 h 398"/>
                <a:gd name="T4" fmla="*/ 69 w 429"/>
                <a:gd name="T5" fmla="*/ 38 h 398"/>
                <a:gd name="T6" fmla="*/ 69 w 429"/>
                <a:gd name="T7" fmla="*/ 68 h 398"/>
                <a:gd name="T8" fmla="*/ 92 w 429"/>
                <a:gd name="T9" fmla="*/ 76 h 398"/>
                <a:gd name="T10" fmla="*/ 145 w 429"/>
                <a:gd name="T11" fmla="*/ 53 h 398"/>
                <a:gd name="T12" fmla="*/ 153 w 429"/>
                <a:gd name="T13" fmla="*/ 7 h 398"/>
                <a:gd name="T14" fmla="*/ 176 w 429"/>
                <a:gd name="T15" fmla="*/ 7 h 398"/>
                <a:gd name="T16" fmla="*/ 222 w 429"/>
                <a:gd name="T17" fmla="*/ 68 h 398"/>
                <a:gd name="T18" fmla="*/ 237 w 429"/>
                <a:gd name="T19" fmla="*/ 91 h 398"/>
                <a:gd name="T20" fmla="*/ 268 w 429"/>
                <a:gd name="T21" fmla="*/ 91 h 398"/>
                <a:gd name="T22" fmla="*/ 268 w 429"/>
                <a:gd name="T23" fmla="*/ 91 h 398"/>
                <a:gd name="T24" fmla="*/ 268 w 429"/>
                <a:gd name="T25" fmla="*/ 145 h 398"/>
                <a:gd name="T26" fmla="*/ 336 w 429"/>
                <a:gd name="T27" fmla="*/ 160 h 398"/>
                <a:gd name="T28" fmla="*/ 359 w 429"/>
                <a:gd name="T29" fmla="*/ 206 h 398"/>
                <a:gd name="T30" fmla="*/ 428 w 429"/>
                <a:gd name="T31" fmla="*/ 259 h 398"/>
                <a:gd name="T32" fmla="*/ 428 w 429"/>
                <a:gd name="T33" fmla="*/ 267 h 398"/>
                <a:gd name="T34" fmla="*/ 405 w 429"/>
                <a:gd name="T35" fmla="*/ 298 h 398"/>
                <a:gd name="T36" fmla="*/ 336 w 429"/>
                <a:gd name="T37" fmla="*/ 290 h 398"/>
                <a:gd name="T38" fmla="*/ 306 w 429"/>
                <a:gd name="T39" fmla="*/ 252 h 398"/>
                <a:gd name="T40" fmla="*/ 245 w 429"/>
                <a:gd name="T41" fmla="*/ 252 h 398"/>
                <a:gd name="T42" fmla="*/ 237 w 429"/>
                <a:gd name="T43" fmla="*/ 298 h 398"/>
                <a:gd name="T44" fmla="*/ 275 w 429"/>
                <a:gd name="T45" fmla="*/ 359 h 398"/>
                <a:gd name="T46" fmla="*/ 214 w 429"/>
                <a:gd name="T47" fmla="*/ 397 h 398"/>
                <a:gd name="T48" fmla="*/ 214 w 429"/>
                <a:gd name="T49" fmla="*/ 397 h 398"/>
                <a:gd name="T50" fmla="*/ 184 w 429"/>
                <a:gd name="T51" fmla="*/ 389 h 398"/>
                <a:gd name="T52" fmla="*/ 168 w 429"/>
                <a:gd name="T53" fmla="*/ 328 h 398"/>
                <a:gd name="T54" fmla="*/ 107 w 429"/>
                <a:gd name="T55" fmla="*/ 328 h 398"/>
                <a:gd name="T56" fmla="*/ 69 w 429"/>
                <a:gd name="T57" fmla="*/ 374 h 398"/>
                <a:gd name="T58" fmla="*/ 23 w 429"/>
                <a:gd name="T59" fmla="*/ 374 h 398"/>
                <a:gd name="T60" fmla="*/ 15 w 429"/>
                <a:gd name="T61" fmla="*/ 298 h 398"/>
                <a:gd name="T62" fmla="*/ 15 w 429"/>
                <a:gd name="T63" fmla="*/ 298 h 398"/>
                <a:gd name="T64" fmla="*/ 23 w 429"/>
                <a:gd name="T65" fmla="*/ 229 h 398"/>
                <a:gd name="T66" fmla="*/ 15 w 429"/>
                <a:gd name="T67" fmla="*/ 206 h 398"/>
                <a:gd name="T68" fmla="*/ 38 w 429"/>
                <a:gd name="T69" fmla="*/ 191 h 398"/>
                <a:gd name="T70" fmla="*/ 31 w 429"/>
                <a:gd name="T71" fmla="*/ 145 h 398"/>
                <a:gd name="T72" fmla="*/ 0 w 429"/>
                <a:gd name="T73" fmla="*/ 114 h 398"/>
                <a:gd name="T74" fmla="*/ 0 w 429"/>
                <a:gd name="T75" fmla="*/ 114 h 398"/>
                <a:gd name="T76" fmla="*/ 23 w 429"/>
                <a:gd name="T77" fmla="*/ 84 h 398"/>
                <a:gd name="T78" fmla="*/ 15 w 429"/>
                <a:gd name="T79" fmla="*/ 2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" h="398">
                  <a:moveTo>
                    <a:pt x="15" y="23"/>
                  </a:moveTo>
                  <a:lnTo>
                    <a:pt x="15" y="23"/>
                  </a:lnTo>
                  <a:cubicBezTo>
                    <a:pt x="31" y="30"/>
                    <a:pt x="54" y="23"/>
                    <a:pt x="69" y="38"/>
                  </a:cubicBezTo>
                  <a:cubicBezTo>
                    <a:pt x="77" y="38"/>
                    <a:pt x="61" y="53"/>
                    <a:pt x="69" y="68"/>
                  </a:cubicBezTo>
                  <a:cubicBezTo>
                    <a:pt x="69" y="76"/>
                    <a:pt x="84" y="76"/>
                    <a:pt x="92" y="76"/>
                  </a:cubicBezTo>
                  <a:cubicBezTo>
                    <a:pt x="115" y="76"/>
                    <a:pt x="138" y="68"/>
                    <a:pt x="145" y="53"/>
                  </a:cubicBezTo>
                  <a:cubicBezTo>
                    <a:pt x="153" y="46"/>
                    <a:pt x="138" y="23"/>
                    <a:pt x="153" y="7"/>
                  </a:cubicBezTo>
                  <a:cubicBezTo>
                    <a:pt x="153" y="0"/>
                    <a:pt x="168" y="0"/>
                    <a:pt x="176" y="7"/>
                  </a:cubicBezTo>
                  <a:cubicBezTo>
                    <a:pt x="199" y="23"/>
                    <a:pt x="207" y="46"/>
                    <a:pt x="222" y="68"/>
                  </a:cubicBezTo>
                  <a:cubicBezTo>
                    <a:pt x="229" y="76"/>
                    <a:pt x="229" y="91"/>
                    <a:pt x="237" y="91"/>
                  </a:cubicBezTo>
                  <a:cubicBezTo>
                    <a:pt x="245" y="91"/>
                    <a:pt x="260" y="91"/>
                    <a:pt x="268" y="91"/>
                  </a:cubicBezTo>
                  <a:lnTo>
                    <a:pt x="268" y="91"/>
                  </a:lnTo>
                  <a:cubicBezTo>
                    <a:pt x="268" y="145"/>
                    <a:pt x="268" y="145"/>
                    <a:pt x="268" y="145"/>
                  </a:cubicBezTo>
                  <a:cubicBezTo>
                    <a:pt x="336" y="160"/>
                    <a:pt x="336" y="160"/>
                    <a:pt x="336" y="160"/>
                  </a:cubicBezTo>
                  <a:cubicBezTo>
                    <a:pt x="359" y="206"/>
                    <a:pt x="359" y="206"/>
                    <a:pt x="359" y="206"/>
                  </a:cubicBezTo>
                  <a:cubicBezTo>
                    <a:pt x="428" y="259"/>
                    <a:pt x="428" y="259"/>
                    <a:pt x="428" y="259"/>
                  </a:cubicBezTo>
                  <a:cubicBezTo>
                    <a:pt x="428" y="267"/>
                    <a:pt x="428" y="267"/>
                    <a:pt x="428" y="267"/>
                  </a:cubicBezTo>
                  <a:cubicBezTo>
                    <a:pt x="420" y="275"/>
                    <a:pt x="413" y="290"/>
                    <a:pt x="405" y="298"/>
                  </a:cubicBezTo>
                  <a:cubicBezTo>
                    <a:pt x="382" y="305"/>
                    <a:pt x="359" y="305"/>
                    <a:pt x="336" y="290"/>
                  </a:cubicBezTo>
                  <a:cubicBezTo>
                    <a:pt x="321" y="290"/>
                    <a:pt x="321" y="259"/>
                    <a:pt x="306" y="252"/>
                  </a:cubicBezTo>
                  <a:cubicBezTo>
                    <a:pt x="290" y="244"/>
                    <a:pt x="268" y="244"/>
                    <a:pt x="245" y="252"/>
                  </a:cubicBezTo>
                  <a:cubicBezTo>
                    <a:pt x="237" y="259"/>
                    <a:pt x="229" y="282"/>
                    <a:pt x="237" y="298"/>
                  </a:cubicBezTo>
                  <a:cubicBezTo>
                    <a:pt x="245" y="321"/>
                    <a:pt x="283" y="336"/>
                    <a:pt x="275" y="359"/>
                  </a:cubicBezTo>
                  <a:cubicBezTo>
                    <a:pt x="268" y="382"/>
                    <a:pt x="237" y="389"/>
                    <a:pt x="214" y="397"/>
                  </a:cubicBezTo>
                  <a:lnTo>
                    <a:pt x="214" y="397"/>
                  </a:lnTo>
                  <a:cubicBezTo>
                    <a:pt x="207" y="397"/>
                    <a:pt x="191" y="397"/>
                    <a:pt x="184" y="389"/>
                  </a:cubicBezTo>
                  <a:cubicBezTo>
                    <a:pt x="176" y="374"/>
                    <a:pt x="191" y="336"/>
                    <a:pt x="168" y="328"/>
                  </a:cubicBezTo>
                  <a:cubicBezTo>
                    <a:pt x="153" y="313"/>
                    <a:pt x="122" y="321"/>
                    <a:pt x="107" y="328"/>
                  </a:cubicBezTo>
                  <a:cubicBezTo>
                    <a:pt x="84" y="336"/>
                    <a:pt x="84" y="366"/>
                    <a:pt x="69" y="374"/>
                  </a:cubicBezTo>
                  <a:cubicBezTo>
                    <a:pt x="54" y="382"/>
                    <a:pt x="31" y="382"/>
                    <a:pt x="23" y="374"/>
                  </a:cubicBezTo>
                  <a:cubicBezTo>
                    <a:pt x="8" y="351"/>
                    <a:pt x="15" y="321"/>
                    <a:pt x="15" y="298"/>
                  </a:cubicBezTo>
                  <a:lnTo>
                    <a:pt x="15" y="298"/>
                  </a:lnTo>
                  <a:cubicBezTo>
                    <a:pt x="15" y="275"/>
                    <a:pt x="23" y="252"/>
                    <a:pt x="23" y="229"/>
                  </a:cubicBezTo>
                  <a:cubicBezTo>
                    <a:pt x="23" y="221"/>
                    <a:pt x="15" y="214"/>
                    <a:pt x="15" y="206"/>
                  </a:cubicBezTo>
                  <a:cubicBezTo>
                    <a:pt x="15" y="198"/>
                    <a:pt x="31" y="198"/>
                    <a:pt x="38" y="191"/>
                  </a:cubicBezTo>
                  <a:cubicBezTo>
                    <a:pt x="38" y="175"/>
                    <a:pt x="38" y="160"/>
                    <a:pt x="31" y="145"/>
                  </a:cubicBezTo>
                  <a:cubicBezTo>
                    <a:pt x="23" y="129"/>
                    <a:pt x="8" y="122"/>
                    <a:pt x="0" y="114"/>
                  </a:cubicBezTo>
                  <a:lnTo>
                    <a:pt x="0" y="114"/>
                  </a:lnTo>
                  <a:cubicBezTo>
                    <a:pt x="8" y="99"/>
                    <a:pt x="23" y="91"/>
                    <a:pt x="23" y="84"/>
                  </a:cubicBezTo>
                  <a:cubicBezTo>
                    <a:pt x="23" y="61"/>
                    <a:pt x="15" y="46"/>
                    <a:pt x="15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6" name="Freeform 138"/>
            <p:cNvSpPr>
              <a:spLocks noChangeArrowheads="1"/>
            </p:cNvSpPr>
            <p:nvPr/>
          </p:nvSpPr>
          <p:spPr bwMode="auto">
            <a:xfrm>
              <a:off x="5498742" y="4651376"/>
              <a:ext cx="198425" cy="131763"/>
            </a:xfrm>
            <a:custGeom>
              <a:avLst/>
              <a:gdLst>
                <a:gd name="T0" fmla="*/ 352 w 551"/>
                <a:gd name="T1" fmla="*/ 352 h 368"/>
                <a:gd name="T2" fmla="*/ 352 w 551"/>
                <a:gd name="T3" fmla="*/ 352 h 368"/>
                <a:gd name="T4" fmla="*/ 329 w 551"/>
                <a:gd name="T5" fmla="*/ 314 h 368"/>
                <a:gd name="T6" fmla="*/ 436 w 551"/>
                <a:gd name="T7" fmla="*/ 321 h 368"/>
                <a:gd name="T8" fmla="*/ 451 w 551"/>
                <a:gd name="T9" fmla="*/ 291 h 368"/>
                <a:gd name="T10" fmla="*/ 535 w 551"/>
                <a:gd name="T11" fmla="*/ 275 h 368"/>
                <a:gd name="T12" fmla="*/ 520 w 551"/>
                <a:gd name="T13" fmla="*/ 222 h 368"/>
                <a:gd name="T14" fmla="*/ 550 w 551"/>
                <a:gd name="T15" fmla="*/ 199 h 368"/>
                <a:gd name="T16" fmla="*/ 543 w 551"/>
                <a:gd name="T17" fmla="*/ 168 h 368"/>
                <a:gd name="T18" fmla="*/ 436 w 551"/>
                <a:gd name="T19" fmla="*/ 214 h 368"/>
                <a:gd name="T20" fmla="*/ 451 w 551"/>
                <a:gd name="T21" fmla="*/ 176 h 368"/>
                <a:gd name="T22" fmla="*/ 443 w 551"/>
                <a:gd name="T23" fmla="*/ 138 h 368"/>
                <a:gd name="T24" fmla="*/ 405 w 551"/>
                <a:gd name="T25" fmla="*/ 84 h 368"/>
                <a:gd name="T26" fmla="*/ 397 w 551"/>
                <a:gd name="T27" fmla="*/ 54 h 368"/>
                <a:gd name="T28" fmla="*/ 397 w 551"/>
                <a:gd name="T29" fmla="*/ 54 h 368"/>
                <a:gd name="T30" fmla="*/ 382 w 551"/>
                <a:gd name="T31" fmla="*/ 0 h 368"/>
                <a:gd name="T32" fmla="*/ 329 w 551"/>
                <a:gd name="T33" fmla="*/ 46 h 368"/>
                <a:gd name="T34" fmla="*/ 291 w 551"/>
                <a:gd name="T35" fmla="*/ 23 h 368"/>
                <a:gd name="T36" fmla="*/ 245 w 551"/>
                <a:gd name="T37" fmla="*/ 23 h 368"/>
                <a:gd name="T38" fmla="*/ 191 w 551"/>
                <a:gd name="T39" fmla="*/ 0 h 368"/>
                <a:gd name="T40" fmla="*/ 176 w 551"/>
                <a:gd name="T41" fmla="*/ 16 h 368"/>
                <a:gd name="T42" fmla="*/ 199 w 551"/>
                <a:gd name="T43" fmla="*/ 92 h 368"/>
                <a:gd name="T44" fmla="*/ 207 w 551"/>
                <a:gd name="T45" fmla="*/ 138 h 368"/>
                <a:gd name="T46" fmla="*/ 161 w 551"/>
                <a:gd name="T47" fmla="*/ 191 h 368"/>
                <a:gd name="T48" fmla="*/ 115 w 551"/>
                <a:gd name="T49" fmla="*/ 184 h 368"/>
                <a:gd name="T50" fmla="*/ 61 w 551"/>
                <a:gd name="T51" fmla="*/ 130 h 368"/>
                <a:gd name="T52" fmla="*/ 0 w 551"/>
                <a:gd name="T53" fmla="*/ 153 h 368"/>
                <a:gd name="T54" fmla="*/ 0 w 551"/>
                <a:gd name="T55" fmla="*/ 153 h 368"/>
                <a:gd name="T56" fmla="*/ 31 w 551"/>
                <a:gd name="T57" fmla="*/ 214 h 368"/>
                <a:gd name="T58" fmla="*/ 38 w 551"/>
                <a:gd name="T59" fmla="*/ 291 h 368"/>
                <a:gd name="T60" fmla="*/ 38 w 551"/>
                <a:gd name="T61" fmla="*/ 291 h 368"/>
                <a:gd name="T62" fmla="*/ 92 w 551"/>
                <a:gd name="T63" fmla="*/ 306 h 368"/>
                <a:gd name="T64" fmla="*/ 92 w 551"/>
                <a:gd name="T65" fmla="*/ 336 h 368"/>
                <a:gd name="T66" fmla="*/ 115 w 551"/>
                <a:gd name="T67" fmla="*/ 344 h 368"/>
                <a:gd name="T68" fmla="*/ 168 w 551"/>
                <a:gd name="T69" fmla="*/ 321 h 368"/>
                <a:gd name="T70" fmla="*/ 176 w 551"/>
                <a:gd name="T71" fmla="*/ 275 h 368"/>
                <a:gd name="T72" fmla="*/ 199 w 551"/>
                <a:gd name="T73" fmla="*/ 275 h 368"/>
                <a:gd name="T74" fmla="*/ 245 w 551"/>
                <a:gd name="T75" fmla="*/ 336 h 368"/>
                <a:gd name="T76" fmla="*/ 260 w 551"/>
                <a:gd name="T77" fmla="*/ 359 h 368"/>
                <a:gd name="T78" fmla="*/ 352 w 551"/>
                <a:gd name="T79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51" h="368">
                  <a:moveTo>
                    <a:pt x="352" y="352"/>
                  </a:moveTo>
                  <a:lnTo>
                    <a:pt x="352" y="352"/>
                  </a:lnTo>
                  <a:cubicBezTo>
                    <a:pt x="344" y="336"/>
                    <a:pt x="313" y="314"/>
                    <a:pt x="329" y="314"/>
                  </a:cubicBezTo>
                  <a:cubicBezTo>
                    <a:pt x="367" y="298"/>
                    <a:pt x="405" y="329"/>
                    <a:pt x="436" y="321"/>
                  </a:cubicBezTo>
                  <a:cubicBezTo>
                    <a:pt x="451" y="321"/>
                    <a:pt x="443" y="298"/>
                    <a:pt x="451" y="291"/>
                  </a:cubicBezTo>
                  <a:cubicBezTo>
                    <a:pt x="474" y="283"/>
                    <a:pt x="512" y="298"/>
                    <a:pt x="535" y="275"/>
                  </a:cubicBezTo>
                  <a:cubicBezTo>
                    <a:pt x="550" y="268"/>
                    <a:pt x="520" y="245"/>
                    <a:pt x="520" y="222"/>
                  </a:cubicBezTo>
                  <a:cubicBezTo>
                    <a:pt x="527" y="214"/>
                    <a:pt x="543" y="207"/>
                    <a:pt x="550" y="199"/>
                  </a:cubicBezTo>
                  <a:cubicBezTo>
                    <a:pt x="550" y="184"/>
                    <a:pt x="550" y="161"/>
                    <a:pt x="543" y="168"/>
                  </a:cubicBezTo>
                  <a:cubicBezTo>
                    <a:pt x="505" y="168"/>
                    <a:pt x="474" y="207"/>
                    <a:pt x="436" y="214"/>
                  </a:cubicBezTo>
                  <a:cubicBezTo>
                    <a:pt x="428" y="214"/>
                    <a:pt x="451" y="191"/>
                    <a:pt x="451" y="176"/>
                  </a:cubicBezTo>
                  <a:cubicBezTo>
                    <a:pt x="451" y="161"/>
                    <a:pt x="451" y="145"/>
                    <a:pt x="443" y="138"/>
                  </a:cubicBezTo>
                  <a:cubicBezTo>
                    <a:pt x="436" y="115"/>
                    <a:pt x="413" y="107"/>
                    <a:pt x="405" y="84"/>
                  </a:cubicBezTo>
                  <a:cubicBezTo>
                    <a:pt x="397" y="77"/>
                    <a:pt x="397" y="69"/>
                    <a:pt x="397" y="54"/>
                  </a:cubicBezTo>
                  <a:lnTo>
                    <a:pt x="397" y="54"/>
                  </a:lnTo>
                  <a:cubicBezTo>
                    <a:pt x="390" y="39"/>
                    <a:pt x="397" y="0"/>
                    <a:pt x="382" y="0"/>
                  </a:cubicBezTo>
                  <a:cubicBezTo>
                    <a:pt x="359" y="0"/>
                    <a:pt x="352" y="39"/>
                    <a:pt x="329" y="46"/>
                  </a:cubicBezTo>
                  <a:cubicBezTo>
                    <a:pt x="313" y="54"/>
                    <a:pt x="298" y="31"/>
                    <a:pt x="291" y="23"/>
                  </a:cubicBezTo>
                  <a:cubicBezTo>
                    <a:pt x="275" y="23"/>
                    <a:pt x="252" y="31"/>
                    <a:pt x="245" y="23"/>
                  </a:cubicBezTo>
                  <a:cubicBezTo>
                    <a:pt x="222" y="23"/>
                    <a:pt x="207" y="8"/>
                    <a:pt x="191" y="0"/>
                  </a:cubicBezTo>
                  <a:cubicBezTo>
                    <a:pt x="184" y="0"/>
                    <a:pt x="176" y="8"/>
                    <a:pt x="176" y="16"/>
                  </a:cubicBezTo>
                  <a:cubicBezTo>
                    <a:pt x="176" y="39"/>
                    <a:pt x="199" y="69"/>
                    <a:pt x="199" y="92"/>
                  </a:cubicBezTo>
                  <a:cubicBezTo>
                    <a:pt x="207" y="107"/>
                    <a:pt x="207" y="130"/>
                    <a:pt x="207" y="138"/>
                  </a:cubicBezTo>
                  <a:cubicBezTo>
                    <a:pt x="191" y="161"/>
                    <a:pt x="184" y="184"/>
                    <a:pt x="161" y="191"/>
                  </a:cubicBezTo>
                  <a:cubicBezTo>
                    <a:pt x="145" y="199"/>
                    <a:pt x="122" y="199"/>
                    <a:pt x="115" y="184"/>
                  </a:cubicBezTo>
                  <a:cubicBezTo>
                    <a:pt x="92" y="176"/>
                    <a:pt x="84" y="138"/>
                    <a:pt x="61" y="130"/>
                  </a:cubicBezTo>
                  <a:cubicBezTo>
                    <a:pt x="38" y="122"/>
                    <a:pt x="23" y="145"/>
                    <a:pt x="0" y="153"/>
                  </a:cubicBezTo>
                  <a:lnTo>
                    <a:pt x="0" y="153"/>
                  </a:lnTo>
                  <a:cubicBezTo>
                    <a:pt x="31" y="214"/>
                    <a:pt x="31" y="214"/>
                    <a:pt x="31" y="214"/>
                  </a:cubicBezTo>
                  <a:cubicBezTo>
                    <a:pt x="38" y="291"/>
                    <a:pt x="38" y="291"/>
                    <a:pt x="38" y="291"/>
                  </a:cubicBezTo>
                  <a:lnTo>
                    <a:pt x="38" y="291"/>
                  </a:lnTo>
                  <a:cubicBezTo>
                    <a:pt x="54" y="298"/>
                    <a:pt x="77" y="291"/>
                    <a:pt x="92" y="306"/>
                  </a:cubicBezTo>
                  <a:cubicBezTo>
                    <a:pt x="100" y="306"/>
                    <a:pt x="84" y="321"/>
                    <a:pt x="92" y="336"/>
                  </a:cubicBezTo>
                  <a:cubicBezTo>
                    <a:pt x="92" y="344"/>
                    <a:pt x="107" y="344"/>
                    <a:pt x="115" y="344"/>
                  </a:cubicBezTo>
                  <a:cubicBezTo>
                    <a:pt x="138" y="344"/>
                    <a:pt x="161" y="336"/>
                    <a:pt x="168" y="321"/>
                  </a:cubicBezTo>
                  <a:cubicBezTo>
                    <a:pt x="176" y="314"/>
                    <a:pt x="161" y="291"/>
                    <a:pt x="176" y="275"/>
                  </a:cubicBezTo>
                  <a:cubicBezTo>
                    <a:pt x="176" y="268"/>
                    <a:pt x="191" y="268"/>
                    <a:pt x="199" y="275"/>
                  </a:cubicBezTo>
                  <a:cubicBezTo>
                    <a:pt x="222" y="291"/>
                    <a:pt x="230" y="314"/>
                    <a:pt x="245" y="336"/>
                  </a:cubicBezTo>
                  <a:cubicBezTo>
                    <a:pt x="252" y="344"/>
                    <a:pt x="252" y="359"/>
                    <a:pt x="260" y="359"/>
                  </a:cubicBezTo>
                  <a:cubicBezTo>
                    <a:pt x="291" y="367"/>
                    <a:pt x="321" y="352"/>
                    <a:pt x="352" y="3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7" name="Freeform 139"/>
            <p:cNvSpPr>
              <a:spLocks noChangeArrowheads="1"/>
            </p:cNvSpPr>
            <p:nvPr/>
          </p:nvSpPr>
          <p:spPr bwMode="auto">
            <a:xfrm>
              <a:off x="5201899" y="4719638"/>
              <a:ext cx="190488" cy="119062"/>
            </a:xfrm>
            <a:custGeom>
              <a:avLst/>
              <a:gdLst>
                <a:gd name="T0" fmla="*/ 474 w 528"/>
                <a:gd name="T1" fmla="*/ 100 h 330"/>
                <a:gd name="T2" fmla="*/ 474 w 528"/>
                <a:gd name="T3" fmla="*/ 100 h 330"/>
                <a:gd name="T4" fmla="*/ 482 w 528"/>
                <a:gd name="T5" fmla="*/ 115 h 330"/>
                <a:gd name="T6" fmla="*/ 505 w 528"/>
                <a:gd name="T7" fmla="*/ 138 h 330"/>
                <a:gd name="T8" fmla="*/ 505 w 528"/>
                <a:gd name="T9" fmla="*/ 199 h 330"/>
                <a:gd name="T10" fmla="*/ 520 w 528"/>
                <a:gd name="T11" fmla="*/ 245 h 330"/>
                <a:gd name="T12" fmla="*/ 482 w 528"/>
                <a:gd name="T13" fmla="*/ 275 h 330"/>
                <a:gd name="T14" fmla="*/ 459 w 528"/>
                <a:gd name="T15" fmla="*/ 321 h 330"/>
                <a:gd name="T16" fmla="*/ 375 w 528"/>
                <a:gd name="T17" fmla="*/ 306 h 330"/>
                <a:gd name="T18" fmla="*/ 336 w 528"/>
                <a:gd name="T19" fmla="*/ 283 h 330"/>
                <a:gd name="T20" fmla="*/ 283 w 528"/>
                <a:gd name="T21" fmla="*/ 283 h 330"/>
                <a:gd name="T22" fmla="*/ 283 w 528"/>
                <a:gd name="T23" fmla="*/ 283 h 330"/>
                <a:gd name="T24" fmla="*/ 260 w 528"/>
                <a:gd name="T25" fmla="*/ 245 h 330"/>
                <a:gd name="T26" fmla="*/ 222 w 528"/>
                <a:gd name="T27" fmla="*/ 222 h 330"/>
                <a:gd name="T28" fmla="*/ 207 w 528"/>
                <a:gd name="T29" fmla="*/ 168 h 330"/>
                <a:gd name="T30" fmla="*/ 161 w 528"/>
                <a:gd name="T31" fmla="*/ 206 h 330"/>
                <a:gd name="T32" fmla="*/ 107 w 528"/>
                <a:gd name="T33" fmla="*/ 222 h 330"/>
                <a:gd name="T34" fmla="*/ 0 w 528"/>
                <a:gd name="T35" fmla="*/ 206 h 330"/>
                <a:gd name="T36" fmla="*/ 0 w 528"/>
                <a:gd name="T37" fmla="*/ 206 h 330"/>
                <a:gd name="T38" fmla="*/ 8 w 528"/>
                <a:gd name="T39" fmla="*/ 123 h 330"/>
                <a:gd name="T40" fmla="*/ 38 w 528"/>
                <a:gd name="T41" fmla="*/ 39 h 330"/>
                <a:gd name="T42" fmla="*/ 100 w 528"/>
                <a:gd name="T43" fmla="*/ 16 h 330"/>
                <a:gd name="T44" fmla="*/ 252 w 528"/>
                <a:gd name="T45" fmla="*/ 62 h 330"/>
                <a:gd name="T46" fmla="*/ 474 w 528"/>
                <a:gd name="T47" fmla="*/ 10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8" h="330">
                  <a:moveTo>
                    <a:pt x="474" y="100"/>
                  </a:moveTo>
                  <a:lnTo>
                    <a:pt x="474" y="100"/>
                  </a:lnTo>
                  <a:cubicBezTo>
                    <a:pt x="474" y="107"/>
                    <a:pt x="474" y="107"/>
                    <a:pt x="482" y="115"/>
                  </a:cubicBezTo>
                  <a:cubicBezTo>
                    <a:pt x="482" y="130"/>
                    <a:pt x="505" y="123"/>
                    <a:pt x="505" y="138"/>
                  </a:cubicBezTo>
                  <a:cubicBezTo>
                    <a:pt x="512" y="153"/>
                    <a:pt x="505" y="176"/>
                    <a:pt x="505" y="199"/>
                  </a:cubicBezTo>
                  <a:cubicBezTo>
                    <a:pt x="505" y="214"/>
                    <a:pt x="527" y="229"/>
                    <a:pt x="520" y="245"/>
                  </a:cubicBezTo>
                  <a:cubicBezTo>
                    <a:pt x="512" y="260"/>
                    <a:pt x="489" y="260"/>
                    <a:pt x="482" y="275"/>
                  </a:cubicBezTo>
                  <a:cubicBezTo>
                    <a:pt x="466" y="283"/>
                    <a:pt x="482" y="314"/>
                    <a:pt x="459" y="321"/>
                  </a:cubicBezTo>
                  <a:cubicBezTo>
                    <a:pt x="436" y="329"/>
                    <a:pt x="405" y="321"/>
                    <a:pt x="375" y="306"/>
                  </a:cubicBezTo>
                  <a:cubicBezTo>
                    <a:pt x="359" y="306"/>
                    <a:pt x="352" y="283"/>
                    <a:pt x="336" y="283"/>
                  </a:cubicBezTo>
                  <a:cubicBezTo>
                    <a:pt x="321" y="275"/>
                    <a:pt x="298" y="283"/>
                    <a:pt x="283" y="283"/>
                  </a:cubicBezTo>
                  <a:lnTo>
                    <a:pt x="283" y="283"/>
                  </a:lnTo>
                  <a:cubicBezTo>
                    <a:pt x="275" y="268"/>
                    <a:pt x="268" y="252"/>
                    <a:pt x="260" y="245"/>
                  </a:cubicBezTo>
                  <a:cubicBezTo>
                    <a:pt x="252" y="237"/>
                    <a:pt x="237" y="237"/>
                    <a:pt x="222" y="222"/>
                  </a:cubicBezTo>
                  <a:cubicBezTo>
                    <a:pt x="214" y="206"/>
                    <a:pt x="222" y="176"/>
                    <a:pt x="207" y="168"/>
                  </a:cubicBezTo>
                  <a:cubicBezTo>
                    <a:pt x="184" y="168"/>
                    <a:pt x="184" y="199"/>
                    <a:pt x="161" y="206"/>
                  </a:cubicBezTo>
                  <a:cubicBezTo>
                    <a:pt x="146" y="214"/>
                    <a:pt x="123" y="222"/>
                    <a:pt x="107" y="222"/>
                  </a:cubicBezTo>
                  <a:cubicBezTo>
                    <a:pt x="69" y="222"/>
                    <a:pt x="38" y="206"/>
                    <a:pt x="0" y="206"/>
                  </a:cubicBezTo>
                  <a:lnTo>
                    <a:pt x="0" y="206"/>
                  </a:lnTo>
                  <a:cubicBezTo>
                    <a:pt x="0" y="176"/>
                    <a:pt x="0" y="153"/>
                    <a:pt x="8" y="123"/>
                  </a:cubicBezTo>
                  <a:cubicBezTo>
                    <a:pt x="23" y="100"/>
                    <a:pt x="8" y="62"/>
                    <a:pt x="38" y="39"/>
                  </a:cubicBezTo>
                  <a:cubicBezTo>
                    <a:pt x="54" y="23"/>
                    <a:pt x="77" y="23"/>
                    <a:pt x="100" y="16"/>
                  </a:cubicBezTo>
                  <a:cubicBezTo>
                    <a:pt x="146" y="0"/>
                    <a:pt x="207" y="39"/>
                    <a:pt x="252" y="62"/>
                  </a:cubicBezTo>
                  <a:cubicBezTo>
                    <a:pt x="313" y="84"/>
                    <a:pt x="398" y="92"/>
                    <a:pt x="474" y="10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8" name="Freeform 140"/>
            <p:cNvSpPr>
              <a:spLocks noChangeArrowheads="1"/>
            </p:cNvSpPr>
            <p:nvPr/>
          </p:nvSpPr>
          <p:spPr bwMode="auto">
            <a:xfrm>
              <a:off x="5284444" y="4738689"/>
              <a:ext cx="236522" cy="173037"/>
            </a:xfrm>
            <a:custGeom>
              <a:avLst/>
              <a:gdLst>
                <a:gd name="T0" fmla="*/ 244 w 657"/>
                <a:gd name="T1" fmla="*/ 8 h 482"/>
                <a:gd name="T2" fmla="*/ 244 w 657"/>
                <a:gd name="T3" fmla="*/ 8 h 482"/>
                <a:gd name="T4" fmla="*/ 374 w 657"/>
                <a:gd name="T5" fmla="*/ 46 h 482"/>
                <a:gd name="T6" fmla="*/ 244 w 657"/>
                <a:gd name="T7" fmla="*/ 46 h 482"/>
                <a:gd name="T8" fmla="*/ 244 w 657"/>
                <a:gd name="T9" fmla="*/ 46 h 482"/>
                <a:gd name="T10" fmla="*/ 252 w 657"/>
                <a:gd name="T11" fmla="*/ 61 h 482"/>
                <a:gd name="T12" fmla="*/ 275 w 657"/>
                <a:gd name="T13" fmla="*/ 84 h 482"/>
                <a:gd name="T14" fmla="*/ 275 w 657"/>
                <a:gd name="T15" fmla="*/ 145 h 482"/>
                <a:gd name="T16" fmla="*/ 290 w 657"/>
                <a:gd name="T17" fmla="*/ 191 h 482"/>
                <a:gd name="T18" fmla="*/ 252 w 657"/>
                <a:gd name="T19" fmla="*/ 221 h 482"/>
                <a:gd name="T20" fmla="*/ 229 w 657"/>
                <a:gd name="T21" fmla="*/ 267 h 482"/>
                <a:gd name="T22" fmla="*/ 145 w 657"/>
                <a:gd name="T23" fmla="*/ 252 h 482"/>
                <a:gd name="T24" fmla="*/ 106 w 657"/>
                <a:gd name="T25" fmla="*/ 229 h 482"/>
                <a:gd name="T26" fmla="*/ 53 w 657"/>
                <a:gd name="T27" fmla="*/ 229 h 482"/>
                <a:gd name="T28" fmla="*/ 53 w 657"/>
                <a:gd name="T29" fmla="*/ 229 h 482"/>
                <a:gd name="T30" fmla="*/ 7 w 657"/>
                <a:gd name="T31" fmla="*/ 260 h 482"/>
                <a:gd name="T32" fmla="*/ 91 w 657"/>
                <a:gd name="T33" fmla="*/ 321 h 482"/>
                <a:gd name="T34" fmla="*/ 99 w 657"/>
                <a:gd name="T35" fmla="*/ 351 h 482"/>
                <a:gd name="T36" fmla="*/ 145 w 657"/>
                <a:gd name="T37" fmla="*/ 366 h 482"/>
                <a:gd name="T38" fmla="*/ 175 w 657"/>
                <a:gd name="T39" fmla="*/ 405 h 482"/>
                <a:gd name="T40" fmla="*/ 191 w 657"/>
                <a:gd name="T41" fmla="*/ 466 h 482"/>
                <a:gd name="T42" fmla="*/ 221 w 657"/>
                <a:gd name="T43" fmla="*/ 443 h 482"/>
                <a:gd name="T44" fmla="*/ 267 w 657"/>
                <a:gd name="T45" fmla="*/ 481 h 482"/>
                <a:gd name="T46" fmla="*/ 336 w 657"/>
                <a:gd name="T47" fmla="*/ 435 h 482"/>
                <a:gd name="T48" fmla="*/ 358 w 657"/>
                <a:gd name="T49" fmla="*/ 466 h 482"/>
                <a:gd name="T50" fmla="*/ 358 w 657"/>
                <a:gd name="T51" fmla="*/ 466 h 482"/>
                <a:gd name="T52" fmla="*/ 404 w 657"/>
                <a:gd name="T53" fmla="*/ 435 h 482"/>
                <a:gd name="T54" fmla="*/ 458 w 657"/>
                <a:gd name="T55" fmla="*/ 374 h 482"/>
                <a:gd name="T56" fmla="*/ 550 w 657"/>
                <a:gd name="T57" fmla="*/ 374 h 482"/>
                <a:gd name="T58" fmla="*/ 633 w 657"/>
                <a:gd name="T59" fmla="*/ 321 h 482"/>
                <a:gd name="T60" fmla="*/ 633 w 657"/>
                <a:gd name="T61" fmla="*/ 321 h 482"/>
                <a:gd name="T62" fmla="*/ 641 w 657"/>
                <a:gd name="T63" fmla="*/ 252 h 482"/>
                <a:gd name="T64" fmla="*/ 633 w 657"/>
                <a:gd name="T65" fmla="*/ 229 h 482"/>
                <a:gd name="T66" fmla="*/ 656 w 657"/>
                <a:gd name="T67" fmla="*/ 214 h 482"/>
                <a:gd name="T68" fmla="*/ 649 w 657"/>
                <a:gd name="T69" fmla="*/ 168 h 482"/>
                <a:gd name="T70" fmla="*/ 618 w 657"/>
                <a:gd name="T71" fmla="*/ 137 h 482"/>
                <a:gd name="T72" fmla="*/ 618 w 657"/>
                <a:gd name="T73" fmla="*/ 137 h 482"/>
                <a:gd name="T74" fmla="*/ 550 w 657"/>
                <a:gd name="T75" fmla="*/ 91 h 482"/>
                <a:gd name="T76" fmla="*/ 473 w 657"/>
                <a:gd name="T77" fmla="*/ 23 h 482"/>
                <a:gd name="T78" fmla="*/ 244 w 657"/>
                <a:gd name="T79" fmla="*/ 0 h 482"/>
                <a:gd name="T80" fmla="*/ 244 w 657"/>
                <a:gd name="T81" fmla="*/ 0 h 482"/>
                <a:gd name="T82" fmla="*/ 244 w 657"/>
                <a:gd name="T83" fmla="*/ 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7" h="482">
                  <a:moveTo>
                    <a:pt x="244" y="8"/>
                  </a:moveTo>
                  <a:lnTo>
                    <a:pt x="244" y="8"/>
                  </a:lnTo>
                  <a:cubicBezTo>
                    <a:pt x="297" y="15"/>
                    <a:pt x="351" y="30"/>
                    <a:pt x="374" y="46"/>
                  </a:cubicBezTo>
                  <a:cubicBezTo>
                    <a:pt x="336" y="46"/>
                    <a:pt x="290" y="46"/>
                    <a:pt x="244" y="46"/>
                  </a:cubicBezTo>
                  <a:lnTo>
                    <a:pt x="244" y="46"/>
                  </a:lnTo>
                  <a:cubicBezTo>
                    <a:pt x="244" y="53"/>
                    <a:pt x="244" y="53"/>
                    <a:pt x="252" y="61"/>
                  </a:cubicBezTo>
                  <a:cubicBezTo>
                    <a:pt x="252" y="76"/>
                    <a:pt x="275" y="69"/>
                    <a:pt x="275" y="84"/>
                  </a:cubicBezTo>
                  <a:cubicBezTo>
                    <a:pt x="282" y="99"/>
                    <a:pt x="275" y="122"/>
                    <a:pt x="275" y="145"/>
                  </a:cubicBezTo>
                  <a:cubicBezTo>
                    <a:pt x="275" y="160"/>
                    <a:pt x="297" y="175"/>
                    <a:pt x="290" y="191"/>
                  </a:cubicBezTo>
                  <a:cubicBezTo>
                    <a:pt x="282" y="206"/>
                    <a:pt x="259" y="206"/>
                    <a:pt x="252" y="221"/>
                  </a:cubicBezTo>
                  <a:cubicBezTo>
                    <a:pt x="236" y="229"/>
                    <a:pt x="252" y="260"/>
                    <a:pt x="229" y="267"/>
                  </a:cubicBezTo>
                  <a:cubicBezTo>
                    <a:pt x="206" y="275"/>
                    <a:pt x="175" y="267"/>
                    <a:pt x="145" y="252"/>
                  </a:cubicBezTo>
                  <a:cubicBezTo>
                    <a:pt x="129" y="252"/>
                    <a:pt x="122" y="229"/>
                    <a:pt x="106" y="229"/>
                  </a:cubicBezTo>
                  <a:cubicBezTo>
                    <a:pt x="91" y="221"/>
                    <a:pt x="68" y="229"/>
                    <a:pt x="53" y="229"/>
                  </a:cubicBezTo>
                  <a:lnTo>
                    <a:pt x="53" y="229"/>
                  </a:lnTo>
                  <a:cubicBezTo>
                    <a:pt x="38" y="237"/>
                    <a:pt x="0" y="244"/>
                    <a:pt x="7" y="260"/>
                  </a:cubicBezTo>
                  <a:cubicBezTo>
                    <a:pt x="22" y="290"/>
                    <a:pt x="68" y="298"/>
                    <a:pt x="91" y="321"/>
                  </a:cubicBezTo>
                  <a:cubicBezTo>
                    <a:pt x="106" y="328"/>
                    <a:pt x="91" y="344"/>
                    <a:pt x="99" y="351"/>
                  </a:cubicBezTo>
                  <a:cubicBezTo>
                    <a:pt x="114" y="366"/>
                    <a:pt x="129" y="359"/>
                    <a:pt x="145" y="366"/>
                  </a:cubicBezTo>
                  <a:cubicBezTo>
                    <a:pt x="160" y="374"/>
                    <a:pt x="168" y="389"/>
                    <a:pt x="175" y="405"/>
                  </a:cubicBezTo>
                  <a:cubicBezTo>
                    <a:pt x="191" y="427"/>
                    <a:pt x="175" y="458"/>
                    <a:pt x="191" y="466"/>
                  </a:cubicBezTo>
                  <a:cubicBezTo>
                    <a:pt x="206" y="473"/>
                    <a:pt x="206" y="443"/>
                    <a:pt x="221" y="443"/>
                  </a:cubicBezTo>
                  <a:cubicBezTo>
                    <a:pt x="236" y="443"/>
                    <a:pt x="244" y="481"/>
                    <a:pt x="267" y="481"/>
                  </a:cubicBezTo>
                  <a:cubicBezTo>
                    <a:pt x="290" y="473"/>
                    <a:pt x="305" y="435"/>
                    <a:pt x="336" y="435"/>
                  </a:cubicBezTo>
                  <a:cubicBezTo>
                    <a:pt x="343" y="435"/>
                    <a:pt x="351" y="450"/>
                    <a:pt x="358" y="466"/>
                  </a:cubicBezTo>
                  <a:lnTo>
                    <a:pt x="358" y="466"/>
                  </a:lnTo>
                  <a:cubicBezTo>
                    <a:pt x="374" y="450"/>
                    <a:pt x="389" y="443"/>
                    <a:pt x="404" y="435"/>
                  </a:cubicBezTo>
                  <a:cubicBezTo>
                    <a:pt x="427" y="412"/>
                    <a:pt x="435" y="389"/>
                    <a:pt x="458" y="374"/>
                  </a:cubicBezTo>
                  <a:cubicBezTo>
                    <a:pt x="488" y="366"/>
                    <a:pt x="519" y="382"/>
                    <a:pt x="550" y="374"/>
                  </a:cubicBezTo>
                  <a:cubicBezTo>
                    <a:pt x="580" y="366"/>
                    <a:pt x="603" y="336"/>
                    <a:pt x="633" y="321"/>
                  </a:cubicBezTo>
                  <a:lnTo>
                    <a:pt x="633" y="321"/>
                  </a:lnTo>
                  <a:cubicBezTo>
                    <a:pt x="633" y="298"/>
                    <a:pt x="641" y="275"/>
                    <a:pt x="641" y="252"/>
                  </a:cubicBezTo>
                  <a:cubicBezTo>
                    <a:pt x="641" y="244"/>
                    <a:pt x="633" y="237"/>
                    <a:pt x="633" y="229"/>
                  </a:cubicBezTo>
                  <a:cubicBezTo>
                    <a:pt x="633" y="221"/>
                    <a:pt x="649" y="221"/>
                    <a:pt x="656" y="214"/>
                  </a:cubicBezTo>
                  <a:cubicBezTo>
                    <a:pt x="656" y="198"/>
                    <a:pt x="656" y="183"/>
                    <a:pt x="649" y="168"/>
                  </a:cubicBezTo>
                  <a:cubicBezTo>
                    <a:pt x="641" y="152"/>
                    <a:pt x="626" y="145"/>
                    <a:pt x="618" y="137"/>
                  </a:cubicBezTo>
                  <a:lnTo>
                    <a:pt x="618" y="137"/>
                  </a:lnTo>
                  <a:cubicBezTo>
                    <a:pt x="595" y="122"/>
                    <a:pt x="572" y="107"/>
                    <a:pt x="550" y="91"/>
                  </a:cubicBezTo>
                  <a:cubicBezTo>
                    <a:pt x="519" y="69"/>
                    <a:pt x="504" y="38"/>
                    <a:pt x="473" y="23"/>
                  </a:cubicBezTo>
                  <a:cubicBezTo>
                    <a:pt x="397" y="0"/>
                    <a:pt x="320" y="8"/>
                    <a:pt x="244" y="0"/>
                  </a:cubicBezTo>
                  <a:lnTo>
                    <a:pt x="244" y="0"/>
                  </a:lnTo>
                  <a:cubicBezTo>
                    <a:pt x="244" y="0"/>
                    <a:pt x="244" y="0"/>
                    <a:pt x="244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9" name="Freeform 141"/>
            <p:cNvSpPr>
              <a:spLocks noChangeArrowheads="1"/>
            </p:cNvSpPr>
            <p:nvPr/>
          </p:nvSpPr>
          <p:spPr bwMode="auto">
            <a:xfrm>
              <a:off x="5284444" y="3732213"/>
              <a:ext cx="939739" cy="822325"/>
            </a:xfrm>
            <a:custGeom>
              <a:avLst/>
              <a:gdLst>
                <a:gd name="T0" fmla="*/ 175 w 2612"/>
                <a:gd name="T1" fmla="*/ 810 h 2285"/>
                <a:gd name="T2" fmla="*/ 22 w 2612"/>
                <a:gd name="T3" fmla="*/ 749 h 2285"/>
                <a:gd name="T4" fmla="*/ 236 w 2612"/>
                <a:gd name="T5" fmla="*/ 672 h 2285"/>
                <a:gd name="T6" fmla="*/ 244 w 2612"/>
                <a:gd name="T7" fmla="*/ 512 h 2285"/>
                <a:gd name="T8" fmla="*/ 404 w 2612"/>
                <a:gd name="T9" fmla="*/ 436 h 2285"/>
                <a:gd name="T10" fmla="*/ 641 w 2612"/>
                <a:gd name="T11" fmla="*/ 344 h 2285"/>
                <a:gd name="T12" fmla="*/ 802 w 2612"/>
                <a:gd name="T13" fmla="*/ 252 h 2285"/>
                <a:gd name="T14" fmla="*/ 847 w 2612"/>
                <a:gd name="T15" fmla="*/ 153 h 2285"/>
                <a:gd name="T16" fmla="*/ 1107 w 2612"/>
                <a:gd name="T17" fmla="*/ 138 h 2285"/>
                <a:gd name="T18" fmla="*/ 1199 w 2612"/>
                <a:gd name="T19" fmla="*/ 153 h 2285"/>
                <a:gd name="T20" fmla="*/ 1252 w 2612"/>
                <a:gd name="T21" fmla="*/ 0 h 2285"/>
                <a:gd name="T22" fmla="*/ 1390 w 2612"/>
                <a:gd name="T23" fmla="*/ 69 h 2285"/>
                <a:gd name="T24" fmla="*/ 1466 w 2612"/>
                <a:gd name="T25" fmla="*/ 46 h 2285"/>
                <a:gd name="T26" fmla="*/ 1604 w 2612"/>
                <a:gd name="T27" fmla="*/ 92 h 2285"/>
                <a:gd name="T28" fmla="*/ 1726 w 2612"/>
                <a:gd name="T29" fmla="*/ 61 h 2285"/>
                <a:gd name="T30" fmla="*/ 1840 w 2612"/>
                <a:gd name="T31" fmla="*/ 161 h 2285"/>
                <a:gd name="T32" fmla="*/ 1986 w 2612"/>
                <a:gd name="T33" fmla="*/ 206 h 2285"/>
                <a:gd name="T34" fmla="*/ 2123 w 2612"/>
                <a:gd name="T35" fmla="*/ 214 h 2285"/>
                <a:gd name="T36" fmla="*/ 2169 w 2612"/>
                <a:gd name="T37" fmla="*/ 405 h 2285"/>
                <a:gd name="T38" fmla="*/ 2192 w 2612"/>
                <a:gd name="T39" fmla="*/ 649 h 2285"/>
                <a:gd name="T40" fmla="*/ 2481 w 2612"/>
                <a:gd name="T41" fmla="*/ 840 h 2285"/>
                <a:gd name="T42" fmla="*/ 2466 w 2612"/>
                <a:gd name="T43" fmla="*/ 978 h 2285"/>
                <a:gd name="T44" fmla="*/ 2435 w 2612"/>
                <a:gd name="T45" fmla="*/ 1070 h 2285"/>
                <a:gd name="T46" fmla="*/ 2404 w 2612"/>
                <a:gd name="T47" fmla="*/ 1192 h 2285"/>
                <a:gd name="T48" fmla="*/ 2557 w 2612"/>
                <a:gd name="T49" fmla="*/ 1291 h 2285"/>
                <a:gd name="T50" fmla="*/ 2496 w 2612"/>
                <a:gd name="T51" fmla="*/ 1474 h 2285"/>
                <a:gd name="T52" fmla="*/ 2314 w 2612"/>
                <a:gd name="T53" fmla="*/ 1704 h 2285"/>
                <a:gd name="T54" fmla="*/ 2215 w 2612"/>
                <a:gd name="T55" fmla="*/ 1864 h 2285"/>
                <a:gd name="T56" fmla="*/ 2161 w 2612"/>
                <a:gd name="T57" fmla="*/ 1940 h 2285"/>
                <a:gd name="T58" fmla="*/ 2299 w 2612"/>
                <a:gd name="T59" fmla="*/ 2032 h 2285"/>
                <a:gd name="T60" fmla="*/ 2261 w 2612"/>
                <a:gd name="T61" fmla="*/ 2177 h 2285"/>
                <a:gd name="T62" fmla="*/ 2138 w 2612"/>
                <a:gd name="T63" fmla="*/ 2200 h 2285"/>
                <a:gd name="T64" fmla="*/ 2008 w 2612"/>
                <a:gd name="T65" fmla="*/ 2246 h 2285"/>
                <a:gd name="T66" fmla="*/ 1817 w 2612"/>
                <a:gd name="T67" fmla="*/ 2215 h 2285"/>
                <a:gd name="T68" fmla="*/ 1718 w 2612"/>
                <a:gd name="T69" fmla="*/ 2284 h 2285"/>
                <a:gd name="T70" fmla="*/ 1810 w 2612"/>
                <a:gd name="T71" fmla="*/ 2108 h 2285"/>
                <a:gd name="T72" fmla="*/ 1688 w 2612"/>
                <a:gd name="T73" fmla="*/ 2101 h 2285"/>
                <a:gd name="T74" fmla="*/ 1535 w 2612"/>
                <a:gd name="T75" fmla="*/ 2070 h 2285"/>
                <a:gd name="T76" fmla="*/ 1405 w 2612"/>
                <a:gd name="T77" fmla="*/ 2108 h 2285"/>
                <a:gd name="T78" fmla="*/ 1313 w 2612"/>
                <a:gd name="T79" fmla="*/ 2009 h 2285"/>
                <a:gd name="T80" fmla="*/ 1077 w 2612"/>
                <a:gd name="T81" fmla="*/ 1887 h 2285"/>
                <a:gd name="T82" fmla="*/ 840 w 2612"/>
                <a:gd name="T83" fmla="*/ 1787 h 2285"/>
                <a:gd name="T84" fmla="*/ 771 w 2612"/>
                <a:gd name="T85" fmla="*/ 1658 h 2285"/>
                <a:gd name="T86" fmla="*/ 840 w 2612"/>
                <a:gd name="T87" fmla="*/ 1368 h 2285"/>
                <a:gd name="T88" fmla="*/ 985 w 2612"/>
                <a:gd name="T89" fmla="*/ 1352 h 2285"/>
                <a:gd name="T90" fmla="*/ 679 w 2612"/>
                <a:gd name="T91" fmla="*/ 1322 h 2285"/>
                <a:gd name="T92" fmla="*/ 580 w 2612"/>
                <a:gd name="T93" fmla="*/ 1123 h 2285"/>
                <a:gd name="T94" fmla="*/ 366 w 2612"/>
                <a:gd name="T95" fmla="*/ 1176 h 2285"/>
                <a:gd name="T96" fmla="*/ 229 w 2612"/>
                <a:gd name="T97" fmla="*/ 1237 h 2285"/>
                <a:gd name="T98" fmla="*/ 137 w 2612"/>
                <a:gd name="T99" fmla="*/ 1306 h 2285"/>
                <a:gd name="T100" fmla="*/ 122 w 2612"/>
                <a:gd name="T101" fmla="*/ 1154 h 2285"/>
                <a:gd name="T102" fmla="*/ 213 w 2612"/>
                <a:gd name="T103" fmla="*/ 1039 h 2285"/>
                <a:gd name="T104" fmla="*/ 175 w 2612"/>
                <a:gd name="T105" fmla="*/ 917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12" h="2285">
                  <a:moveTo>
                    <a:pt x="175" y="917"/>
                  </a:moveTo>
                  <a:lnTo>
                    <a:pt x="175" y="917"/>
                  </a:lnTo>
                  <a:cubicBezTo>
                    <a:pt x="175" y="886"/>
                    <a:pt x="198" y="840"/>
                    <a:pt x="175" y="810"/>
                  </a:cubicBezTo>
                  <a:cubicBezTo>
                    <a:pt x="160" y="795"/>
                    <a:pt x="129" y="840"/>
                    <a:pt x="106" y="848"/>
                  </a:cubicBezTo>
                  <a:cubicBezTo>
                    <a:pt x="83" y="848"/>
                    <a:pt x="45" y="856"/>
                    <a:pt x="22" y="833"/>
                  </a:cubicBezTo>
                  <a:cubicBezTo>
                    <a:pt x="7" y="810"/>
                    <a:pt x="0" y="764"/>
                    <a:pt x="22" y="749"/>
                  </a:cubicBezTo>
                  <a:cubicBezTo>
                    <a:pt x="53" y="726"/>
                    <a:pt x="99" y="749"/>
                    <a:pt x="137" y="741"/>
                  </a:cubicBezTo>
                  <a:cubicBezTo>
                    <a:pt x="175" y="733"/>
                    <a:pt x="206" y="726"/>
                    <a:pt x="236" y="710"/>
                  </a:cubicBezTo>
                  <a:cubicBezTo>
                    <a:pt x="244" y="703"/>
                    <a:pt x="236" y="688"/>
                    <a:pt x="236" y="672"/>
                  </a:cubicBezTo>
                  <a:cubicBezTo>
                    <a:pt x="229" y="665"/>
                    <a:pt x="206" y="665"/>
                    <a:pt x="213" y="657"/>
                  </a:cubicBezTo>
                  <a:cubicBezTo>
                    <a:pt x="213" y="626"/>
                    <a:pt x="236" y="611"/>
                    <a:pt x="244" y="581"/>
                  </a:cubicBezTo>
                  <a:cubicBezTo>
                    <a:pt x="252" y="558"/>
                    <a:pt x="236" y="535"/>
                    <a:pt x="244" y="512"/>
                  </a:cubicBezTo>
                  <a:cubicBezTo>
                    <a:pt x="259" y="489"/>
                    <a:pt x="290" y="497"/>
                    <a:pt x="305" y="481"/>
                  </a:cubicBezTo>
                  <a:cubicBezTo>
                    <a:pt x="328" y="458"/>
                    <a:pt x="320" y="405"/>
                    <a:pt x="351" y="390"/>
                  </a:cubicBezTo>
                  <a:cubicBezTo>
                    <a:pt x="374" y="382"/>
                    <a:pt x="389" y="420"/>
                    <a:pt x="404" y="436"/>
                  </a:cubicBezTo>
                  <a:cubicBezTo>
                    <a:pt x="427" y="451"/>
                    <a:pt x="443" y="497"/>
                    <a:pt x="465" y="481"/>
                  </a:cubicBezTo>
                  <a:cubicBezTo>
                    <a:pt x="527" y="443"/>
                    <a:pt x="534" y="359"/>
                    <a:pt x="588" y="321"/>
                  </a:cubicBezTo>
                  <a:cubicBezTo>
                    <a:pt x="603" y="306"/>
                    <a:pt x="626" y="351"/>
                    <a:pt x="641" y="344"/>
                  </a:cubicBezTo>
                  <a:cubicBezTo>
                    <a:pt x="664" y="329"/>
                    <a:pt x="664" y="290"/>
                    <a:pt x="687" y="268"/>
                  </a:cubicBezTo>
                  <a:cubicBezTo>
                    <a:pt x="702" y="252"/>
                    <a:pt x="733" y="252"/>
                    <a:pt x="748" y="252"/>
                  </a:cubicBezTo>
                  <a:cubicBezTo>
                    <a:pt x="771" y="252"/>
                    <a:pt x="786" y="260"/>
                    <a:pt x="802" y="252"/>
                  </a:cubicBezTo>
                  <a:cubicBezTo>
                    <a:pt x="817" y="245"/>
                    <a:pt x="825" y="229"/>
                    <a:pt x="840" y="214"/>
                  </a:cubicBezTo>
                  <a:cubicBezTo>
                    <a:pt x="847" y="206"/>
                    <a:pt x="863" y="206"/>
                    <a:pt x="870" y="191"/>
                  </a:cubicBezTo>
                  <a:cubicBezTo>
                    <a:pt x="870" y="176"/>
                    <a:pt x="847" y="168"/>
                    <a:pt x="847" y="153"/>
                  </a:cubicBezTo>
                  <a:cubicBezTo>
                    <a:pt x="855" y="138"/>
                    <a:pt x="863" y="115"/>
                    <a:pt x="878" y="115"/>
                  </a:cubicBezTo>
                  <a:cubicBezTo>
                    <a:pt x="931" y="115"/>
                    <a:pt x="969" y="153"/>
                    <a:pt x="1015" y="153"/>
                  </a:cubicBezTo>
                  <a:cubicBezTo>
                    <a:pt x="1046" y="161"/>
                    <a:pt x="1077" y="138"/>
                    <a:pt x="1107" y="138"/>
                  </a:cubicBezTo>
                  <a:cubicBezTo>
                    <a:pt x="1122" y="138"/>
                    <a:pt x="1122" y="168"/>
                    <a:pt x="1130" y="168"/>
                  </a:cubicBezTo>
                  <a:cubicBezTo>
                    <a:pt x="1145" y="168"/>
                    <a:pt x="1153" y="145"/>
                    <a:pt x="1168" y="138"/>
                  </a:cubicBezTo>
                  <a:cubicBezTo>
                    <a:pt x="1176" y="138"/>
                    <a:pt x="1183" y="161"/>
                    <a:pt x="1199" y="153"/>
                  </a:cubicBezTo>
                  <a:cubicBezTo>
                    <a:pt x="1214" y="145"/>
                    <a:pt x="1214" y="122"/>
                    <a:pt x="1222" y="99"/>
                  </a:cubicBezTo>
                  <a:cubicBezTo>
                    <a:pt x="1222" y="76"/>
                    <a:pt x="1206" y="54"/>
                    <a:pt x="1214" y="31"/>
                  </a:cubicBezTo>
                  <a:cubicBezTo>
                    <a:pt x="1222" y="15"/>
                    <a:pt x="1237" y="0"/>
                    <a:pt x="1252" y="0"/>
                  </a:cubicBezTo>
                  <a:cubicBezTo>
                    <a:pt x="1275" y="8"/>
                    <a:pt x="1290" y="31"/>
                    <a:pt x="1306" y="46"/>
                  </a:cubicBezTo>
                  <a:cubicBezTo>
                    <a:pt x="1321" y="54"/>
                    <a:pt x="1329" y="69"/>
                    <a:pt x="1344" y="76"/>
                  </a:cubicBezTo>
                  <a:cubicBezTo>
                    <a:pt x="1359" y="76"/>
                    <a:pt x="1374" y="76"/>
                    <a:pt x="1390" y="69"/>
                  </a:cubicBezTo>
                  <a:cubicBezTo>
                    <a:pt x="1405" y="61"/>
                    <a:pt x="1405" y="31"/>
                    <a:pt x="1420" y="31"/>
                  </a:cubicBezTo>
                  <a:cubicBezTo>
                    <a:pt x="1436" y="23"/>
                    <a:pt x="1451" y="38"/>
                    <a:pt x="1466" y="46"/>
                  </a:cubicBezTo>
                  <a:lnTo>
                    <a:pt x="1466" y="46"/>
                  </a:lnTo>
                  <a:cubicBezTo>
                    <a:pt x="1481" y="54"/>
                    <a:pt x="1489" y="76"/>
                    <a:pt x="1504" y="76"/>
                  </a:cubicBezTo>
                  <a:cubicBezTo>
                    <a:pt x="1527" y="76"/>
                    <a:pt x="1542" y="38"/>
                    <a:pt x="1573" y="38"/>
                  </a:cubicBezTo>
                  <a:cubicBezTo>
                    <a:pt x="1588" y="46"/>
                    <a:pt x="1588" y="76"/>
                    <a:pt x="1604" y="92"/>
                  </a:cubicBezTo>
                  <a:cubicBezTo>
                    <a:pt x="1619" y="99"/>
                    <a:pt x="1642" y="99"/>
                    <a:pt x="1657" y="92"/>
                  </a:cubicBezTo>
                  <a:cubicBezTo>
                    <a:pt x="1672" y="84"/>
                    <a:pt x="1665" y="54"/>
                    <a:pt x="1680" y="46"/>
                  </a:cubicBezTo>
                  <a:cubicBezTo>
                    <a:pt x="1695" y="38"/>
                    <a:pt x="1711" y="61"/>
                    <a:pt x="1726" y="61"/>
                  </a:cubicBezTo>
                  <a:cubicBezTo>
                    <a:pt x="1756" y="61"/>
                    <a:pt x="1787" y="38"/>
                    <a:pt x="1810" y="54"/>
                  </a:cubicBezTo>
                  <a:cubicBezTo>
                    <a:pt x="1840" y="69"/>
                    <a:pt x="1840" y="107"/>
                    <a:pt x="1840" y="138"/>
                  </a:cubicBezTo>
                  <a:cubicBezTo>
                    <a:pt x="1848" y="145"/>
                    <a:pt x="1840" y="153"/>
                    <a:pt x="1840" y="161"/>
                  </a:cubicBezTo>
                  <a:cubicBezTo>
                    <a:pt x="1840" y="168"/>
                    <a:pt x="1833" y="176"/>
                    <a:pt x="1840" y="176"/>
                  </a:cubicBezTo>
                  <a:cubicBezTo>
                    <a:pt x="1856" y="176"/>
                    <a:pt x="1871" y="161"/>
                    <a:pt x="1886" y="168"/>
                  </a:cubicBezTo>
                  <a:cubicBezTo>
                    <a:pt x="1917" y="168"/>
                    <a:pt x="1947" y="206"/>
                    <a:pt x="1986" y="206"/>
                  </a:cubicBezTo>
                  <a:cubicBezTo>
                    <a:pt x="2001" y="206"/>
                    <a:pt x="2008" y="176"/>
                    <a:pt x="2031" y="176"/>
                  </a:cubicBezTo>
                  <a:cubicBezTo>
                    <a:pt x="2062" y="176"/>
                    <a:pt x="2092" y="199"/>
                    <a:pt x="2123" y="214"/>
                  </a:cubicBezTo>
                  <a:lnTo>
                    <a:pt x="2123" y="214"/>
                  </a:lnTo>
                  <a:cubicBezTo>
                    <a:pt x="2123" y="245"/>
                    <a:pt x="2108" y="275"/>
                    <a:pt x="2115" y="306"/>
                  </a:cubicBezTo>
                  <a:cubicBezTo>
                    <a:pt x="2115" y="329"/>
                    <a:pt x="2146" y="329"/>
                    <a:pt x="2153" y="344"/>
                  </a:cubicBezTo>
                  <a:cubicBezTo>
                    <a:pt x="2169" y="359"/>
                    <a:pt x="2169" y="382"/>
                    <a:pt x="2169" y="405"/>
                  </a:cubicBezTo>
                  <a:cubicBezTo>
                    <a:pt x="2153" y="443"/>
                    <a:pt x="2123" y="474"/>
                    <a:pt x="2115" y="512"/>
                  </a:cubicBezTo>
                  <a:cubicBezTo>
                    <a:pt x="2115" y="535"/>
                    <a:pt x="2146" y="543"/>
                    <a:pt x="2153" y="558"/>
                  </a:cubicBezTo>
                  <a:cubicBezTo>
                    <a:pt x="2169" y="588"/>
                    <a:pt x="2169" y="626"/>
                    <a:pt x="2192" y="649"/>
                  </a:cubicBezTo>
                  <a:cubicBezTo>
                    <a:pt x="2199" y="665"/>
                    <a:pt x="2215" y="672"/>
                    <a:pt x="2230" y="680"/>
                  </a:cubicBezTo>
                  <a:cubicBezTo>
                    <a:pt x="2230" y="680"/>
                    <a:pt x="2222" y="756"/>
                    <a:pt x="2283" y="779"/>
                  </a:cubicBezTo>
                  <a:cubicBezTo>
                    <a:pt x="2352" y="802"/>
                    <a:pt x="2427" y="802"/>
                    <a:pt x="2481" y="840"/>
                  </a:cubicBezTo>
                  <a:cubicBezTo>
                    <a:pt x="2496" y="848"/>
                    <a:pt x="2466" y="871"/>
                    <a:pt x="2466" y="894"/>
                  </a:cubicBezTo>
                  <a:cubicBezTo>
                    <a:pt x="2458" y="901"/>
                    <a:pt x="2458" y="917"/>
                    <a:pt x="2458" y="932"/>
                  </a:cubicBezTo>
                  <a:cubicBezTo>
                    <a:pt x="2458" y="947"/>
                    <a:pt x="2450" y="978"/>
                    <a:pt x="2466" y="978"/>
                  </a:cubicBezTo>
                  <a:cubicBezTo>
                    <a:pt x="2496" y="985"/>
                    <a:pt x="2534" y="947"/>
                    <a:pt x="2565" y="947"/>
                  </a:cubicBezTo>
                  <a:cubicBezTo>
                    <a:pt x="2580" y="955"/>
                    <a:pt x="2565" y="978"/>
                    <a:pt x="2557" y="985"/>
                  </a:cubicBezTo>
                  <a:cubicBezTo>
                    <a:pt x="2519" y="1016"/>
                    <a:pt x="2458" y="1024"/>
                    <a:pt x="2435" y="1070"/>
                  </a:cubicBezTo>
                  <a:cubicBezTo>
                    <a:pt x="2420" y="1093"/>
                    <a:pt x="2450" y="1123"/>
                    <a:pt x="2458" y="1146"/>
                  </a:cubicBezTo>
                  <a:cubicBezTo>
                    <a:pt x="2458" y="1161"/>
                    <a:pt x="2458" y="1176"/>
                    <a:pt x="2450" y="1176"/>
                  </a:cubicBezTo>
                  <a:cubicBezTo>
                    <a:pt x="2435" y="1192"/>
                    <a:pt x="2404" y="1176"/>
                    <a:pt x="2404" y="1192"/>
                  </a:cubicBezTo>
                  <a:cubicBezTo>
                    <a:pt x="2390" y="1215"/>
                    <a:pt x="2398" y="1245"/>
                    <a:pt x="2420" y="1253"/>
                  </a:cubicBezTo>
                  <a:cubicBezTo>
                    <a:pt x="2458" y="1283"/>
                    <a:pt x="2512" y="1276"/>
                    <a:pt x="2557" y="1291"/>
                  </a:cubicBezTo>
                  <a:lnTo>
                    <a:pt x="2557" y="1291"/>
                  </a:lnTo>
                  <a:cubicBezTo>
                    <a:pt x="2611" y="1375"/>
                    <a:pt x="2611" y="1375"/>
                    <a:pt x="2611" y="1375"/>
                  </a:cubicBezTo>
                  <a:lnTo>
                    <a:pt x="2611" y="1375"/>
                  </a:lnTo>
                  <a:cubicBezTo>
                    <a:pt x="2573" y="1383"/>
                    <a:pt x="2542" y="1413"/>
                    <a:pt x="2496" y="1474"/>
                  </a:cubicBezTo>
                  <a:cubicBezTo>
                    <a:pt x="2481" y="1505"/>
                    <a:pt x="2360" y="1604"/>
                    <a:pt x="2352" y="1620"/>
                  </a:cubicBezTo>
                  <a:lnTo>
                    <a:pt x="2352" y="1620"/>
                  </a:lnTo>
                  <a:cubicBezTo>
                    <a:pt x="2306" y="1642"/>
                    <a:pt x="2322" y="1681"/>
                    <a:pt x="2314" y="1704"/>
                  </a:cubicBezTo>
                  <a:cubicBezTo>
                    <a:pt x="2306" y="1719"/>
                    <a:pt x="2283" y="1726"/>
                    <a:pt x="2276" y="1749"/>
                  </a:cubicBezTo>
                  <a:cubicBezTo>
                    <a:pt x="2261" y="1780"/>
                    <a:pt x="2268" y="1818"/>
                    <a:pt x="2253" y="1841"/>
                  </a:cubicBezTo>
                  <a:cubicBezTo>
                    <a:pt x="2245" y="1856"/>
                    <a:pt x="2230" y="1856"/>
                    <a:pt x="2215" y="1864"/>
                  </a:cubicBezTo>
                  <a:cubicBezTo>
                    <a:pt x="2199" y="1864"/>
                    <a:pt x="2176" y="1841"/>
                    <a:pt x="2161" y="1849"/>
                  </a:cubicBezTo>
                  <a:cubicBezTo>
                    <a:pt x="2146" y="1864"/>
                    <a:pt x="2123" y="1887"/>
                    <a:pt x="2123" y="1910"/>
                  </a:cubicBezTo>
                  <a:cubicBezTo>
                    <a:pt x="2123" y="1925"/>
                    <a:pt x="2153" y="1925"/>
                    <a:pt x="2161" y="1940"/>
                  </a:cubicBezTo>
                  <a:cubicBezTo>
                    <a:pt x="2161" y="1956"/>
                    <a:pt x="2146" y="1979"/>
                    <a:pt x="2161" y="1986"/>
                  </a:cubicBezTo>
                  <a:cubicBezTo>
                    <a:pt x="2192" y="2001"/>
                    <a:pt x="2230" y="1979"/>
                    <a:pt x="2261" y="1994"/>
                  </a:cubicBezTo>
                  <a:cubicBezTo>
                    <a:pt x="2276" y="2001"/>
                    <a:pt x="2291" y="2017"/>
                    <a:pt x="2299" y="2032"/>
                  </a:cubicBezTo>
                  <a:cubicBezTo>
                    <a:pt x="2306" y="2055"/>
                    <a:pt x="2322" y="2085"/>
                    <a:pt x="2306" y="2108"/>
                  </a:cubicBezTo>
                  <a:cubicBezTo>
                    <a:pt x="2299" y="2131"/>
                    <a:pt x="2253" y="2116"/>
                    <a:pt x="2245" y="2139"/>
                  </a:cubicBezTo>
                  <a:cubicBezTo>
                    <a:pt x="2238" y="2147"/>
                    <a:pt x="2261" y="2162"/>
                    <a:pt x="2261" y="2177"/>
                  </a:cubicBezTo>
                  <a:cubicBezTo>
                    <a:pt x="2261" y="2185"/>
                    <a:pt x="2245" y="2185"/>
                    <a:pt x="2238" y="2185"/>
                  </a:cubicBezTo>
                  <a:cubicBezTo>
                    <a:pt x="2222" y="2185"/>
                    <a:pt x="2199" y="2169"/>
                    <a:pt x="2184" y="2169"/>
                  </a:cubicBezTo>
                  <a:cubicBezTo>
                    <a:pt x="2169" y="2177"/>
                    <a:pt x="2146" y="2185"/>
                    <a:pt x="2138" y="2200"/>
                  </a:cubicBezTo>
                  <a:cubicBezTo>
                    <a:pt x="2130" y="2208"/>
                    <a:pt x="2146" y="2238"/>
                    <a:pt x="2130" y="2246"/>
                  </a:cubicBezTo>
                  <a:cubicBezTo>
                    <a:pt x="2115" y="2261"/>
                    <a:pt x="2085" y="2269"/>
                    <a:pt x="2062" y="2269"/>
                  </a:cubicBezTo>
                  <a:cubicBezTo>
                    <a:pt x="2047" y="2269"/>
                    <a:pt x="2031" y="2246"/>
                    <a:pt x="2008" y="2246"/>
                  </a:cubicBezTo>
                  <a:cubicBezTo>
                    <a:pt x="1963" y="2238"/>
                    <a:pt x="1917" y="2254"/>
                    <a:pt x="1871" y="2246"/>
                  </a:cubicBezTo>
                  <a:cubicBezTo>
                    <a:pt x="1863" y="2238"/>
                    <a:pt x="1863" y="2215"/>
                    <a:pt x="1856" y="2208"/>
                  </a:cubicBezTo>
                  <a:cubicBezTo>
                    <a:pt x="1840" y="2208"/>
                    <a:pt x="1825" y="2208"/>
                    <a:pt x="1817" y="2215"/>
                  </a:cubicBezTo>
                  <a:cubicBezTo>
                    <a:pt x="1802" y="2231"/>
                    <a:pt x="1817" y="2254"/>
                    <a:pt x="1802" y="2269"/>
                  </a:cubicBezTo>
                  <a:cubicBezTo>
                    <a:pt x="1779" y="2284"/>
                    <a:pt x="1749" y="2276"/>
                    <a:pt x="1718" y="2284"/>
                  </a:cubicBezTo>
                  <a:lnTo>
                    <a:pt x="1718" y="2284"/>
                  </a:lnTo>
                  <a:cubicBezTo>
                    <a:pt x="1718" y="2261"/>
                    <a:pt x="1695" y="2231"/>
                    <a:pt x="1711" y="2208"/>
                  </a:cubicBezTo>
                  <a:cubicBezTo>
                    <a:pt x="1718" y="2185"/>
                    <a:pt x="1764" y="2192"/>
                    <a:pt x="1779" y="2169"/>
                  </a:cubicBezTo>
                  <a:cubicBezTo>
                    <a:pt x="1794" y="2154"/>
                    <a:pt x="1817" y="2131"/>
                    <a:pt x="1810" y="2108"/>
                  </a:cubicBezTo>
                  <a:cubicBezTo>
                    <a:pt x="1810" y="2085"/>
                    <a:pt x="1779" y="2085"/>
                    <a:pt x="1756" y="2085"/>
                  </a:cubicBezTo>
                  <a:cubicBezTo>
                    <a:pt x="1741" y="2085"/>
                    <a:pt x="1741" y="2108"/>
                    <a:pt x="1726" y="2108"/>
                  </a:cubicBezTo>
                  <a:cubicBezTo>
                    <a:pt x="1711" y="2108"/>
                    <a:pt x="1695" y="2101"/>
                    <a:pt x="1688" y="2101"/>
                  </a:cubicBezTo>
                  <a:cubicBezTo>
                    <a:pt x="1672" y="2108"/>
                    <a:pt x="1672" y="2131"/>
                    <a:pt x="1657" y="2131"/>
                  </a:cubicBezTo>
                  <a:cubicBezTo>
                    <a:pt x="1626" y="2131"/>
                    <a:pt x="1596" y="2131"/>
                    <a:pt x="1565" y="2116"/>
                  </a:cubicBezTo>
                  <a:cubicBezTo>
                    <a:pt x="1550" y="2108"/>
                    <a:pt x="1550" y="2085"/>
                    <a:pt x="1535" y="2070"/>
                  </a:cubicBezTo>
                  <a:cubicBezTo>
                    <a:pt x="1527" y="2062"/>
                    <a:pt x="1519" y="2055"/>
                    <a:pt x="1512" y="2062"/>
                  </a:cubicBezTo>
                  <a:cubicBezTo>
                    <a:pt x="1474" y="2070"/>
                    <a:pt x="1443" y="2093"/>
                    <a:pt x="1405" y="2108"/>
                  </a:cubicBezTo>
                  <a:lnTo>
                    <a:pt x="1405" y="2108"/>
                  </a:lnTo>
                  <a:cubicBezTo>
                    <a:pt x="1397" y="2085"/>
                    <a:pt x="1405" y="2047"/>
                    <a:pt x="1382" y="2024"/>
                  </a:cubicBezTo>
                  <a:cubicBezTo>
                    <a:pt x="1374" y="2017"/>
                    <a:pt x="1359" y="2055"/>
                    <a:pt x="1344" y="2047"/>
                  </a:cubicBezTo>
                  <a:cubicBezTo>
                    <a:pt x="1329" y="2047"/>
                    <a:pt x="1329" y="2017"/>
                    <a:pt x="1313" y="2009"/>
                  </a:cubicBezTo>
                  <a:cubicBezTo>
                    <a:pt x="1290" y="2001"/>
                    <a:pt x="1267" y="2024"/>
                    <a:pt x="1244" y="2009"/>
                  </a:cubicBezTo>
                  <a:cubicBezTo>
                    <a:pt x="1206" y="1979"/>
                    <a:pt x="1191" y="1917"/>
                    <a:pt x="1145" y="1879"/>
                  </a:cubicBezTo>
                  <a:cubicBezTo>
                    <a:pt x="1130" y="1872"/>
                    <a:pt x="1100" y="1887"/>
                    <a:pt x="1077" y="1887"/>
                  </a:cubicBezTo>
                  <a:cubicBezTo>
                    <a:pt x="1054" y="1879"/>
                    <a:pt x="1046" y="1849"/>
                    <a:pt x="1031" y="1849"/>
                  </a:cubicBezTo>
                  <a:cubicBezTo>
                    <a:pt x="1008" y="1849"/>
                    <a:pt x="1000" y="1879"/>
                    <a:pt x="985" y="1872"/>
                  </a:cubicBezTo>
                  <a:cubicBezTo>
                    <a:pt x="931" y="1856"/>
                    <a:pt x="886" y="1826"/>
                    <a:pt x="840" y="1787"/>
                  </a:cubicBezTo>
                  <a:cubicBezTo>
                    <a:pt x="817" y="1772"/>
                    <a:pt x="794" y="1757"/>
                    <a:pt x="779" y="1734"/>
                  </a:cubicBezTo>
                  <a:cubicBezTo>
                    <a:pt x="771" y="1719"/>
                    <a:pt x="802" y="1711"/>
                    <a:pt x="802" y="1696"/>
                  </a:cubicBezTo>
                  <a:cubicBezTo>
                    <a:pt x="802" y="1681"/>
                    <a:pt x="771" y="1673"/>
                    <a:pt x="771" y="1658"/>
                  </a:cubicBezTo>
                  <a:cubicBezTo>
                    <a:pt x="763" y="1635"/>
                    <a:pt x="756" y="1604"/>
                    <a:pt x="771" y="1581"/>
                  </a:cubicBezTo>
                  <a:cubicBezTo>
                    <a:pt x="786" y="1566"/>
                    <a:pt x="832" y="1597"/>
                    <a:pt x="840" y="1574"/>
                  </a:cubicBezTo>
                  <a:cubicBezTo>
                    <a:pt x="863" y="1505"/>
                    <a:pt x="817" y="1436"/>
                    <a:pt x="840" y="1368"/>
                  </a:cubicBezTo>
                  <a:cubicBezTo>
                    <a:pt x="847" y="1345"/>
                    <a:pt x="878" y="1406"/>
                    <a:pt x="901" y="1406"/>
                  </a:cubicBezTo>
                  <a:cubicBezTo>
                    <a:pt x="916" y="1406"/>
                    <a:pt x="916" y="1375"/>
                    <a:pt x="939" y="1368"/>
                  </a:cubicBezTo>
                  <a:cubicBezTo>
                    <a:pt x="947" y="1360"/>
                    <a:pt x="977" y="1368"/>
                    <a:pt x="985" y="1352"/>
                  </a:cubicBezTo>
                  <a:cubicBezTo>
                    <a:pt x="992" y="1329"/>
                    <a:pt x="985" y="1291"/>
                    <a:pt x="977" y="1268"/>
                  </a:cubicBezTo>
                  <a:cubicBezTo>
                    <a:pt x="962" y="1245"/>
                    <a:pt x="939" y="1222"/>
                    <a:pt x="916" y="1222"/>
                  </a:cubicBezTo>
                  <a:cubicBezTo>
                    <a:pt x="832" y="1237"/>
                    <a:pt x="763" y="1329"/>
                    <a:pt x="679" y="1322"/>
                  </a:cubicBezTo>
                  <a:cubicBezTo>
                    <a:pt x="641" y="1314"/>
                    <a:pt x="687" y="1237"/>
                    <a:pt x="672" y="1199"/>
                  </a:cubicBezTo>
                  <a:cubicBezTo>
                    <a:pt x="664" y="1176"/>
                    <a:pt x="641" y="1161"/>
                    <a:pt x="626" y="1146"/>
                  </a:cubicBezTo>
                  <a:cubicBezTo>
                    <a:pt x="611" y="1131"/>
                    <a:pt x="595" y="1115"/>
                    <a:pt x="580" y="1123"/>
                  </a:cubicBezTo>
                  <a:cubicBezTo>
                    <a:pt x="565" y="1123"/>
                    <a:pt x="565" y="1146"/>
                    <a:pt x="550" y="1154"/>
                  </a:cubicBezTo>
                  <a:cubicBezTo>
                    <a:pt x="496" y="1176"/>
                    <a:pt x="450" y="1192"/>
                    <a:pt x="389" y="1207"/>
                  </a:cubicBezTo>
                  <a:cubicBezTo>
                    <a:pt x="381" y="1207"/>
                    <a:pt x="374" y="1184"/>
                    <a:pt x="366" y="1176"/>
                  </a:cubicBezTo>
                  <a:cubicBezTo>
                    <a:pt x="343" y="1176"/>
                    <a:pt x="320" y="1176"/>
                    <a:pt x="313" y="1192"/>
                  </a:cubicBezTo>
                  <a:cubicBezTo>
                    <a:pt x="305" y="1207"/>
                    <a:pt x="343" y="1230"/>
                    <a:pt x="328" y="1237"/>
                  </a:cubicBezTo>
                  <a:cubicBezTo>
                    <a:pt x="297" y="1253"/>
                    <a:pt x="259" y="1230"/>
                    <a:pt x="229" y="1237"/>
                  </a:cubicBezTo>
                  <a:cubicBezTo>
                    <a:pt x="213" y="1245"/>
                    <a:pt x="198" y="1253"/>
                    <a:pt x="183" y="1268"/>
                  </a:cubicBezTo>
                  <a:cubicBezTo>
                    <a:pt x="175" y="1276"/>
                    <a:pt x="183" y="1291"/>
                    <a:pt x="175" y="1306"/>
                  </a:cubicBezTo>
                  <a:cubicBezTo>
                    <a:pt x="168" y="1314"/>
                    <a:pt x="152" y="1306"/>
                    <a:pt x="137" y="1306"/>
                  </a:cubicBezTo>
                  <a:lnTo>
                    <a:pt x="137" y="1306"/>
                  </a:lnTo>
                  <a:cubicBezTo>
                    <a:pt x="114" y="1299"/>
                    <a:pt x="76" y="1299"/>
                    <a:pt x="76" y="1268"/>
                  </a:cubicBezTo>
                  <a:cubicBezTo>
                    <a:pt x="68" y="1230"/>
                    <a:pt x="129" y="1199"/>
                    <a:pt x="122" y="1154"/>
                  </a:cubicBezTo>
                  <a:cubicBezTo>
                    <a:pt x="122" y="1131"/>
                    <a:pt x="76" y="1138"/>
                    <a:pt x="61" y="1115"/>
                  </a:cubicBezTo>
                  <a:cubicBezTo>
                    <a:pt x="53" y="1108"/>
                    <a:pt x="53" y="1093"/>
                    <a:pt x="68" y="1085"/>
                  </a:cubicBezTo>
                  <a:cubicBezTo>
                    <a:pt x="114" y="1070"/>
                    <a:pt x="160" y="1054"/>
                    <a:pt x="213" y="1039"/>
                  </a:cubicBezTo>
                  <a:cubicBezTo>
                    <a:pt x="236" y="1039"/>
                    <a:pt x="282" y="1070"/>
                    <a:pt x="282" y="1039"/>
                  </a:cubicBezTo>
                  <a:cubicBezTo>
                    <a:pt x="290" y="1008"/>
                    <a:pt x="252" y="978"/>
                    <a:pt x="229" y="955"/>
                  </a:cubicBezTo>
                  <a:cubicBezTo>
                    <a:pt x="213" y="940"/>
                    <a:pt x="191" y="932"/>
                    <a:pt x="175" y="9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0" name="Freeform 142"/>
            <p:cNvSpPr>
              <a:spLocks noChangeArrowheads="1"/>
            </p:cNvSpPr>
            <p:nvPr/>
          </p:nvSpPr>
          <p:spPr bwMode="auto">
            <a:xfrm>
              <a:off x="5843208" y="4219576"/>
              <a:ext cx="682581" cy="461963"/>
            </a:xfrm>
            <a:custGeom>
              <a:avLst/>
              <a:gdLst>
                <a:gd name="T0" fmla="*/ 0 w 1894"/>
                <a:gd name="T1" fmla="*/ 1085 h 1284"/>
                <a:gd name="T2" fmla="*/ 0 w 1894"/>
                <a:gd name="T3" fmla="*/ 1085 h 1284"/>
                <a:gd name="T4" fmla="*/ 38 w 1894"/>
                <a:gd name="T5" fmla="*/ 1016 h 1284"/>
                <a:gd name="T6" fmla="*/ 161 w 1894"/>
                <a:gd name="T7" fmla="*/ 1008 h 1284"/>
                <a:gd name="T8" fmla="*/ 122 w 1894"/>
                <a:gd name="T9" fmla="*/ 970 h 1284"/>
                <a:gd name="T10" fmla="*/ 168 w 1894"/>
                <a:gd name="T11" fmla="*/ 932 h 1284"/>
                <a:gd name="T12" fmla="*/ 168 w 1894"/>
                <a:gd name="T13" fmla="*/ 932 h 1284"/>
                <a:gd name="T14" fmla="*/ 252 w 1894"/>
                <a:gd name="T15" fmla="*/ 917 h 1284"/>
                <a:gd name="T16" fmla="*/ 267 w 1894"/>
                <a:gd name="T17" fmla="*/ 863 h 1284"/>
                <a:gd name="T18" fmla="*/ 306 w 1894"/>
                <a:gd name="T19" fmla="*/ 856 h 1284"/>
                <a:gd name="T20" fmla="*/ 321 w 1894"/>
                <a:gd name="T21" fmla="*/ 894 h 1284"/>
                <a:gd name="T22" fmla="*/ 458 w 1894"/>
                <a:gd name="T23" fmla="*/ 894 h 1284"/>
                <a:gd name="T24" fmla="*/ 512 w 1894"/>
                <a:gd name="T25" fmla="*/ 917 h 1284"/>
                <a:gd name="T26" fmla="*/ 580 w 1894"/>
                <a:gd name="T27" fmla="*/ 894 h 1284"/>
                <a:gd name="T28" fmla="*/ 588 w 1894"/>
                <a:gd name="T29" fmla="*/ 848 h 1284"/>
                <a:gd name="T30" fmla="*/ 634 w 1894"/>
                <a:gd name="T31" fmla="*/ 817 h 1284"/>
                <a:gd name="T32" fmla="*/ 688 w 1894"/>
                <a:gd name="T33" fmla="*/ 833 h 1284"/>
                <a:gd name="T34" fmla="*/ 711 w 1894"/>
                <a:gd name="T35" fmla="*/ 825 h 1284"/>
                <a:gd name="T36" fmla="*/ 695 w 1894"/>
                <a:gd name="T37" fmla="*/ 787 h 1284"/>
                <a:gd name="T38" fmla="*/ 756 w 1894"/>
                <a:gd name="T39" fmla="*/ 756 h 1284"/>
                <a:gd name="T40" fmla="*/ 749 w 1894"/>
                <a:gd name="T41" fmla="*/ 680 h 1284"/>
                <a:gd name="T42" fmla="*/ 711 w 1894"/>
                <a:gd name="T43" fmla="*/ 642 h 1284"/>
                <a:gd name="T44" fmla="*/ 611 w 1894"/>
                <a:gd name="T45" fmla="*/ 634 h 1284"/>
                <a:gd name="T46" fmla="*/ 611 w 1894"/>
                <a:gd name="T47" fmla="*/ 588 h 1284"/>
                <a:gd name="T48" fmla="*/ 573 w 1894"/>
                <a:gd name="T49" fmla="*/ 558 h 1284"/>
                <a:gd name="T50" fmla="*/ 611 w 1894"/>
                <a:gd name="T51" fmla="*/ 497 h 1284"/>
                <a:gd name="T52" fmla="*/ 665 w 1894"/>
                <a:gd name="T53" fmla="*/ 512 h 1284"/>
                <a:gd name="T54" fmla="*/ 703 w 1894"/>
                <a:gd name="T55" fmla="*/ 489 h 1284"/>
                <a:gd name="T56" fmla="*/ 726 w 1894"/>
                <a:gd name="T57" fmla="*/ 397 h 1284"/>
                <a:gd name="T58" fmla="*/ 764 w 1894"/>
                <a:gd name="T59" fmla="*/ 352 h 1284"/>
                <a:gd name="T60" fmla="*/ 802 w 1894"/>
                <a:gd name="T61" fmla="*/ 268 h 1284"/>
                <a:gd name="T62" fmla="*/ 802 w 1894"/>
                <a:gd name="T63" fmla="*/ 268 h 1284"/>
                <a:gd name="T64" fmla="*/ 1359 w 1894"/>
                <a:gd name="T65" fmla="*/ 23 h 1284"/>
                <a:gd name="T66" fmla="*/ 1473 w 1894"/>
                <a:gd name="T67" fmla="*/ 145 h 1284"/>
                <a:gd name="T68" fmla="*/ 1603 w 1894"/>
                <a:gd name="T69" fmla="*/ 352 h 1284"/>
                <a:gd name="T70" fmla="*/ 1786 w 1894"/>
                <a:gd name="T71" fmla="*/ 550 h 1284"/>
                <a:gd name="T72" fmla="*/ 1672 w 1894"/>
                <a:gd name="T73" fmla="*/ 649 h 1284"/>
                <a:gd name="T74" fmla="*/ 1458 w 1894"/>
                <a:gd name="T75" fmla="*/ 764 h 1284"/>
                <a:gd name="T76" fmla="*/ 1305 w 1894"/>
                <a:gd name="T77" fmla="*/ 703 h 1284"/>
                <a:gd name="T78" fmla="*/ 1046 w 1894"/>
                <a:gd name="T79" fmla="*/ 871 h 1284"/>
                <a:gd name="T80" fmla="*/ 946 w 1894"/>
                <a:gd name="T81" fmla="*/ 963 h 1284"/>
                <a:gd name="T82" fmla="*/ 900 w 1894"/>
                <a:gd name="T83" fmla="*/ 1108 h 1284"/>
                <a:gd name="T84" fmla="*/ 787 w 1894"/>
                <a:gd name="T85" fmla="*/ 1138 h 1284"/>
                <a:gd name="T86" fmla="*/ 603 w 1894"/>
                <a:gd name="T87" fmla="*/ 1199 h 1284"/>
                <a:gd name="T88" fmla="*/ 519 w 1894"/>
                <a:gd name="T89" fmla="*/ 1238 h 1284"/>
                <a:gd name="T90" fmla="*/ 390 w 1894"/>
                <a:gd name="T91" fmla="*/ 1199 h 1284"/>
                <a:gd name="T92" fmla="*/ 214 w 1894"/>
                <a:gd name="T93" fmla="*/ 1146 h 1284"/>
                <a:gd name="T94" fmla="*/ 46 w 1894"/>
                <a:gd name="T95" fmla="*/ 1161 h 1284"/>
                <a:gd name="T96" fmla="*/ 46 w 1894"/>
                <a:gd name="T97" fmla="*/ 1161 h 1284"/>
                <a:gd name="T98" fmla="*/ 0 w 1894"/>
                <a:gd name="T99" fmla="*/ 1085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94" h="1284">
                  <a:moveTo>
                    <a:pt x="0" y="1085"/>
                  </a:moveTo>
                  <a:lnTo>
                    <a:pt x="0" y="1085"/>
                  </a:lnTo>
                  <a:cubicBezTo>
                    <a:pt x="15" y="1062"/>
                    <a:pt x="15" y="1024"/>
                    <a:pt x="38" y="1016"/>
                  </a:cubicBezTo>
                  <a:cubicBezTo>
                    <a:pt x="76" y="993"/>
                    <a:pt x="130" y="1024"/>
                    <a:pt x="161" y="1008"/>
                  </a:cubicBezTo>
                  <a:cubicBezTo>
                    <a:pt x="176" y="1001"/>
                    <a:pt x="122" y="993"/>
                    <a:pt x="122" y="970"/>
                  </a:cubicBezTo>
                  <a:cubicBezTo>
                    <a:pt x="122" y="955"/>
                    <a:pt x="153" y="947"/>
                    <a:pt x="168" y="932"/>
                  </a:cubicBezTo>
                  <a:lnTo>
                    <a:pt x="168" y="932"/>
                  </a:lnTo>
                  <a:cubicBezTo>
                    <a:pt x="199" y="924"/>
                    <a:pt x="229" y="932"/>
                    <a:pt x="252" y="917"/>
                  </a:cubicBezTo>
                  <a:cubicBezTo>
                    <a:pt x="267" y="902"/>
                    <a:pt x="252" y="879"/>
                    <a:pt x="267" y="863"/>
                  </a:cubicBezTo>
                  <a:cubicBezTo>
                    <a:pt x="275" y="856"/>
                    <a:pt x="290" y="856"/>
                    <a:pt x="306" y="856"/>
                  </a:cubicBezTo>
                  <a:cubicBezTo>
                    <a:pt x="313" y="863"/>
                    <a:pt x="313" y="886"/>
                    <a:pt x="321" y="894"/>
                  </a:cubicBezTo>
                  <a:cubicBezTo>
                    <a:pt x="367" y="902"/>
                    <a:pt x="413" y="886"/>
                    <a:pt x="458" y="894"/>
                  </a:cubicBezTo>
                  <a:cubicBezTo>
                    <a:pt x="481" y="894"/>
                    <a:pt x="497" y="917"/>
                    <a:pt x="512" y="917"/>
                  </a:cubicBezTo>
                  <a:cubicBezTo>
                    <a:pt x="535" y="917"/>
                    <a:pt x="565" y="909"/>
                    <a:pt x="580" y="894"/>
                  </a:cubicBezTo>
                  <a:cubicBezTo>
                    <a:pt x="596" y="886"/>
                    <a:pt x="580" y="856"/>
                    <a:pt x="588" y="848"/>
                  </a:cubicBezTo>
                  <a:cubicBezTo>
                    <a:pt x="596" y="833"/>
                    <a:pt x="619" y="825"/>
                    <a:pt x="634" y="817"/>
                  </a:cubicBezTo>
                  <a:cubicBezTo>
                    <a:pt x="649" y="817"/>
                    <a:pt x="672" y="833"/>
                    <a:pt x="688" y="833"/>
                  </a:cubicBezTo>
                  <a:cubicBezTo>
                    <a:pt x="695" y="833"/>
                    <a:pt x="711" y="833"/>
                    <a:pt x="711" y="825"/>
                  </a:cubicBezTo>
                  <a:cubicBezTo>
                    <a:pt x="711" y="810"/>
                    <a:pt x="688" y="795"/>
                    <a:pt x="695" y="787"/>
                  </a:cubicBezTo>
                  <a:cubicBezTo>
                    <a:pt x="703" y="764"/>
                    <a:pt x="749" y="779"/>
                    <a:pt x="756" y="756"/>
                  </a:cubicBezTo>
                  <a:cubicBezTo>
                    <a:pt x="772" y="733"/>
                    <a:pt x="756" y="703"/>
                    <a:pt x="749" y="680"/>
                  </a:cubicBezTo>
                  <a:cubicBezTo>
                    <a:pt x="741" y="665"/>
                    <a:pt x="726" y="649"/>
                    <a:pt x="711" y="642"/>
                  </a:cubicBezTo>
                  <a:cubicBezTo>
                    <a:pt x="680" y="627"/>
                    <a:pt x="642" y="649"/>
                    <a:pt x="611" y="634"/>
                  </a:cubicBezTo>
                  <a:cubicBezTo>
                    <a:pt x="596" y="627"/>
                    <a:pt x="611" y="604"/>
                    <a:pt x="611" y="588"/>
                  </a:cubicBezTo>
                  <a:cubicBezTo>
                    <a:pt x="603" y="573"/>
                    <a:pt x="573" y="573"/>
                    <a:pt x="573" y="558"/>
                  </a:cubicBezTo>
                  <a:cubicBezTo>
                    <a:pt x="573" y="535"/>
                    <a:pt x="596" y="512"/>
                    <a:pt x="611" y="497"/>
                  </a:cubicBezTo>
                  <a:cubicBezTo>
                    <a:pt x="626" y="489"/>
                    <a:pt x="649" y="512"/>
                    <a:pt x="665" y="512"/>
                  </a:cubicBezTo>
                  <a:cubicBezTo>
                    <a:pt x="680" y="504"/>
                    <a:pt x="695" y="504"/>
                    <a:pt x="703" y="489"/>
                  </a:cubicBezTo>
                  <a:cubicBezTo>
                    <a:pt x="718" y="466"/>
                    <a:pt x="711" y="428"/>
                    <a:pt x="726" y="397"/>
                  </a:cubicBezTo>
                  <a:cubicBezTo>
                    <a:pt x="733" y="374"/>
                    <a:pt x="756" y="367"/>
                    <a:pt x="764" y="352"/>
                  </a:cubicBezTo>
                  <a:cubicBezTo>
                    <a:pt x="772" y="329"/>
                    <a:pt x="756" y="290"/>
                    <a:pt x="802" y="268"/>
                  </a:cubicBezTo>
                  <a:lnTo>
                    <a:pt x="802" y="268"/>
                  </a:lnTo>
                  <a:cubicBezTo>
                    <a:pt x="992" y="268"/>
                    <a:pt x="1175" y="23"/>
                    <a:pt x="1359" y="23"/>
                  </a:cubicBezTo>
                  <a:cubicBezTo>
                    <a:pt x="1481" y="23"/>
                    <a:pt x="1488" y="0"/>
                    <a:pt x="1473" y="145"/>
                  </a:cubicBezTo>
                  <a:cubicBezTo>
                    <a:pt x="1466" y="252"/>
                    <a:pt x="1481" y="344"/>
                    <a:pt x="1603" y="352"/>
                  </a:cubicBezTo>
                  <a:cubicBezTo>
                    <a:pt x="1664" y="367"/>
                    <a:pt x="1893" y="497"/>
                    <a:pt x="1786" y="550"/>
                  </a:cubicBezTo>
                  <a:cubicBezTo>
                    <a:pt x="1748" y="565"/>
                    <a:pt x="1710" y="627"/>
                    <a:pt x="1672" y="649"/>
                  </a:cubicBezTo>
                  <a:cubicBezTo>
                    <a:pt x="1634" y="688"/>
                    <a:pt x="1504" y="756"/>
                    <a:pt x="1458" y="764"/>
                  </a:cubicBezTo>
                  <a:cubicBezTo>
                    <a:pt x="1359" y="772"/>
                    <a:pt x="1374" y="733"/>
                    <a:pt x="1305" y="703"/>
                  </a:cubicBezTo>
                  <a:cubicBezTo>
                    <a:pt x="1252" y="680"/>
                    <a:pt x="1091" y="840"/>
                    <a:pt x="1046" y="871"/>
                  </a:cubicBezTo>
                  <a:cubicBezTo>
                    <a:pt x="1015" y="894"/>
                    <a:pt x="962" y="932"/>
                    <a:pt x="946" y="963"/>
                  </a:cubicBezTo>
                  <a:cubicBezTo>
                    <a:pt x="923" y="1016"/>
                    <a:pt x="954" y="1062"/>
                    <a:pt x="900" y="1108"/>
                  </a:cubicBezTo>
                  <a:cubicBezTo>
                    <a:pt x="877" y="1138"/>
                    <a:pt x="825" y="1154"/>
                    <a:pt x="787" y="1138"/>
                  </a:cubicBezTo>
                  <a:cubicBezTo>
                    <a:pt x="741" y="1123"/>
                    <a:pt x="642" y="1177"/>
                    <a:pt x="603" y="1199"/>
                  </a:cubicBezTo>
                  <a:cubicBezTo>
                    <a:pt x="565" y="1207"/>
                    <a:pt x="588" y="1283"/>
                    <a:pt x="519" y="1238"/>
                  </a:cubicBezTo>
                  <a:cubicBezTo>
                    <a:pt x="489" y="1215"/>
                    <a:pt x="428" y="1199"/>
                    <a:pt x="390" y="1199"/>
                  </a:cubicBezTo>
                  <a:cubicBezTo>
                    <a:pt x="321" y="1192"/>
                    <a:pt x="290" y="1146"/>
                    <a:pt x="214" y="1146"/>
                  </a:cubicBezTo>
                  <a:cubicBezTo>
                    <a:pt x="161" y="1146"/>
                    <a:pt x="99" y="1161"/>
                    <a:pt x="46" y="1161"/>
                  </a:cubicBezTo>
                  <a:lnTo>
                    <a:pt x="46" y="1161"/>
                  </a:lnTo>
                  <a:cubicBezTo>
                    <a:pt x="0" y="1085"/>
                    <a:pt x="0" y="1085"/>
                    <a:pt x="0" y="108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1" name="Freeform 143"/>
            <p:cNvSpPr>
              <a:spLocks noChangeArrowheads="1"/>
            </p:cNvSpPr>
            <p:nvPr/>
          </p:nvSpPr>
          <p:spPr bwMode="auto">
            <a:xfrm>
              <a:off x="5765424" y="4471988"/>
              <a:ext cx="173027" cy="138112"/>
            </a:xfrm>
            <a:custGeom>
              <a:avLst/>
              <a:gdLst>
                <a:gd name="T0" fmla="*/ 214 w 482"/>
                <a:gd name="T1" fmla="*/ 382 h 383"/>
                <a:gd name="T2" fmla="*/ 214 w 482"/>
                <a:gd name="T3" fmla="*/ 382 h 383"/>
                <a:gd name="T4" fmla="*/ 252 w 482"/>
                <a:gd name="T5" fmla="*/ 313 h 383"/>
                <a:gd name="T6" fmla="*/ 375 w 482"/>
                <a:gd name="T7" fmla="*/ 305 h 383"/>
                <a:gd name="T8" fmla="*/ 336 w 482"/>
                <a:gd name="T9" fmla="*/ 267 h 383"/>
                <a:gd name="T10" fmla="*/ 382 w 482"/>
                <a:gd name="T11" fmla="*/ 229 h 383"/>
                <a:gd name="T12" fmla="*/ 382 w 482"/>
                <a:gd name="T13" fmla="*/ 229 h 383"/>
                <a:gd name="T14" fmla="*/ 375 w 482"/>
                <a:gd name="T15" fmla="*/ 153 h 383"/>
                <a:gd name="T16" fmla="*/ 443 w 482"/>
                <a:gd name="T17" fmla="*/ 114 h 383"/>
                <a:gd name="T18" fmla="*/ 474 w 482"/>
                <a:gd name="T19" fmla="*/ 53 h 383"/>
                <a:gd name="T20" fmla="*/ 420 w 482"/>
                <a:gd name="T21" fmla="*/ 30 h 383"/>
                <a:gd name="T22" fmla="*/ 390 w 482"/>
                <a:gd name="T23" fmla="*/ 53 h 383"/>
                <a:gd name="T24" fmla="*/ 352 w 482"/>
                <a:gd name="T25" fmla="*/ 46 h 383"/>
                <a:gd name="T26" fmla="*/ 321 w 482"/>
                <a:gd name="T27" fmla="*/ 76 h 383"/>
                <a:gd name="T28" fmla="*/ 229 w 482"/>
                <a:gd name="T29" fmla="*/ 61 h 383"/>
                <a:gd name="T30" fmla="*/ 199 w 482"/>
                <a:gd name="T31" fmla="*/ 15 h 383"/>
                <a:gd name="T32" fmla="*/ 176 w 482"/>
                <a:gd name="T33" fmla="*/ 7 h 383"/>
                <a:gd name="T34" fmla="*/ 69 w 482"/>
                <a:gd name="T35" fmla="*/ 53 h 383"/>
                <a:gd name="T36" fmla="*/ 69 w 482"/>
                <a:gd name="T37" fmla="*/ 53 h 383"/>
                <a:gd name="T38" fmla="*/ 31 w 482"/>
                <a:gd name="T39" fmla="*/ 92 h 383"/>
                <a:gd name="T40" fmla="*/ 31 w 482"/>
                <a:gd name="T41" fmla="*/ 176 h 383"/>
                <a:gd name="T42" fmla="*/ 31 w 482"/>
                <a:gd name="T43" fmla="*/ 214 h 383"/>
                <a:gd name="T44" fmla="*/ 0 w 482"/>
                <a:gd name="T45" fmla="*/ 229 h 383"/>
                <a:gd name="T46" fmla="*/ 16 w 482"/>
                <a:gd name="T47" fmla="*/ 267 h 383"/>
                <a:gd name="T48" fmla="*/ 107 w 482"/>
                <a:gd name="T49" fmla="*/ 305 h 383"/>
                <a:gd name="T50" fmla="*/ 107 w 482"/>
                <a:gd name="T51" fmla="*/ 305 h 383"/>
                <a:gd name="T52" fmla="*/ 214 w 482"/>
                <a:gd name="T53" fmla="*/ 38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2" h="383">
                  <a:moveTo>
                    <a:pt x="214" y="382"/>
                  </a:moveTo>
                  <a:lnTo>
                    <a:pt x="214" y="382"/>
                  </a:lnTo>
                  <a:cubicBezTo>
                    <a:pt x="229" y="359"/>
                    <a:pt x="229" y="321"/>
                    <a:pt x="252" y="313"/>
                  </a:cubicBezTo>
                  <a:cubicBezTo>
                    <a:pt x="290" y="290"/>
                    <a:pt x="344" y="321"/>
                    <a:pt x="375" y="305"/>
                  </a:cubicBezTo>
                  <a:cubicBezTo>
                    <a:pt x="390" y="298"/>
                    <a:pt x="336" y="290"/>
                    <a:pt x="336" y="267"/>
                  </a:cubicBezTo>
                  <a:cubicBezTo>
                    <a:pt x="336" y="252"/>
                    <a:pt x="367" y="244"/>
                    <a:pt x="382" y="229"/>
                  </a:cubicBezTo>
                  <a:lnTo>
                    <a:pt x="382" y="229"/>
                  </a:lnTo>
                  <a:cubicBezTo>
                    <a:pt x="382" y="206"/>
                    <a:pt x="359" y="176"/>
                    <a:pt x="375" y="153"/>
                  </a:cubicBezTo>
                  <a:cubicBezTo>
                    <a:pt x="382" y="130"/>
                    <a:pt x="428" y="137"/>
                    <a:pt x="443" y="114"/>
                  </a:cubicBezTo>
                  <a:cubicBezTo>
                    <a:pt x="458" y="99"/>
                    <a:pt x="481" y="76"/>
                    <a:pt x="474" y="53"/>
                  </a:cubicBezTo>
                  <a:cubicBezTo>
                    <a:pt x="474" y="30"/>
                    <a:pt x="443" y="30"/>
                    <a:pt x="420" y="30"/>
                  </a:cubicBezTo>
                  <a:cubicBezTo>
                    <a:pt x="405" y="30"/>
                    <a:pt x="405" y="53"/>
                    <a:pt x="390" y="53"/>
                  </a:cubicBezTo>
                  <a:cubicBezTo>
                    <a:pt x="375" y="53"/>
                    <a:pt x="359" y="46"/>
                    <a:pt x="352" y="46"/>
                  </a:cubicBezTo>
                  <a:cubicBezTo>
                    <a:pt x="336" y="53"/>
                    <a:pt x="336" y="76"/>
                    <a:pt x="321" y="76"/>
                  </a:cubicBezTo>
                  <a:cubicBezTo>
                    <a:pt x="290" y="76"/>
                    <a:pt x="260" y="76"/>
                    <a:pt x="229" y="61"/>
                  </a:cubicBezTo>
                  <a:cubicBezTo>
                    <a:pt x="214" y="53"/>
                    <a:pt x="214" y="30"/>
                    <a:pt x="199" y="15"/>
                  </a:cubicBezTo>
                  <a:cubicBezTo>
                    <a:pt x="191" y="7"/>
                    <a:pt x="183" y="0"/>
                    <a:pt x="176" y="7"/>
                  </a:cubicBezTo>
                  <a:cubicBezTo>
                    <a:pt x="138" y="15"/>
                    <a:pt x="107" y="38"/>
                    <a:pt x="69" y="53"/>
                  </a:cubicBezTo>
                  <a:lnTo>
                    <a:pt x="69" y="53"/>
                  </a:lnTo>
                  <a:cubicBezTo>
                    <a:pt x="61" y="69"/>
                    <a:pt x="38" y="76"/>
                    <a:pt x="31" y="92"/>
                  </a:cubicBezTo>
                  <a:cubicBezTo>
                    <a:pt x="23" y="122"/>
                    <a:pt x="31" y="145"/>
                    <a:pt x="31" y="176"/>
                  </a:cubicBezTo>
                  <a:cubicBezTo>
                    <a:pt x="31" y="191"/>
                    <a:pt x="31" y="206"/>
                    <a:pt x="31" y="214"/>
                  </a:cubicBezTo>
                  <a:cubicBezTo>
                    <a:pt x="23" y="229"/>
                    <a:pt x="8" y="221"/>
                    <a:pt x="0" y="229"/>
                  </a:cubicBezTo>
                  <a:cubicBezTo>
                    <a:pt x="0" y="244"/>
                    <a:pt x="8" y="260"/>
                    <a:pt x="16" y="267"/>
                  </a:cubicBezTo>
                  <a:cubicBezTo>
                    <a:pt x="38" y="282"/>
                    <a:pt x="77" y="290"/>
                    <a:pt x="107" y="305"/>
                  </a:cubicBezTo>
                  <a:lnTo>
                    <a:pt x="107" y="305"/>
                  </a:lnTo>
                  <a:cubicBezTo>
                    <a:pt x="214" y="382"/>
                    <a:pt x="214" y="382"/>
                    <a:pt x="214" y="38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2" name="Freeform 144"/>
            <p:cNvSpPr>
              <a:spLocks noChangeArrowheads="1"/>
            </p:cNvSpPr>
            <p:nvPr/>
          </p:nvSpPr>
          <p:spPr bwMode="auto">
            <a:xfrm>
              <a:off x="5219360" y="4133851"/>
              <a:ext cx="588925" cy="588963"/>
            </a:xfrm>
            <a:custGeom>
              <a:avLst/>
              <a:gdLst>
                <a:gd name="T0" fmla="*/ 489 w 1636"/>
                <a:gd name="T1" fmla="*/ 1291 h 1636"/>
                <a:gd name="T2" fmla="*/ 596 w 1636"/>
                <a:gd name="T3" fmla="*/ 1314 h 1636"/>
                <a:gd name="T4" fmla="*/ 680 w 1636"/>
                <a:gd name="T5" fmla="*/ 1352 h 1636"/>
                <a:gd name="T6" fmla="*/ 672 w 1636"/>
                <a:gd name="T7" fmla="*/ 1497 h 1636"/>
                <a:gd name="T8" fmla="*/ 749 w 1636"/>
                <a:gd name="T9" fmla="*/ 1574 h 1636"/>
                <a:gd name="T10" fmla="*/ 779 w 1636"/>
                <a:gd name="T11" fmla="*/ 1589 h 1636"/>
                <a:gd name="T12" fmla="*/ 894 w 1636"/>
                <a:gd name="T13" fmla="*/ 1620 h 1636"/>
                <a:gd name="T14" fmla="*/ 986 w 1636"/>
                <a:gd name="T15" fmla="*/ 1574 h 1636"/>
                <a:gd name="T16" fmla="*/ 955 w 1636"/>
                <a:gd name="T17" fmla="*/ 1452 h 1636"/>
                <a:gd name="T18" fmla="*/ 1024 w 1636"/>
                <a:gd name="T19" fmla="*/ 1459 h 1636"/>
                <a:gd name="T20" fmla="*/ 1108 w 1636"/>
                <a:gd name="T21" fmla="*/ 1482 h 1636"/>
                <a:gd name="T22" fmla="*/ 1176 w 1636"/>
                <a:gd name="T23" fmla="*/ 1490 h 1636"/>
                <a:gd name="T24" fmla="*/ 1245 w 1636"/>
                <a:gd name="T25" fmla="*/ 1467 h 1636"/>
                <a:gd name="T26" fmla="*/ 1375 w 1636"/>
                <a:gd name="T27" fmla="*/ 1436 h 1636"/>
                <a:gd name="T28" fmla="*/ 1406 w 1636"/>
                <a:gd name="T29" fmla="*/ 1398 h 1636"/>
                <a:gd name="T30" fmla="*/ 1612 w 1636"/>
                <a:gd name="T31" fmla="*/ 1391 h 1636"/>
                <a:gd name="T32" fmla="*/ 1589 w 1636"/>
                <a:gd name="T33" fmla="*/ 1322 h 1636"/>
                <a:gd name="T34" fmla="*/ 1627 w 1636"/>
                <a:gd name="T35" fmla="*/ 1245 h 1636"/>
                <a:gd name="T36" fmla="*/ 1520 w 1636"/>
                <a:gd name="T37" fmla="*/ 1169 h 1636"/>
                <a:gd name="T38" fmla="*/ 1551 w 1636"/>
                <a:gd name="T39" fmla="*/ 1116 h 1636"/>
                <a:gd name="T40" fmla="*/ 1589 w 1636"/>
                <a:gd name="T41" fmla="*/ 993 h 1636"/>
                <a:gd name="T42" fmla="*/ 1566 w 1636"/>
                <a:gd name="T43" fmla="*/ 909 h 1636"/>
                <a:gd name="T44" fmla="*/ 1497 w 1636"/>
                <a:gd name="T45" fmla="*/ 894 h 1636"/>
                <a:gd name="T46" fmla="*/ 1329 w 1636"/>
                <a:gd name="T47" fmla="*/ 764 h 1636"/>
                <a:gd name="T48" fmla="*/ 1215 w 1636"/>
                <a:gd name="T49" fmla="*/ 734 h 1636"/>
                <a:gd name="T50" fmla="*/ 1024 w 1636"/>
                <a:gd name="T51" fmla="*/ 672 h 1636"/>
                <a:gd name="T52" fmla="*/ 986 w 1636"/>
                <a:gd name="T53" fmla="*/ 581 h 1636"/>
                <a:gd name="T54" fmla="*/ 955 w 1636"/>
                <a:gd name="T55" fmla="*/ 466 h 1636"/>
                <a:gd name="T56" fmla="*/ 1024 w 1636"/>
                <a:gd name="T57" fmla="*/ 253 h 1636"/>
                <a:gd name="T58" fmla="*/ 1123 w 1636"/>
                <a:gd name="T59" fmla="*/ 253 h 1636"/>
                <a:gd name="T60" fmla="*/ 1161 w 1636"/>
                <a:gd name="T61" fmla="*/ 153 h 1636"/>
                <a:gd name="T62" fmla="*/ 863 w 1636"/>
                <a:gd name="T63" fmla="*/ 207 h 1636"/>
                <a:gd name="T64" fmla="*/ 810 w 1636"/>
                <a:gd name="T65" fmla="*/ 31 h 1636"/>
                <a:gd name="T66" fmla="*/ 734 w 1636"/>
                <a:gd name="T67" fmla="*/ 39 h 1636"/>
                <a:gd name="T68" fmla="*/ 550 w 1636"/>
                <a:gd name="T69" fmla="*/ 61 h 1636"/>
                <a:gd name="T70" fmla="*/ 512 w 1636"/>
                <a:gd name="T71" fmla="*/ 122 h 1636"/>
                <a:gd name="T72" fmla="*/ 367 w 1636"/>
                <a:gd name="T73" fmla="*/ 153 h 1636"/>
                <a:gd name="T74" fmla="*/ 321 w 1636"/>
                <a:gd name="T75" fmla="*/ 191 h 1636"/>
                <a:gd name="T76" fmla="*/ 275 w 1636"/>
                <a:gd name="T77" fmla="*/ 237 h 1636"/>
                <a:gd name="T78" fmla="*/ 191 w 1636"/>
                <a:gd name="T79" fmla="*/ 237 h 1636"/>
                <a:gd name="T80" fmla="*/ 138 w 1636"/>
                <a:gd name="T81" fmla="*/ 298 h 1636"/>
                <a:gd name="T82" fmla="*/ 8 w 1636"/>
                <a:gd name="T83" fmla="*/ 474 h 1636"/>
                <a:gd name="T84" fmla="*/ 100 w 1636"/>
                <a:gd name="T85" fmla="*/ 604 h 1636"/>
                <a:gd name="T86" fmla="*/ 290 w 1636"/>
                <a:gd name="T87" fmla="*/ 611 h 1636"/>
                <a:gd name="T88" fmla="*/ 283 w 1636"/>
                <a:gd name="T89" fmla="*/ 741 h 1636"/>
                <a:gd name="T90" fmla="*/ 252 w 1636"/>
                <a:gd name="T91" fmla="*/ 879 h 1636"/>
                <a:gd name="T92" fmla="*/ 283 w 1636"/>
                <a:gd name="T93" fmla="*/ 1062 h 1636"/>
                <a:gd name="T94" fmla="*/ 443 w 1636"/>
                <a:gd name="T95" fmla="*/ 1207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36" h="1636">
                  <a:moveTo>
                    <a:pt x="489" y="1291"/>
                  </a:moveTo>
                  <a:lnTo>
                    <a:pt x="489" y="1291"/>
                  </a:lnTo>
                  <a:cubicBezTo>
                    <a:pt x="512" y="1299"/>
                    <a:pt x="535" y="1306"/>
                    <a:pt x="565" y="1314"/>
                  </a:cubicBezTo>
                  <a:cubicBezTo>
                    <a:pt x="573" y="1314"/>
                    <a:pt x="588" y="1306"/>
                    <a:pt x="596" y="1314"/>
                  </a:cubicBezTo>
                  <a:cubicBezTo>
                    <a:pt x="611" y="1314"/>
                    <a:pt x="611" y="1329"/>
                    <a:pt x="627" y="1337"/>
                  </a:cubicBezTo>
                  <a:cubicBezTo>
                    <a:pt x="642" y="1345"/>
                    <a:pt x="672" y="1329"/>
                    <a:pt x="680" y="1352"/>
                  </a:cubicBezTo>
                  <a:cubicBezTo>
                    <a:pt x="688" y="1360"/>
                    <a:pt x="649" y="1360"/>
                    <a:pt x="642" y="1375"/>
                  </a:cubicBezTo>
                  <a:cubicBezTo>
                    <a:pt x="642" y="1421"/>
                    <a:pt x="657" y="1459"/>
                    <a:pt x="672" y="1497"/>
                  </a:cubicBezTo>
                  <a:cubicBezTo>
                    <a:pt x="680" y="1505"/>
                    <a:pt x="695" y="1490"/>
                    <a:pt x="703" y="1497"/>
                  </a:cubicBezTo>
                  <a:cubicBezTo>
                    <a:pt x="726" y="1520"/>
                    <a:pt x="726" y="1551"/>
                    <a:pt x="749" y="1574"/>
                  </a:cubicBezTo>
                  <a:cubicBezTo>
                    <a:pt x="756" y="1581"/>
                    <a:pt x="772" y="1581"/>
                    <a:pt x="779" y="1589"/>
                  </a:cubicBezTo>
                  <a:lnTo>
                    <a:pt x="779" y="1589"/>
                  </a:lnTo>
                  <a:cubicBezTo>
                    <a:pt x="802" y="1581"/>
                    <a:pt x="817" y="1558"/>
                    <a:pt x="840" y="1566"/>
                  </a:cubicBezTo>
                  <a:cubicBezTo>
                    <a:pt x="863" y="1574"/>
                    <a:pt x="871" y="1612"/>
                    <a:pt x="894" y="1620"/>
                  </a:cubicBezTo>
                  <a:cubicBezTo>
                    <a:pt x="901" y="1635"/>
                    <a:pt x="924" y="1635"/>
                    <a:pt x="940" y="1627"/>
                  </a:cubicBezTo>
                  <a:cubicBezTo>
                    <a:pt x="963" y="1620"/>
                    <a:pt x="970" y="1597"/>
                    <a:pt x="986" y="1574"/>
                  </a:cubicBezTo>
                  <a:cubicBezTo>
                    <a:pt x="986" y="1566"/>
                    <a:pt x="986" y="1543"/>
                    <a:pt x="978" y="1528"/>
                  </a:cubicBezTo>
                  <a:cubicBezTo>
                    <a:pt x="978" y="1505"/>
                    <a:pt x="955" y="1475"/>
                    <a:pt x="955" y="1452"/>
                  </a:cubicBezTo>
                  <a:cubicBezTo>
                    <a:pt x="955" y="1444"/>
                    <a:pt x="963" y="1436"/>
                    <a:pt x="970" y="1436"/>
                  </a:cubicBezTo>
                  <a:cubicBezTo>
                    <a:pt x="986" y="1444"/>
                    <a:pt x="1001" y="1459"/>
                    <a:pt x="1024" y="1459"/>
                  </a:cubicBezTo>
                  <a:cubicBezTo>
                    <a:pt x="1031" y="1467"/>
                    <a:pt x="1054" y="1459"/>
                    <a:pt x="1070" y="1459"/>
                  </a:cubicBezTo>
                  <a:cubicBezTo>
                    <a:pt x="1077" y="1467"/>
                    <a:pt x="1092" y="1490"/>
                    <a:pt x="1108" y="1482"/>
                  </a:cubicBezTo>
                  <a:cubicBezTo>
                    <a:pt x="1131" y="1475"/>
                    <a:pt x="1138" y="1436"/>
                    <a:pt x="1161" y="1436"/>
                  </a:cubicBezTo>
                  <a:cubicBezTo>
                    <a:pt x="1176" y="1436"/>
                    <a:pt x="1169" y="1475"/>
                    <a:pt x="1176" y="1490"/>
                  </a:cubicBezTo>
                  <a:lnTo>
                    <a:pt x="1176" y="1490"/>
                  </a:lnTo>
                  <a:cubicBezTo>
                    <a:pt x="1199" y="1482"/>
                    <a:pt x="1222" y="1482"/>
                    <a:pt x="1245" y="1467"/>
                  </a:cubicBezTo>
                  <a:cubicBezTo>
                    <a:pt x="1253" y="1467"/>
                    <a:pt x="1253" y="1444"/>
                    <a:pt x="1261" y="1444"/>
                  </a:cubicBezTo>
                  <a:cubicBezTo>
                    <a:pt x="1299" y="1436"/>
                    <a:pt x="1337" y="1444"/>
                    <a:pt x="1375" y="1436"/>
                  </a:cubicBezTo>
                  <a:lnTo>
                    <a:pt x="1375" y="1436"/>
                  </a:lnTo>
                  <a:cubicBezTo>
                    <a:pt x="1383" y="1421"/>
                    <a:pt x="1390" y="1398"/>
                    <a:pt x="1406" y="1398"/>
                  </a:cubicBezTo>
                  <a:cubicBezTo>
                    <a:pt x="1444" y="1391"/>
                    <a:pt x="1490" y="1406"/>
                    <a:pt x="1536" y="1406"/>
                  </a:cubicBezTo>
                  <a:cubicBezTo>
                    <a:pt x="1558" y="1406"/>
                    <a:pt x="1589" y="1406"/>
                    <a:pt x="1612" y="1391"/>
                  </a:cubicBezTo>
                  <a:cubicBezTo>
                    <a:pt x="1627" y="1391"/>
                    <a:pt x="1635" y="1375"/>
                    <a:pt x="1627" y="1368"/>
                  </a:cubicBezTo>
                  <a:cubicBezTo>
                    <a:pt x="1627" y="1352"/>
                    <a:pt x="1597" y="1345"/>
                    <a:pt x="1589" y="1322"/>
                  </a:cubicBezTo>
                  <a:cubicBezTo>
                    <a:pt x="1589" y="1291"/>
                    <a:pt x="1612" y="1268"/>
                    <a:pt x="1627" y="1245"/>
                  </a:cubicBezTo>
                  <a:lnTo>
                    <a:pt x="1627" y="1245"/>
                  </a:lnTo>
                  <a:cubicBezTo>
                    <a:pt x="1597" y="1230"/>
                    <a:pt x="1558" y="1222"/>
                    <a:pt x="1536" y="1207"/>
                  </a:cubicBezTo>
                  <a:cubicBezTo>
                    <a:pt x="1528" y="1200"/>
                    <a:pt x="1520" y="1184"/>
                    <a:pt x="1520" y="1169"/>
                  </a:cubicBezTo>
                  <a:cubicBezTo>
                    <a:pt x="1528" y="1161"/>
                    <a:pt x="1543" y="1169"/>
                    <a:pt x="1551" y="1154"/>
                  </a:cubicBezTo>
                  <a:cubicBezTo>
                    <a:pt x="1551" y="1146"/>
                    <a:pt x="1551" y="1131"/>
                    <a:pt x="1551" y="1116"/>
                  </a:cubicBezTo>
                  <a:cubicBezTo>
                    <a:pt x="1551" y="1085"/>
                    <a:pt x="1543" y="1062"/>
                    <a:pt x="1551" y="1032"/>
                  </a:cubicBezTo>
                  <a:cubicBezTo>
                    <a:pt x="1558" y="1016"/>
                    <a:pt x="1581" y="1009"/>
                    <a:pt x="1589" y="993"/>
                  </a:cubicBezTo>
                  <a:lnTo>
                    <a:pt x="1589" y="993"/>
                  </a:lnTo>
                  <a:cubicBezTo>
                    <a:pt x="1581" y="970"/>
                    <a:pt x="1589" y="932"/>
                    <a:pt x="1566" y="909"/>
                  </a:cubicBezTo>
                  <a:cubicBezTo>
                    <a:pt x="1558" y="902"/>
                    <a:pt x="1543" y="940"/>
                    <a:pt x="1528" y="932"/>
                  </a:cubicBezTo>
                  <a:cubicBezTo>
                    <a:pt x="1513" y="932"/>
                    <a:pt x="1513" y="902"/>
                    <a:pt x="1497" y="894"/>
                  </a:cubicBezTo>
                  <a:cubicBezTo>
                    <a:pt x="1474" y="886"/>
                    <a:pt x="1451" y="909"/>
                    <a:pt x="1428" y="894"/>
                  </a:cubicBezTo>
                  <a:cubicBezTo>
                    <a:pt x="1390" y="864"/>
                    <a:pt x="1375" y="802"/>
                    <a:pt x="1329" y="764"/>
                  </a:cubicBezTo>
                  <a:cubicBezTo>
                    <a:pt x="1314" y="757"/>
                    <a:pt x="1284" y="772"/>
                    <a:pt x="1261" y="772"/>
                  </a:cubicBezTo>
                  <a:cubicBezTo>
                    <a:pt x="1238" y="764"/>
                    <a:pt x="1230" y="734"/>
                    <a:pt x="1215" y="734"/>
                  </a:cubicBezTo>
                  <a:cubicBezTo>
                    <a:pt x="1192" y="734"/>
                    <a:pt x="1184" y="764"/>
                    <a:pt x="1169" y="757"/>
                  </a:cubicBezTo>
                  <a:cubicBezTo>
                    <a:pt x="1115" y="741"/>
                    <a:pt x="1070" y="711"/>
                    <a:pt x="1024" y="672"/>
                  </a:cubicBezTo>
                  <a:cubicBezTo>
                    <a:pt x="1001" y="657"/>
                    <a:pt x="978" y="642"/>
                    <a:pt x="963" y="619"/>
                  </a:cubicBezTo>
                  <a:cubicBezTo>
                    <a:pt x="955" y="604"/>
                    <a:pt x="986" y="596"/>
                    <a:pt x="986" y="581"/>
                  </a:cubicBezTo>
                  <a:cubicBezTo>
                    <a:pt x="986" y="566"/>
                    <a:pt x="955" y="558"/>
                    <a:pt x="955" y="543"/>
                  </a:cubicBezTo>
                  <a:cubicBezTo>
                    <a:pt x="947" y="520"/>
                    <a:pt x="940" y="489"/>
                    <a:pt x="955" y="466"/>
                  </a:cubicBezTo>
                  <a:cubicBezTo>
                    <a:pt x="970" y="451"/>
                    <a:pt x="1016" y="482"/>
                    <a:pt x="1024" y="459"/>
                  </a:cubicBezTo>
                  <a:cubicBezTo>
                    <a:pt x="1047" y="390"/>
                    <a:pt x="1001" y="321"/>
                    <a:pt x="1024" y="253"/>
                  </a:cubicBezTo>
                  <a:cubicBezTo>
                    <a:pt x="1031" y="230"/>
                    <a:pt x="1062" y="291"/>
                    <a:pt x="1085" y="291"/>
                  </a:cubicBezTo>
                  <a:cubicBezTo>
                    <a:pt x="1100" y="291"/>
                    <a:pt x="1100" y="260"/>
                    <a:pt x="1123" y="253"/>
                  </a:cubicBezTo>
                  <a:cubicBezTo>
                    <a:pt x="1131" y="245"/>
                    <a:pt x="1161" y="253"/>
                    <a:pt x="1169" y="237"/>
                  </a:cubicBezTo>
                  <a:cubicBezTo>
                    <a:pt x="1176" y="214"/>
                    <a:pt x="1169" y="176"/>
                    <a:pt x="1161" y="153"/>
                  </a:cubicBezTo>
                  <a:cubicBezTo>
                    <a:pt x="1146" y="130"/>
                    <a:pt x="1123" y="107"/>
                    <a:pt x="1100" y="107"/>
                  </a:cubicBezTo>
                  <a:cubicBezTo>
                    <a:pt x="1016" y="122"/>
                    <a:pt x="947" y="214"/>
                    <a:pt x="863" y="207"/>
                  </a:cubicBezTo>
                  <a:cubicBezTo>
                    <a:pt x="825" y="199"/>
                    <a:pt x="871" y="122"/>
                    <a:pt x="856" y="84"/>
                  </a:cubicBezTo>
                  <a:cubicBezTo>
                    <a:pt x="848" y="61"/>
                    <a:pt x="825" y="46"/>
                    <a:pt x="810" y="31"/>
                  </a:cubicBezTo>
                  <a:cubicBezTo>
                    <a:pt x="795" y="16"/>
                    <a:pt x="779" y="0"/>
                    <a:pt x="764" y="8"/>
                  </a:cubicBezTo>
                  <a:cubicBezTo>
                    <a:pt x="749" y="8"/>
                    <a:pt x="749" y="31"/>
                    <a:pt x="734" y="39"/>
                  </a:cubicBezTo>
                  <a:cubicBezTo>
                    <a:pt x="680" y="61"/>
                    <a:pt x="634" y="77"/>
                    <a:pt x="573" y="92"/>
                  </a:cubicBezTo>
                  <a:cubicBezTo>
                    <a:pt x="565" y="92"/>
                    <a:pt x="558" y="69"/>
                    <a:pt x="550" y="61"/>
                  </a:cubicBezTo>
                  <a:cubicBezTo>
                    <a:pt x="527" y="61"/>
                    <a:pt x="504" y="61"/>
                    <a:pt x="497" y="77"/>
                  </a:cubicBezTo>
                  <a:cubicBezTo>
                    <a:pt x="489" y="92"/>
                    <a:pt x="527" y="115"/>
                    <a:pt x="512" y="122"/>
                  </a:cubicBezTo>
                  <a:cubicBezTo>
                    <a:pt x="481" y="138"/>
                    <a:pt x="443" y="115"/>
                    <a:pt x="413" y="122"/>
                  </a:cubicBezTo>
                  <a:cubicBezTo>
                    <a:pt x="397" y="130"/>
                    <a:pt x="382" y="138"/>
                    <a:pt x="367" y="153"/>
                  </a:cubicBezTo>
                  <a:cubicBezTo>
                    <a:pt x="359" y="161"/>
                    <a:pt x="367" y="176"/>
                    <a:pt x="359" y="191"/>
                  </a:cubicBezTo>
                  <a:cubicBezTo>
                    <a:pt x="352" y="199"/>
                    <a:pt x="336" y="191"/>
                    <a:pt x="321" y="191"/>
                  </a:cubicBezTo>
                  <a:lnTo>
                    <a:pt x="321" y="191"/>
                  </a:lnTo>
                  <a:cubicBezTo>
                    <a:pt x="306" y="207"/>
                    <a:pt x="298" y="237"/>
                    <a:pt x="275" y="237"/>
                  </a:cubicBezTo>
                  <a:cubicBezTo>
                    <a:pt x="260" y="245"/>
                    <a:pt x="245" y="222"/>
                    <a:pt x="222" y="222"/>
                  </a:cubicBezTo>
                  <a:cubicBezTo>
                    <a:pt x="206" y="222"/>
                    <a:pt x="199" y="230"/>
                    <a:pt x="191" y="237"/>
                  </a:cubicBezTo>
                  <a:cubicBezTo>
                    <a:pt x="176" y="253"/>
                    <a:pt x="191" y="283"/>
                    <a:pt x="176" y="298"/>
                  </a:cubicBezTo>
                  <a:cubicBezTo>
                    <a:pt x="168" y="314"/>
                    <a:pt x="145" y="291"/>
                    <a:pt x="138" y="298"/>
                  </a:cubicBezTo>
                  <a:cubicBezTo>
                    <a:pt x="100" y="329"/>
                    <a:pt x="69" y="375"/>
                    <a:pt x="38" y="413"/>
                  </a:cubicBezTo>
                  <a:cubicBezTo>
                    <a:pt x="31" y="428"/>
                    <a:pt x="0" y="451"/>
                    <a:pt x="8" y="474"/>
                  </a:cubicBezTo>
                  <a:cubicBezTo>
                    <a:pt x="23" y="512"/>
                    <a:pt x="77" y="527"/>
                    <a:pt x="100" y="566"/>
                  </a:cubicBezTo>
                  <a:cubicBezTo>
                    <a:pt x="107" y="573"/>
                    <a:pt x="84" y="596"/>
                    <a:pt x="100" y="604"/>
                  </a:cubicBezTo>
                  <a:cubicBezTo>
                    <a:pt x="123" y="611"/>
                    <a:pt x="153" y="589"/>
                    <a:pt x="184" y="596"/>
                  </a:cubicBezTo>
                  <a:cubicBezTo>
                    <a:pt x="214" y="596"/>
                    <a:pt x="260" y="589"/>
                    <a:pt x="290" y="611"/>
                  </a:cubicBezTo>
                  <a:cubicBezTo>
                    <a:pt x="306" y="627"/>
                    <a:pt x="267" y="650"/>
                    <a:pt x="267" y="672"/>
                  </a:cubicBezTo>
                  <a:cubicBezTo>
                    <a:pt x="267" y="695"/>
                    <a:pt x="298" y="718"/>
                    <a:pt x="283" y="741"/>
                  </a:cubicBezTo>
                  <a:cubicBezTo>
                    <a:pt x="283" y="757"/>
                    <a:pt x="237" y="726"/>
                    <a:pt x="237" y="741"/>
                  </a:cubicBezTo>
                  <a:cubicBezTo>
                    <a:pt x="222" y="787"/>
                    <a:pt x="252" y="833"/>
                    <a:pt x="252" y="879"/>
                  </a:cubicBezTo>
                  <a:cubicBezTo>
                    <a:pt x="252" y="909"/>
                    <a:pt x="237" y="940"/>
                    <a:pt x="245" y="963"/>
                  </a:cubicBezTo>
                  <a:cubicBezTo>
                    <a:pt x="245" y="1001"/>
                    <a:pt x="267" y="1032"/>
                    <a:pt x="283" y="1062"/>
                  </a:cubicBezTo>
                  <a:cubicBezTo>
                    <a:pt x="298" y="1100"/>
                    <a:pt x="298" y="1154"/>
                    <a:pt x="329" y="1184"/>
                  </a:cubicBezTo>
                  <a:cubicBezTo>
                    <a:pt x="359" y="1215"/>
                    <a:pt x="413" y="1184"/>
                    <a:pt x="443" y="1207"/>
                  </a:cubicBezTo>
                  <a:cubicBezTo>
                    <a:pt x="466" y="1222"/>
                    <a:pt x="474" y="1261"/>
                    <a:pt x="489" y="12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3" name="Freeform 145"/>
            <p:cNvSpPr>
              <a:spLocks noChangeArrowheads="1"/>
            </p:cNvSpPr>
            <p:nvPr/>
          </p:nvSpPr>
          <p:spPr bwMode="auto">
            <a:xfrm>
              <a:off x="7833803" y="9539288"/>
              <a:ext cx="131753" cy="93662"/>
            </a:xfrm>
            <a:custGeom>
              <a:avLst/>
              <a:gdLst>
                <a:gd name="T0" fmla="*/ 321 w 368"/>
                <a:gd name="T1" fmla="*/ 260 h 261"/>
                <a:gd name="T2" fmla="*/ 321 w 368"/>
                <a:gd name="T3" fmla="*/ 260 h 261"/>
                <a:gd name="T4" fmla="*/ 367 w 368"/>
                <a:gd name="T5" fmla="*/ 176 h 261"/>
                <a:gd name="T6" fmla="*/ 336 w 368"/>
                <a:gd name="T7" fmla="*/ 123 h 261"/>
                <a:gd name="T8" fmla="*/ 275 w 368"/>
                <a:gd name="T9" fmla="*/ 123 h 261"/>
                <a:gd name="T10" fmla="*/ 260 w 368"/>
                <a:gd name="T11" fmla="*/ 54 h 261"/>
                <a:gd name="T12" fmla="*/ 183 w 368"/>
                <a:gd name="T13" fmla="*/ 23 h 261"/>
                <a:gd name="T14" fmla="*/ 183 w 368"/>
                <a:gd name="T15" fmla="*/ 23 h 261"/>
                <a:gd name="T16" fmla="*/ 115 w 368"/>
                <a:gd name="T17" fmla="*/ 8 h 261"/>
                <a:gd name="T18" fmla="*/ 92 w 368"/>
                <a:gd name="T19" fmla="*/ 54 h 261"/>
                <a:gd name="T20" fmla="*/ 15 w 368"/>
                <a:gd name="T21" fmla="*/ 54 h 261"/>
                <a:gd name="T22" fmla="*/ 61 w 368"/>
                <a:gd name="T23" fmla="*/ 199 h 261"/>
                <a:gd name="T24" fmla="*/ 61 w 368"/>
                <a:gd name="T25" fmla="*/ 199 h 261"/>
                <a:gd name="T26" fmla="*/ 321 w 368"/>
                <a:gd name="T27" fmla="*/ 26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261">
                  <a:moveTo>
                    <a:pt x="321" y="260"/>
                  </a:moveTo>
                  <a:lnTo>
                    <a:pt x="321" y="260"/>
                  </a:lnTo>
                  <a:cubicBezTo>
                    <a:pt x="336" y="237"/>
                    <a:pt x="367" y="199"/>
                    <a:pt x="367" y="176"/>
                  </a:cubicBezTo>
                  <a:cubicBezTo>
                    <a:pt x="367" y="153"/>
                    <a:pt x="359" y="130"/>
                    <a:pt x="336" y="123"/>
                  </a:cubicBezTo>
                  <a:cubicBezTo>
                    <a:pt x="321" y="115"/>
                    <a:pt x="290" y="138"/>
                    <a:pt x="275" y="123"/>
                  </a:cubicBezTo>
                  <a:cubicBezTo>
                    <a:pt x="260" y="107"/>
                    <a:pt x="275" y="69"/>
                    <a:pt x="260" y="54"/>
                  </a:cubicBezTo>
                  <a:cubicBezTo>
                    <a:pt x="244" y="31"/>
                    <a:pt x="206" y="31"/>
                    <a:pt x="183" y="23"/>
                  </a:cubicBezTo>
                  <a:lnTo>
                    <a:pt x="183" y="23"/>
                  </a:lnTo>
                  <a:cubicBezTo>
                    <a:pt x="161" y="15"/>
                    <a:pt x="138" y="0"/>
                    <a:pt x="115" y="8"/>
                  </a:cubicBezTo>
                  <a:cubicBezTo>
                    <a:pt x="99" y="8"/>
                    <a:pt x="107" y="46"/>
                    <a:pt x="92" y="54"/>
                  </a:cubicBezTo>
                  <a:cubicBezTo>
                    <a:pt x="69" y="69"/>
                    <a:pt x="23" y="31"/>
                    <a:pt x="15" y="54"/>
                  </a:cubicBezTo>
                  <a:cubicBezTo>
                    <a:pt x="0" y="92"/>
                    <a:pt x="46" y="161"/>
                    <a:pt x="61" y="199"/>
                  </a:cubicBezTo>
                  <a:lnTo>
                    <a:pt x="61" y="199"/>
                  </a:lnTo>
                  <a:cubicBezTo>
                    <a:pt x="153" y="207"/>
                    <a:pt x="237" y="229"/>
                    <a:pt x="321" y="2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4" name="Freeform 146"/>
            <p:cNvSpPr>
              <a:spLocks noChangeArrowheads="1"/>
            </p:cNvSpPr>
            <p:nvPr/>
          </p:nvSpPr>
          <p:spPr bwMode="auto">
            <a:xfrm>
              <a:off x="7898885" y="9302750"/>
              <a:ext cx="566701" cy="401638"/>
            </a:xfrm>
            <a:custGeom>
              <a:avLst/>
              <a:gdLst>
                <a:gd name="T0" fmla="*/ 245 w 1575"/>
                <a:gd name="T1" fmla="*/ 39 h 1117"/>
                <a:gd name="T2" fmla="*/ 245 w 1575"/>
                <a:gd name="T3" fmla="*/ 39 h 1117"/>
                <a:gd name="T4" fmla="*/ 291 w 1575"/>
                <a:gd name="T5" fmla="*/ 23 h 1117"/>
                <a:gd name="T6" fmla="*/ 291 w 1575"/>
                <a:gd name="T7" fmla="*/ 23 h 1117"/>
                <a:gd name="T8" fmla="*/ 451 w 1575"/>
                <a:gd name="T9" fmla="*/ 16 h 1117"/>
                <a:gd name="T10" fmla="*/ 466 w 1575"/>
                <a:gd name="T11" fmla="*/ 92 h 1117"/>
                <a:gd name="T12" fmla="*/ 611 w 1575"/>
                <a:gd name="T13" fmla="*/ 84 h 1117"/>
                <a:gd name="T14" fmla="*/ 726 w 1575"/>
                <a:gd name="T15" fmla="*/ 84 h 1117"/>
                <a:gd name="T16" fmla="*/ 795 w 1575"/>
                <a:gd name="T17" fmla="*/ 161 h 1117"/>
                <a:gd name="T18" fmla="*/ 909 w 1575"/>
                <a:gd name="T19" fmla="*/ 230 h 1117"/>
                <a:gd name="T20" fmla="*/ 963 w 1575"/>
                <a:gd name="T21" fmla="*/ 298 h 1117"/>
                <a:gd name="T22" fmla="*/ 1100 w 1575"/>
                <a:gd name="T23" fmla="*/ 375 h 1117"/>
                <a:gd name="T24" fmla="*/ 1207 w 1575"/>
                <a:gd name="T25" fmla="*/ 336 h 1117"/>
                <a:gd name="T26" fmla="*/ 1291 w 1575"/>
                <a:gd name="T27" fmla="*/ 375 h 1117"/>
                <a:gd name="T28" fmla="*/ 1391 w 1575"/>
                <a:gd name="T29" fmla="*/ 359 h 1117"/>
                <a:gd name="T30" fmla="*/ 1497 w 1575"/>
                <a:gd name="T31" fmla="*/ 505 h 1117"/>
                <a:gd name="T32" fmla="*/ 1566 w 1575"/>
                <a:gd name="T33" fmla="*/ 505 h 1117"/>
                <a:gd name="T34" fmla="*/ 1543 w 1575"/>
                <a:gd name="T35" fmla="*/ 611 h 1117"/>
                <a:gd name="T36" fmla="*/ 1543 w 1575"/>
                <a:gd name="T37" fmla="*/ 611 h 1117"/>
                <a:gd name="T38" fmla="*/ 1391 w 1575"/>
                <a:gd name="T39" fmla="*/ 604 h 1117"/>
                <a:gd name="T40" fmla="*/ 1192 w 1575"/>
                <a:gd name="T41" fmla="*/ 780 h 1117"/>
                <a:gd name="T42" fmla="*/ 1161 w 1575"/>
                <a:gd name="T43" fmla="*/ 795 h 1117"/>
                <a:gd name="T44" fmla="*/ 657 w 1575"/>
                <a:gd name="T45" fmla="*/ 1001 h 1117"/>
                <a:gd name="T46" fmla="*/ 321 w 1575"/>
                <a:gd name="T47" fmla="*/ 970 h 1117"/>
                <a:gd name="T48" fmla="*/ 199 w 1575"/>
                <a:gd name="T49" fmla="*/ 947 h 1117"/>
                <a:gd name="T50" fmla="*/ 138 w 1575"/>
                <a:gd name="T51" fmla="*/ 917 h 1117"/>
                <a:gd name="T52" fmla="*/ 138 w 1575"/>
                <a:gd name="T53" fmla="*/ 917 h 1117"/>
                <a:gd name="T54" fmla="*/ 184 w 1575"/>
                <a:gd name="T55" fmla="*/ 833 h 1117"/>
                <a:gd name="T56" fmla="*/ 153 w 1575"/>
                <a:gd name="T57" fmla="*/ 780 h 1117"/>
                <a:gd name="T58" fmla="*/ 92 w 1575"/>
                <a:gd name="T59" fmla="*/ 780 h 1117"/>
                <a:gd name="T60" fmla="*/ 77 w 1575"/>
                <a:gd name="T61" fmla="*/ 711 h 1117"/>
                <a:gd name="T62" fmla="*/ 0 w 1575"/>
                <a:gd name="T63" fmla="*/ 680 h 1117"/>
                <a:gd name="T64" fmla="*/ 0 w 1575"/>
                <a:gd name="T65" fmla="*/ 680 h 1117"/>
                <a:gd name="T66" fmla="*/ 39 w 1575"/>
                <a:gd name="T67" fmla="*/ 520 h 1117"/>
                <a:gd name="T68" fmla="*/ 31 w 1575"/>
                <a:gd name="T69" fmla="*/ 443 h 1117"/>
                <a:gd name="T70" fmla="*/ 77 w 1575"/>
                <a:gd name="T71" fmla="*/ 405 h 1117"/>
                <a:gd name="T72" fmla="*/ 191 w 1575"/>
                <a:gd name="T73" fmla="*/ 436 h 1117"/>
                <a:gd name="T74" fmla="*/ 222 w 1575"/>
                <a:gd name="T75" fmla="*/ 268 h 1117"/>
                <a:gd name="T76" fmla="*/ 161 w 1575"/>
                <a:gd name="T77" fmla="*/ 161 h 1117"/>
                <a:gd name="T78" fmla="*/ 275 w 1575"/>
                <a:gd name="T79" fmla="*/ 115 h 1117"/>
                <a:gd name="T80" fmla="*/ 245 w 1575"/>
                <a:gd name="T81" fmla="*/ 39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75" h="1117">
                  <a:moveTo>
                    <a:pt x="245" y="39"/>
                  </a:moveTo>
                  <a:lnTo>
                    <a:pt x="245" y="39"/>
                  </a:lnTo>
                  <a:cubicBezTo>
                    <a:pt x="291" y="23"/>
                    <a:pt x="291" y="23"/>
                    <a:pt x="291" y="23"/>
                  </a:cubicBezTo>
                  <a:lnTo>
                    <a:pt x="291" y="23"/>
                  </a:lnTo>
                  <a:cubicBezTo>
                    <a:pt x="344" y="23"/>
                    <a:pt x="405" y="0"/>
                    <a:pt x="451" y="16"/>
                  </a:cubicBezTo>
                  <a:cubicBezTo>
                    <a:pt x="474" y="31"/>
                    <a:pt x="443" y="84"/>
                    <a:pt x="466" y="92"/>
                  </a:cubicBezTo>
                  <a:cubicBezTo>
                    <a:pt x="512" y="107"/>
                    <a:pt x="566" y="92"/>
                    <a:pt x="611" y="84"/>
                  </a:cubicBezTo>
                  <a:cubicBezTo>
                    <a:pt x="650" y="84"/>
                    <a:pt x="688" y="69"/>
                    <a:pt x="726" y="84"/>
                  </a:cubicBezTo>
                  <a:cubicBezTo>
                    <a:pt x="757" y="100"/>
                    <a:pt x="772" y="138"/>
                    <a:pt x="795" y="161"/>
                  </a:cubicBezTo>
                  <a:cubicBezTo>
                    <a:pt x="833" y="191"/>
                    <a:pt x="871" y="207"/>
                    <a:pt x="909" y="230"/>
                  </a:cubicBezTo>
                  <a:cubicBezTo>
                    <a:pt x="932" y="253"/>
                    <a:pt x="940" y="283"/>
                    <a:pt x="963" y="298"/>
                  </a:cubicBezTo>
                  <a:cubicBezTo>
                    <a:pt x="1001" y="329"/>
                    <a:pt x="1047" y="359"/>
                    <a:pt x="1100" y="375"/>
                  </a:cubicBezTo>
                  <a:cubicBezTo>
                    <a:pt x="1139" y="375"/>
                    <a:pt x="1169" y="336"/>
                    <a:pt x="1207" y="336"/>
                  </a:cubicBezTo>
                  <a:cubicBezTo>
                    <a:pt x="1238" y="336"/>
                    <a:pt x="1261" y="367"/>
                    <a:pt x="1291" y="375"/>
                  </a:cubicBezTo>
                  <a:cubicBezTo>
                    <a:pt x="1322" y="375"/>
                    <a:pt x="1360" y="344"/>
                    <a:pt x="1391" y="359"/>
                  </a:cubicBezTo>
                  <a:cubicBezTo>
                    <a:pt x="1436" y="390"/>
                    <a:pt x="1452" y="466"/>
                    <a:pt x="1497" y="505"/>
                  </a:cubicBezTo>
                  <a:cubicBezTo>
                    <a:pt x="1513" y="520"/>
                    <a:pt x="1551" y="482"/>
                    <a:pt x="1566" y="505"/>
                  </a:cubicBezTo>
                  <a:cubicBezTo>
                    <a:pt x="1574" y="528"/>
                    <a:pt x="1543" y="589"/>
                    <a:pt x="1543" y="611"/>
                  </a:cubicBezTo>
                  <a:lnTo>
                    <a:pt x="1543" y="611"/>
                  </a:lnTo>
                  <a:cubicBezTo>
                    <a:pt x="1490" y="604"/>
                    <a:pt x="1429" y="589"/>
                    <a:pt x="1391" y="604"/>
                  </a:cubicBezTo>
                  <a:cubicBezTo>
                    <a:pt x="1306" y="634"/>
                    <a:pt x="1268" y="734"/>
                    <a:pt x="1192" y="780"/>
                  </a:cubicBezTo>
                  <a:cubicBezTo>
                    <a:pt x="1161" y="795"/>
                    <a:pt x="1161" y="795"/>
                    <a:pt x="1161" y="795"/>
                  </a:cubicBezTo>
                  <a:cubicBezTo>
                    <a:pt x="932" y="833"/>
                    <a:pt x="833" y="825"/>
                    <a:pt x="657" y="1001"/>
                  </a:cubicBezTo>
                  <a:cubicBezTo>
                    <a:pt x="543" y="1116"/>
                    <a:pt x="443" y="1047"/>
                    <a:pt x="321" y="970"/>
                  </a:cubicBezTo>
                  <a:cubicBezTo>
                    <a:pt x="291" y="947"/>
                    <a:pt x="237" y="963"/>
                    <a:pt x="199" y="947"/>
                  </a:cubicBezTo>
                  <a:cubicBezTo>
                    <a:pt x="176" y="932"/>
                    <a:pt x="161" y="925"/>
                    <a:pt x="138" y="917"/>
                  </a:cubicBezTo>
                  <a:lnTo>
                    <a:pt x="138" y="917"/>
                  </a:lnTo>
                  <a:cubicBezTo>
                    <a:pt x="153" y="894"/>
                    <a:pt x="184" y="856"/>
                    <a:pt x="184" y="833"/>
                  </a:cubicBezTo>
                  <a:cubicBezTo>
                    <a:pt x="184" y="810"/>
                    <a:pt x="176" y="787"/>
                    <a:pt x="153" y="780"/>
                  </a:cubicBezTo>
                  <a:cubicBezTo>
                    <a:pt x="138" y="772"/>
                    <a:pt x="107" y="795"/>
                    <a:pt x="92" y="780"/>
                  </a:cubicBezTo>
                  <a:cubicBezTo>
                    <a:pt x="77" y="764"/>
                    <a:pt x="92" y="726"/>
                    <a:pt x="77" y="711"/>
                  </a:cubicBezTo>
                  <a:cubicBezTo>
                    <a:pt x="61" y="688"/>
                    <a:pt x="23" y="688"/>
                    <a:pt x="0" y="680"/>
                  </a:cubicBezTo>
                  <a:lnTo>
                    <a:pt x="0" y="680"/>
                  </a:lnTo>
                  <a:cubicBezTo>
                    <a:pt x="8" y="627"/>
                    <a:pt x="31" y="573"/>
                    <a:pt x="39" y="520"/>
                  </a:cubicBezTo>
                  <a:cubicBezTo>
                    <a:pt x="46" y="497"/>
                    <a:pt x="23" y="466"/>
                    <a:pt x="31" y="443"/>
                  </a:cubicBezTo>
                  <a:cubicBezTo>
                    <a:pt x="39" y="428"/>
                    <a:pt x="54" y="405"/>
                    <a:pt x="77" y="405"/>
                  </a:cubicBezTo>
                  <a:cubicBezTo>
                    <a:pt x="115" y="398"/>
                    <a:pt x="161" y="459"/>
                    <a:pt x="191" y="436"/>
                  </a:cubicBezTo>
                  <a:cubicBezTo>
                    <a:pt x="230" y="398"/>
                    <a:pt x="222" y="321"/>
                    <a:pt x="222" y="268"/>
                  </a:cubicBezTo>
                  <a:cubicBezTo>
                    <a:pt x="214" y="230"/>
                    <a:pt x="153" y="199"/>
                    <a:pt x="161" y="161"/>
                  </a:cubicBezTo>
                  <a:cubicBezTo>
                    <a:pt x="176" y="123"/>
                    <a:pt x="253" y="146"/>
                    <a:pt x="275" y="115"/>
                  </a:cubicBezTo>
                  <a:cubicBezTo>
                    <a:pt x="291" y="92"/>
                    <a:pt x="260" y="61"/>
                    <a:pt x="245" y="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5" name="Freeform 147"/>
            <p:cNvSpPr>
              <a:spLocks noChangeArrowheads="1"/>
            </p:cNvSpPr>
            <p:nvPr/>
          </p:nvSpPr>
          <p:spPr bwMode="auto">
            <a:xfrm>
              <a:off x="7435366" y="9293225"/>
              <a:ext cx="569876" cy="419100"/>
            </a:xfrm>
            <a:custGeom>
              <a:avLst/>
              <a:gdLst>
                <a:gd name="T0" fmla="*/ 1290 w 1582"/>
                <a:gd name="T1" fmla="*/ 710 h 1162"/>
                <a:gd name="T2" fmla="*/ 1290 w 1582"/>
                <a:gd name="T3" fmla="*/ 710 h 1162"/>
                <a:gd name="T4" fmla="*/ 1329 w 1582"/>
                <a:gd name="T5" fmla="*/ 550 h 1162"/>
                <a:gd name="T6" fmla="*/ 1321 w 1582"/>
                <a:gd name="T7" fmla="*/ 473 h 1162"/>
                <a:gd name="T8" fmla="*/ 1367 w 1582"/>
                <a:gd name="T9" fmla="*/ 435 h 1162"/>
                <a:gd name="T10" fmla="*/ 1481 w 1582"/>
                <a:gd name="T11" fmla="*/ 466 h 1162"/>
                <a:gd name="T12" fmla="*/ 1512 w 1582"/>
                <a:gd name="T13" fmla="*/ 298 h 1162"/>
                <a:gd name="T14" fmla="*/ 1451 w 1582"/>
                <a:gd name="T15" fmla="*/ 191 h 1162"/>
                <a:gd name="T16" fmla="*/ 1565 w 1582"/>
                <a:gd name="T17" fmla="*/ 145 h 1162"/>
                <a:gd name="T18" fmla="*/ 1535 w 1582"/>
                <a:gd name="T19" fmla="*/ 69 h 1162"/>
                <a:gd name="T20" fmla="*/ 1535 w 1582"/>
                <a:gd name="T21" fmla="*/ 69 h 1162"/>
                <a:gd name="T22" fmla="*/ 1390 w 1582"/>
                <a:gd name="T23" fmla="*/ 61 h 1162"/>
                <a:gd name="T24" fmla="*/ 1298 w 1582"/>
                <a:gd name="T25" fmla="*/ 69 h 1162"/>
                <a:gd name="T26" fmla="*/ 1260 w 1582"/>
                <a:gd name="T27" fmla="*/ 8 h 1162"/>
                <a:gd name="T28" fmla="*/ 1199 w 1582"/>
                <a:gd name="T29" fmla="*/ 0 h 1162"/>
                <a:gd name="T30" fmla="*/ 1099 w 1582"/>
                <a:gd name="T31" fmla="*/ 69 h 1162"/>
                <a:gd name="T32" fmla="*/ 832 w 1582"/>
                <a:gd name="T33" fmla="*/ 160 h 1162"/>
                <a:gd name="T34" fmla="*/ 626 w 1582"/>
                <a:gd name="T35" fmla="*/ 206 h 1162"/>
                <a:gd name="T36" fmla="*/ 526 w 1582"/>
                <a:gd name="T37" fmla="*/ 198 h 1162"/>
                <a:gd name="T38" fmla="*/ 420 w 1582"/>
                <a:gd name="T39" fmla="*/ 221 h 1162"/>
                <a:gd name="T40" fmla="*/ 320 w 1582"/>
                <a:gd name="T41" fmla="*/ 198 h 1162"/>
                <a:gd name="T42" fmla="*/ 320 w 1582"/>
                <a:gd name="T43" fmla="*/ 198 h 1162"/>
                <a:gd name="T44" fmla="*/ 229 w 1582"/>
                <a:gd name="T45" fmla="*/ 260 h 1162"/>
                <a:gd name="T46" fmla="*/ 175 w 1582"/>
                <a:gd name="T47" fmla="*/ 252 h 1162"/>
                <a:gd name="T48" fmla="*/ 107 w 1582"/>
                <a:gd name="T49" fmla="*/ 344 h 1162"/>
                <a:gd name="T50" fmla="*/ 45 w 1582"/>
                <a:gd name="T51" fmla="*/ 504 h 1162"/>
                <a:gd name="T52" fmla="*/ 0 w 1582"/>
                <a:gd name="T53" fmla="*/ 672 h 1162"/>
                <a:gd name="T54" fmla="*/ 38 w 1582"/>
                <a:gd name="T55" fmla="*/ 741 h 1162"/>
                <a:gd name="T56" fmla="*/ 0 w 1582"/>
                <a:gd name="T57" fmla="*/ 825 h 1162"/>
                <a:gd name="T58" fmla="*/ 38 w 1582"/>
                <a:gd name="T59" fmla="*/ 1023 h 1162"/>
                <a:gd name="T60" fmla="*/ 38 w 1582"/>
                <a:gd name="T61" fmla="*/ 1023 h 1162"/>
                <a:gd name="T62" fmla="*/ 76 w 1582"/>
                <a:gd name="T63" fmla="*/ 1031 h 1162"/>
                <a:gd name="T64" fmla="*/ 236 w 1582"/>
                <a:gd name="T65" fmla="*/ 1161 h 1162"/>
                <a:gd name="T66" fmla="*/ 236 w 1582"/>
                <a:gd name="T67" fmla="*/ 1161 h 1162"/>
                <a:gd name="T68" fmla="*/ 595 w 1582"/>
                <a:gd name="T69" fmla="*/ 947 h 1162"/>
                <a:gd name="T70" fmla="*/ 1069 w 1582"/>
                <a:gd name="T71" fmla="*/ 878 h 1162"/>
                <a:gd name="T72" fmla="*/ 1168 w 1582"/>
                <a:gd name="T73" fmla="*/ 886 h 1162"/>
                <a:gd name="T74" fmla="*/ 1168 w 1582"/>
                <a:gd name="T75" fmla="*/ 886 h 1162"/>
                <a:gd name="T76" fmla="*/ 1122 w 1582"/>
                <a:gd name="T77" fmla="*/ 741 h 1162"/>
                <a:gd name="T78" fmla="*/ 1199 w 1582"/>
                <a:gd name="T79" fmla="*/ 741 h 1162"/>
                <a:gd name="T80" fmla="*/ 1222 w 1582"/>
                <a:gd name="T81" fmla="*/ 695 h 1162"/>
                <a:gd name="T82" fmla="*/ 1290 w 1582"/>
                <a:gd name="T83" fmla="*/ 71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2" h="1162">
                  <a:moveTo>
                    <a:pt x="1290" y="710"/>
                  </a:moveTo>
                  <a:lnTo>
                    <a:pt x="1290" y="710"/>
                  </a:lnTo>
                  <a:cubicBezTo>
                    <a:pt x="1298" y="657"/>
                    <a:pt x="1321" y="603"/>
                    <a:pt x="1329" y="550"/>
                  </a:cubicBezTo>
                  <a:cubicBezTo>
                    <a:pt x="1336" y="527"/>
                    <a:pt x="1313" y="496"/>
                    <a:pt x="1321" y="473"/>
                  </a:cubicBezTo>
                  <a:cubicBezTo>
                    <a:pt x="1329" y="458"/>
                    <a:pt x="1344" y="435"/>
                    <a:pt x="1367" y="435"/>
                  </a:cubicBezTo>
                  <a:cubicBezTo>
                    <a:pt x="1405" y="428"/>
                    <a:pt x="1451" y="489"/>
                    <a:pt x="1481" y="466"/>
                  </a:cubicBezTo>
                  <a:cubicBezTo>
                    <a:pt x="1520" y="428"/>
                    <a:pt x="1512" y="351"/>
                    <a:pt x="1512" y="298"/>
                  </a:cubicBezTo>
                  <a:cubicBezTo>
                    <a:pt x="1504" y="260"/>
                    <a:pt x="1443" y="229"/>
                    <a:pt x="1451" y="191"/>
                  </a:cubicBezTo>
                  <a:cubicBezTo>
                    <a:pt x="1466" y="153"/>
                    <a:pt x="1543" y="176"/>
                    <a:pt x="1565" y="145"/>
                  </a:cubicBezTo>
                  <a:cubicBezTo>
                    <a:pt x="1581" y="122"/>
                    <a:pt x="1550" y="91"/>
                    <a:pt x="1535" y="69"/>
                  </a:cubicBezTo>
                  <a:lnTo>
                    <a:pt x="1535" y="69"/>
                  </a:lnTo>
                  <a:cubicBezTo>
                    <a:pt x="1489" y="69"/>
                    <a:pt x="1443" y="61"/>
                    <a:pt x="1390" y="61"/>
                  </a:cubicBezTo>
                  <a:cubicBezTo>
                    <a:pt x="1359" y="69"/>
                    <a:pt x="1329" y="84"/>
                    <a:pt x="1298" y="69"/>
                  </a:cubicBezTo>
                  <a:cubicBezTo>
                    <a:pt x="1275" y="61"/>
                    <a:pt x="1275" y="30"/>
                    <a:pt x="1260" y="8"/>
                  </a:cubicBezTo>
                  <a:cubicBezTo>
                    <a:pt x="1260" y="8"/>
                    <a:pt x="1206" y="0"/>
                    <a:pt x="1199" y="0"/>
                  </a:cubicBezTo>
                  <a:cubicBezTo>
                    <a:pt x="1191" y="0"/>
                    <a:pt x="1099" y="69"/>
                    <a:pt x="1099" y="69"/>
                  </a:cubicBezTo>
                  <a:cubicBezTo>
                    <a:pt x="1008" y="99"/>
                    <a:pt x="924" y="130"/>
                    <a:pt x="832" y="160"/>
                  </a:cubicBezTo>
                  <a:cubicBezTo>
                    <a:pt x="763" y="176"/>
                    <a:pt x="695" y="198"/>
                    <a:pt x="626" y="206"/>
                  </a:cubicBezTo>
                  <a:cubicBezTo>
                    <a:pt x="595" y="206"/>
                    <a:pt x="557" y="191"/>
                    <a:pt x="526" y="198"/>
                  </a:cubicBezTo>
                  <a:cubicBezTo>
                    <a:pt x="488" y="198"/>
                    <a:pt x="458" y="221"/>
                    <a:pt x="420" y="221"/>
                  </a:cubicBezTo>
                  <a:cubicBezTo>
                    <a:pt x="382" y="221"/>
                    <a:pt x="351" y="206"/>
                    <a:pt x="320" y="198"/>
                  </a:cubicBezTo>
                  <a:lnTo>
                    <a:pt x="320" y="198"/>
                  </a:lnTo>
                  <a:cubicBezTo>
                    <a:pt x="290" y="214"/>
                    <a:pt x="259" y="244"/>
                    <a:pt x="229" y="260"/>
                  </a:cubicBezTo>
                  <a:cubicBezTo>
                    <a:pt x="213" y="267"/>
                    <a:pt x="190" y="244"/>
                    <a:pt x="175" y="252"/>
                  </a:cubicBezTo>
                  <a:cubicBezTo>
                    <a:pt x="145" y="275"/>
                    <a:pt x="122" y="313"/>
                    <a:pt x="107" y="344"/>
                  </a:cubicBezTo>
                  <a:cubicBezTo>
                    <a:pt x="84" y="397"/>
                    <a:pt x="68" y="450"/>
                    <a:pt x="45" y="504"/>
                  </a:cubicBezTo>
                  <a:cubicBezTo>
                    <a:pt x="30" y="558"/>
                    <a:pt x="7" y="611"/>
                    <a:pt x="0" y="672"/>
                  </a:cubicBezTo>
                  <a:cubicBezTo>
                    <a:pt x="0" y="695"/>
                    <a:pt x="38" y="710"/>
                    <a:pt x="38" y="741"/>
                  </a:cubicBezTo>
                  <a:cubicBezTo>
                    <a:pt x="38" y="771"/>
                    <a:pt x="0" y="794"/>
                    <a:pt x="0" y="825"/>
                  </a:cubicBezTo>
                  <a:cubicBezTo>
                    <a:pt x="0" y="871"/>
                    <a:pt x="30" y="985"/>
                    <a:pt x="38" y="1023"/>
                  </a:cubicBezTo>
                  <a:lnTo>
                    <a:pt x="38" y="1023"/>
                  </a:lnTo>
                  <a:cubicBezTo>
                    <a:pt x="53" y="1023"/>
                    <a:pt x="61" y="1031"/>
                    <a:pt x="76" y="1031"/>
                  </a:cubicBezTo>
                  <a:cubicBezTo>
                    <a:pt x="129" y="1046"/>
                    <a:pt x="198" y="1161"/>
                    <a:pt x="236" y="1161"/>
                  </a:cubicBezTo>
                  <a:lnTo>
                    <a:pt x="236" y="1161"/>
                  </a:lnTo>
                  <a:cubicBezTo>
                    <a:pt x="236" y="1000"/>
                    <a:pt x="481" y="970"/>
                    <a:pt x="595" y="947"/>
                  </a:cubicBezTo>
                  <a:cubicBezTo>
                    <a:pt x="763" y="909"/>
                    <a:pt x="901" y="962"/>
                    <a:pt x="1069" y="878"/>
                  </a:cubicBezTo>
                  <a:cubicBezTo>
                    <a:pt x="1099" y="878"/>
                    <a:pt x="1138" y="878"/>
                    <a:pt x="1168" y="886"/>
                  </a:cubicBezTo>
                  <a:lnTo>
                    <a:pt x="1168" y="886"/>
                  </a:lnTo>
                  <a:cubicBezTo>
                    <a:pt x="1153" y="848"/>
                    <a:pt x="1107" y="779"/>
                    <a:pt x="1122" y="741"/>
                  </a:cubicBezTo>
                  <a:cubicBezTo>
                    <a:pt x="1130" y="718"/>
                    <a:pt x="1176" y="756"/>
                    <a:pt x="1199" y="741"/>
                  </a:cubicBezTo>
                  <a:cubicBezTo>
                    <a:pt x="1214" y="733"/>
                    <a:pt x="1206" y="695"/>
                    <a:pt x="1222" y="695"/>
                  </a:cubicBezTo>
                  <a:cubicBezTo>
                    <a:pt x="1245" y="687"/>
                    <a:pt x="1268" y="702"/>
                    <a:pt x="1290" y="7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6" name="Freeform 148"/>
            <p:cNvSpPr>
              <a:spLocks noChangeArrowheads="1"/>
            </p:cNvSpPr>
            <p:nvPr/>
          </p:nvSpPr>
          <p:spPr bwMode="auto">
            <a:xfrm>
              <a:off x="5801935" y="9144001"/>
              <a:ext cx="893704" cy="461963"/>
            </a:xfrm>
            <a:custGeom>
              <a:avLst/>
              <a:gdLst>
                <a:gd name="T0" fmla="*/ 2397 w 2482"/>
                <a:gd name="T1" fmla="*/ 23 h 1285"/>
                <a:gd name="T2" fmla="*/ 2466 w 2482"/>
                <a:gd name="T3" fmla="*/ 229 h 1285"/>
                <a:gd name="T4" fmla="*/ 2282 w 2482"/>
                <a:gd name="T5" fmla="*/ 550 h 1285"/>
                <a:gd name="T6" fmla="*/ 2336 w 2482"/>
                <a:gd name="T7" fmla="*/ 627 h 1285"/>
                <a:gd name="T8" fmla="*/ 2328 w 2482"/>
                <a:gd name="T9" fmla="*/ 726 h 1285"/>
                <a:gd name="T10" fmla="*/ 2328 w 2482"/>
                <a:gd name="T11" fmla="*/ 886 h 1285"/>
                <a:gd name="T12" fmla="*/ 2137 w 2482"/>
                <a:gd name="T13" fmla="*/ 963 h 1285"/>
                <a:gd name="T14" fmla="*/ 1916 w 2482"/>
                <a:gd name="T15" fmla="*/ 886 h 1285"/>
                <a:gd name="T16" fmla="*/ 1900 w 2482"/>
                <a:gd name="T17" fmla="*/ 1115 h 1285"/>
                <a:gd name="T18" fmla="*/ 1580 w 2482"/>
                <a:gd name="T19" fmla="*/ 1184 h 1285"/>
                <a:gd name="T20" fmla="*/ 1427 w 2482"/>
                <a:gd name="T21" fmla="*/ 1230 h 1285"/>
                <a:gd name="T22" fmla="*/ 1373 w 2482"/>
                <a:gd name="T23" fmla="*/ 1284 h 1285"/>
                <a:gd name="T24" fmla="*/ 1243 w 2482"/>
                <a:gd name="T25" fmla="*/ 1200 h 1285"/>
                <a:gd name="T26" fmla="*/ 1228 w 2482"/>
                <a:gd name="T27" fmla="*/ 1070 h 1285"/>
                <a:gd name="T28" fmla="*/ 1068 w 2482"/>
                <a:gd name="T29" fmla="*/ 1093 h 1285"/>
                <a:gd name="T30" fmla="*/ 1037 w 2482"/>
                <a:gd name="T31" fmla="*/ 955 h 1285"/>
                <a:gd name="T32" fmla="*/ 794 w 2482"/>
                <a:gd name="T33" fmla="*/ 871 h 1285"/>
                <a:gd name="T34" fmla="*/ 710 w 2482"/>
                <a:gd name="T35" fmla="*/ 772 h 1285"/>
                <a:gd name="T36" fmla="*/ 595 w 2482"/>
                <a:gd name="T37" fmla="*/ 764 h 1285"/>
                <a:gd name="T38" fmla="*/ 511 w 2482"/>
                <a:gd name="T39" fmla="*/ 741 h 1285"/>
                <a:gd name="T40" fmla="*/ 351 w 2482"/>
                <a:gd name="T41" fmla="*/ 795 h 1285"/>
                <a:gd name="T42" fmla="*/ 366 w 2482"/>
                <a:gd name="T43" fmla="*/ 680 h 1285"/>
                <a:gd name="T44" fmla="*/ 198 w 2482"/>
                <a:gd name="T45" fmla="*/ 619 h 1285"/>
                <a:gd name="T46" fmla="*/ 15 w 2482"/>
                <a:gd name="T47" fmla="*/ 375 h 1285"/>
                <a:gd name="T48" fmla="*/ 183 w 2482"/>
                <a:gd name="T49" fmla="*/ 359 h 1285"/>
                <a:gd name="T50" fmla="*/ 183 w 2482"/>
                <a:gd name="T51" fmla="*/ 321 h 1285"/>
                <a:gd name="T52" fmla="*/ 702 w 2482"/>
                <a:gd name="T53" fmla="*/ 375 h 1285"/>
                <a:gd name="T54" fmla="*/ 1114 w 2482"/>
                <a:gd name="T55" fmla="*/ 314 h 1285"/>
                <a:gd name="T56" fmla="*/ 1259 w 2482"/>
                <a:gd name="T57" fmla="*/ 168 h 1285"/>
                <a:gd name="T58" fmla="*/ 1282 w 2482"/>
                <a:gd name="T59" fmla="*/ 0 h 1285"/>
                <a:gd name="T60" fmla="*/ 1358 w 2482"/>
                <a:gd name="T61" fmla="*/ 77 h 1285"/>
                <a:gd name="T62" fmla="*/ 1473 w 2482"/>
                <a:gd name="T63" fmla="*/ 77 h 1285"/>
                <a:gd name="T64" fmla="*/ 1587 w 2482"/>
                <a:gd name="T65" fmla="*/ 16 h 1285"/>
                <a:gd name="T66" fmla="*/ 1786 w 2482"/>
                <a:gd name="T67" fmla="*/ 39 h 1285"/>
                <a:gd name="T68" fmla="*/ 2000 w 2482"/>
                <a:gd name="T69" fmla="*/ 85 h 1285"/>
                <a:gd name="T70" fmla="*/ 2129 w 2482"/>
                <a:gd name="T71" fmla="*/ 146 h 1285"/>
                <a:gd name="T72" fmla="*/ 2397 w 2482"/>
                <a:gd name="T73" fmla="*/ 23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82" h="1285">
                  <a:moveTo>
                    <a:pt x="2397" y="23"/>
                  </a:moveTo>
                  <a:lnTo>
                    <a:pt x="2397" y="23"/>
                  </a:lnTo>
                  <a:cubicBezTo>
                    <a:pt x="2412" y="46"/>
                    <a:pt x="2435" y="69"/>
                    <a:pt x="2443" y="100"/>
                  </a:cubicBezTo>
                  <a:cubicBezTo>
                    <a:pt x="2458" y="138"/>
                    <a:pt x="2481" y="191"/>
                    <a:pt x="2466" y="229"/>
                  </a:cubicBezTo>
                  <a:cubicBezTo>
                    <a:pt x="2435" y="321"/>
                    <a:pt x="2374" y="398"/>
                    <a:pt x="2328" y="482"/>
                  </a:cubicBezTo>
                  <a:cubicBezTo>
                    <a:pt x="2313" y="504"/>
                    <a:pt x="2282" y="520"/>
                    <a:pt x="2282" y="550"/>
                  </a:cubicBezTo>
                  <a:cubicBezTo>
                    <a:pt x="2282" y="581"/>
                    <a:pt x="2321" y="604"/>
                    <a:pt x="2336" y="627"/>
                  </a:cubicBezTo>
                  <a:lnTo>
                    <a:pt x="2336" y="627"/>
                  </a:lnTo>
                  <a:cubicBezTo>
                    <a:pt x="2328" y="634"/>
                    <a:pt x="2313" y="642"/>
                    <a:pt x="2305" y="650"/>
                  </a:cubicBezTo>
                  <a:cubicBezTo>
                    <a:pt x="2305" y="680"/>
                    <a:pt x="2336" y="703"/>
                    <a:pt x="2328" y="726"/>
                  </a:cubicBezTo>
                  <a:cubicBezTo>
                    <a:pt x="2313" y="772"/>
                    <a:pt x="2252" y="795"/>
                    <a:pt x="2252" y="833"/>
                  </a:cubicBezTo>
                  <a:cubicBezTo>
                    <a:pt x="2252" y="863"/>
                    <a:pt x="2343" y="871"/>
                    <a:pt x="2328" y="886"/>
                  </a:cubicBezTo>
                  <a:cubicBezTo>
                    <a:pt x="2290" y="925"/>
                    <a:pt x="2221" y="894"/>
                    <a:pt x="2175" y="909"/>
                  </a:cubicBezTo>
                  <a:cubicBezTo>
                    <a:pt x="2160" y="917"/>
                    <a:pt x="2152" y="971"/>
                    <a:pt x="2137" y="963"/>
                  </a:cubicBezTo>
                  <a:cubicBezTo>
                    <a:pt x="2091" y="940"/>
                    <a:pt x="2099" y="863"/>
                    <a:pt x="2053" y="848"/>
                  </a:cubicBezTo>
                  <a:cubicBezTo>
                    <a:pt x="2007" y="833"/>
                    <a:pt x="1954" y="856"/>
                    <a:pt x="1916" y="886"/>
                  </a:cubicBezTo>
                  <a:cubicBezTo>
                    <a:pt x="1900" y="902"/>
                    <a:pt x="1908" y="940"/>
                    <a:pt x="1908" y="971"/>
                  </a:cubicBezTo>
                  <a:cubicBezTo>
                    <a:pt x="1900" y="1016"/>
                    <a:pt x="1923" y="1070"/>
                    <a:pt x="1900" y="1115"/>
                  </a:cubicBezTo>
                  <a:cubicBezTo>
                    <a:pt x="1893" y="1138"/>
                    <a:pt x="1854" y="1123"/>
                    <a:pt x="1839" y="1123"/>
                  </a:cubicBezTo>
                  <a:cubicBezTo>
                    <a:pt x="1755" y="1146"/>
                    <a:pt x="1664" y="1161"/>
                    <a:pt x="1580" y="1184"/>
                  </a:cubicBezTo>
                  <a:cubicBezTo>
                    <a:pt x="1557" y="1192"/>
                    <a:pt x="1541" y="1200"/>
                    <a:pt x="1518" y="1207"/>
                  </a:cubicBezTo>
                  <a:cubicBezTo>
                    <a:pt x="1488" y="1215"/>
                    <a:pt x="1450" y="1215"/>
                    <a:pt x="1427" y="1230"/>
                  </a:cubicBezTo>
                  <a:cubicBezTo>
                    <a:pt x="1404" y="1238"/>
                    <a:pt x="1396" y="1268"/>
                    <a:pt x="1373" y="1284"/>
                  </a:cubicBezTo>
                  <a:lnTo>
                    <a:pt x="1373" y="1284"/>
                  </a:lnTo>
                  <a:cubicBezTo>
                    <a:pt x="1358" y="1253"/>
                    <a:pt x="1358" y="1215"/>
                    <a:pt x="1328" y="1192"/>
                  </a:cubicBezTo>
                  <a:cubicBezTo>
                    <a:pt x="1305" y="1177"/>
                    <a:pt x="1266" y="1207"/>
                    <a:pt x="1243" y="1200"/>
                  </a:cubicBezTo>
                  <a:cubicBezTo>
                    <a:pt x="1221" y="1184"/>
                    <a:pt x="1213" y="1154"/>
                    <a:pt x="1213" y="1131"/>
                  </a:cubicBezTo>
                  <a:cubicBezTo>
                    <a:pt x="1205" y="1108"/>
                    <a:pt x="1236" y="1085"/>
                    <a:pt x="1228" y="1070"/>
                  </a:cubicBezTo>
                  <a:cubicBezTo>
                    <a:pt x="1221" y="1054"/>
                    <a:pt x="1198" y="1062"/>
                    <a:pt x="1182" y="1062"/>
                  </a:cubicBezTo>
                  <a:cubicBezTo>
                    <a:pt x="1144" y="1070"/>
                    <a:pt x="1106" y="1093"/>
                    <a:pt x="1068" y="1093"/>
                  </a:cubicBezTo>
                  <a:cubicBezTo>
                    <a:pt x="1045" y="1085"/>
                    <a:pt x="1022" y="1070"/>
                    <a:pt x="1022" y="1047"/>
                  </a:cubicBezTo>
                  <a:cubicBezTo>
                    <a:pt x="1014" y="1016"/>
                    <a:pt x="1060" y="978"/>
                    <a:pt x="1037" y="955"/>
                  </a:cubicBezTo>
                  <a:cubicBezTo>
                    <a:pt x="999" y="932"/>
                    <a:pt x="947" y="978"/>
                    <a:pt x="908" y="963"/>
                  </a:cubicBezTo>
                  <a:cubicBezTo>
                    <a:pt x="863" y="948"/>
                    <a:pt x="840" y="894"/>
                    <a:pt x="794" y="871"/>
                  </a:cubicBezTo>
                  <a:cubicBezTo>
                    <a:pt x="771" y="856"/>
                    <a:pt x="733" y="894"/>
                    <a:pt x="717" y="871"/>
                  </a:cubicBezTo>
                  <a:cubicBezTo>
                    <a:pt x="694" y="848"/>
                    <a:pt x="725" y="802"/>
                    <a:pt x="710" y="772"/>
                  </a:cubicBezTo>
                  <a:cubicBezTo>
                    <a:pt x="702" y="757"/>
                    <a:pt x="679" y="749"/>
                    <a:pt x="656" y="749"/>
                  </a:cubicBezTo>
                  <a:cubicBezTo>
                    <a:pt x="641" y="749"/>
                    <a:pt x="618" y="764"/>
                    <a:pt x="595" y="764"/>
                  </a:cubicBezTo>
                  <a:cubicBezTo>
                    <a:pt x="588" y="764"/>
                    <a:pt x="580" y="741"/>
                    <a:pt x="572" y="741"/>
                  </a:cubicBezTo>
                  <a:cubicBezTo>
                    <a:pt x="550" y="734"/>
                    <a:pt x="527" y="726"/>
                    <a:pt x="511" y="741"/>
                  </a:cubicBezTo>
                  <a:cubicBezTo>
                    <a:pt x="496" y="757"/>
                    <a:pt x="496" y="802"/>
                    <a:pt x="473" y="810"/>
                  </a:cubicBezTo>
                  <a:cubicBezTo>
                    <a:pt x="435" y="825"/>
                    <a:pt x="381" y="818"/>
                    <a:pt x="351" y="795"/>
                  </a:cubicBezTo>
                  <a:cubicBezTo>
                    <a:pt x="336" y="779"/>
                    <a:pt x="366" y="757"/>
                    <a:pt x="366" y="734"/>
                  </a:cubicBezTo>
                  <a:cubicBezTo>
                    <a:pt x="374" y="718"/>
                    <a:pt x="381" y="696"/>
                    <a:pt x="366" y="680"/>
                  </a:cubicBezTo>
                  <a:cubicBezTo>
                    <a:pt x="358" y="665"/>
                    <a:pt x="336" y="680"/>
                    <a:pt x="320" y="680"/>
                  </a:cubicBezTo>
                  <a:cubicBezTo>
                    <a:pt x="275" y="665"/>
                    <a:pt x="236" y="642"/>
                    <a:pt x="198" y="619"/>
                  </a:cubicBezTo>
                  <a:cubicBezTo>
                    <a:pt x="137" y="573"/>
                    <a:pt x="68" y="535"/>
                    <a:pt x="30" y="482"/>
                  </a:cubicBezTo>
                  <a:cubicBezTo>
                    <a:pt x="7" y="451"/>
                    <a:pt x="0" y="405"/>
                    <a:pt x="15" y="375"/>
                  </a:cubicBezTo>
                  <a:cubicBezTo>
                    <a:pt x="22" y="359"/>
                    <a:pt x="53" y="367"/>
                    <a:pt x="68" y="367"/>
                  </a:cubicBezTo>
                  <a:cubicBezTo>
                    <a:pt x="106" y="359"/>
                    <a:pt x="152" y="375"/>
                    <a:pt x="183" y="359"/>
                  </a:cubicBezTo>
                  <a:cubicBezTo>
                    <a:pt x="198" y="344"/>
                    <a:pt x="183" y="344"/>
                    <a:pt x="183" y="321"/>
                  </a:cubicBezTo>
                  <a:lnTo>
                    <a:pt x="183" y="321"/>
                  </a:lnTo>
                  <a:cubicBezTo>
                    <a:pt x="313" y="329"/>
                    <a:pt x="481" y="268"/>
                    <a:pt x="572" y="306"/>
                  </a:cubicBezTo>
                  <a:cubicBezTo>
                    <a:pt x="603" y="329"/>
                    <a:pt x="656" y="382"/>
                    <a:pt x="702" y="375"/>
                  </a:cubicBezTo>
                  <a:cubicBezTo>
                    <a:pt x="809" y="398"/>
                    <a:pt x="847" y="382"/>
                    <a:pt x="939" y="359"/>
                  </a:cubicBezTo>
                  <a:cubicBezTo>
                    <a:pt x="1014" y="337"/>
                    <a:pt x="1037" y="275"/>
                    <a:pt x="1114" y="314"/>
                  </a:cubicBezTo>
                  <a:cubicBezTo>
                    <a:pt x="1152" y="329"/>
                    <a:pt x="1182" y="344"/>
                    <a:pt x="1221" y="306"/>
                  </a:cubicBezTo>
                  <a:cubicBezTo>
                    <a:pt x="1266" y="268"/>
                    <a:pt x="1259" y="222"/>
                    <a:pt x="1259" y="168"/>
                  </a:cubicBezTo>
                  <a:cubicBezTo>
                    <a:pt x="1259" y="107"/>
                    <a:pt x="1266" y="54"/>
                    <a:pt x="1282" y="0"/>
                  </a:cubicBezTo>
                  <a:lnTo>
                    <a:pt x="1282" y="0"/>
                  </a:lnTo>
                  <a:cubicBezTo>
                    <a:pt x="1289" y="8"/>
                    <a:pt x="1312" y="31"/>
                    <a:pt x="1328" y="39"/>
                  </a:cubicBezTo>
                  <a:cubicBezTo>
                    <a:pt x="1335" y="54"/>
                    <a:pt x="1343" y="69"/>
                    <a:pt x="1358" y="77"/>
                  </a:cubicBezTo>
                  <a:cubicBezTo>
                    <a:pt x="1389" y="92"/>
                    <a:pt x="1419" y="92"/>
                    <a:pt x="1450" y="92"/>
                  </a:cubicBezTo>
                  <a:cubicBezTo>
                    <a:pt x="1457" y="92"/>
                    <a:pt x="1457" y="77"/>
                    <a:pt x="1473" y="77"/>
                  </a:cubicBezTo>
                  <a:cubicBezTo>
                    <a:pt x="1511" y="69"/>
                    <a:pt x="1564" y="92"/>
                    <a:pt x="1602" y="69"/>
                  </a:cubicBezTo>
                  <a:cubicBezTo>
                    <a:pt x="1618" y="62"/>
                    <a:pt x="1572" y="23"/>
                    <a:pt x="1587" y="16"/>
                  </a:cubicBezTo>
                  <a:cubicBezTo>
                    <a:pt x="1656" y="8"/>
                    <a:pt x="1717" y="31"/>
                    <a:pt x="1786" y="39"/>
                  </a:cubicBezTo>
                  <a:lnTo>
                    <a:pt x="1786" y="39"/>
                  </a:lnTo>
                  <a:cubicBezTo>
                    <a:pt x="1816" y="62"/>
                    <a:pt x="1854" y="92"/>
                    <a:pt x="1885" y="115"/>
                  </a:cubicBezTo>
                  <a:cubicBezTo>
                    <a:pt x="1885" y="115"/>
                    <a:pt x="1992" y="85"/>
                    <a:pt x="2000" y="85"/>
                  </a:cubicBezTo>
                  <a:cubicBezTo>
                    <a:pt x="2007" y="85"/>
                    <a:pt x="2076" y="107"/>
                    <a:pt x="2076" y="107"/>
                  </a:cubicBezTo>
                  <a:cubicBezTo>
                    <a:pt x="2099" y="123"/>
                    <a:pt x="2114" y="153"/>
                    <a:pt x="2129" y="146"/>
                  </a:cubicBezTo>
                  <a:cubicBezTo>
                    <a:pt x="2168" y="138"/>
                    <a:pt x="2183" y="92"/>
                    <a:pt x="2221" y="77"/>
                  </a:cubicBezTo>
                  <a:cubicBezTo>
                    <a:pt x="2275" y="46"/>
                    <a:pt x="2336" y="39"/>
                    <a:pt x="2397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7" name="Freeform 149"/>
            <p:cNvSpPr>
              <a:spLocks noChangeArrowheads="1"/>
            </p:cNvSpPr>
            <p:nvPr/>
          </p:nvSpPr>
          <p:spPr bwMode="auto">
            <a:xfrm>
              <a:off x="6622619" y="8805864"/>
              <a:ext cx="517491" cy="687387"/>
            </a:xfrm>
            <a:custGeom>
              <a:avLst/>
              <a:gdLst>
                <a:gd name="T0" fmla="*/ 115 w 1437"/>
                <a:gd name="T1" fmla="*/ 962 h 1911"/>
                <a:gd name="T2" fmla="*/ 184 w 1437"/>
                <a:gd name="T3" fmla="*/ 1168 h 1911"/>
                <a:gd name="T4" fmla="*/ 0 w 1437"/>
                <a:gd name="T5" fmla="*/ 1489 h 1911"/>
                <a:gd name="T6" fmla="*/ 54 w 1437"/>
                <a:gd name="T7" fmla="*/ 1566 h 1911"/>
                <a:gd name="T8" fmla="*/ 275 w 1437"/>
                <a:gd name="T9" fmla="*/ 1688 h 1911"/>
                <a:gd name="T10" fmla="*/ 382 w 1437"/>
                <a:gd name="T11" fmla="*/ 1825 h 1911"/>
                <a:gd name="T12" fmla="*/ 535 w 1437"/>
                <a:gd name="T13" fmla="*/ 1841 h 1911"/>
                <a:gd name="T14" fmla="*/ 634 w 1437"/>
                <a:gd name="T15" fmla="*/ 1802 h 1911"/>
                <a:gd name="T16" fmla="*/ 818 w 1437"/>
                <a:gd name="T17" fmla="*/ 1757 h 1911"/>
                <a:gd name="T18" fmla="*/ 1146 w 1437"/>
                <a:gd name="T19" fmla="*/ 1825 h 1911"/>
                <a:gd name="T20" fmla="*/ 1116 w 1437"/>
                <a:gd name="T21" fmla="*/ 1635 h 1911"/>
                <a:gd name="T22" fmla="*/ 1100 w 1437"/>
                <a:gd name="T23" fmla="*/ 1405 h 1911"/>
                <a:gd name="T24" fmla="*/ 1215 w 1437"/>
                <a:gd name="T25" fmla="*/ 1153 h 1911"/>
                <a:gd name="T26" fmla="*/ 1291 w 1437"/>
                <a:gd name="T27" fmla="*/ 1016 h 1911"/>
                <a:gd name="T28" fmla="*/ 1413 w 1437"/>
                <a:gd name="T29" fmla="*/ 916 h 1911"/>
                <a:gd name="T30" fmla="*/ 1421 w 1437"/>
                <a:gd name="T31" fmla="*/ 825 h 1911"/>
                <a:gd name="T32" fmla="*/ 1314 w 1437"/>
                <a:gd name="T33" fmla="*/ 703 h 1911"/>
                <a:gd name="T34" fmla="*/ 1383 w 1437"/>
                <a:gd name="T35" fmla="*/ 618 h 1911"/>
                <a:gd name="T36" fmla="*/ 1299 w 1437"/>
                <a:gd name="T37" fmla="*/ 435 h 1911"/>
                <a:gd name="T38" fmla="*/ 1261 w 1437"/>
                <a:gd name="T39" fmla="*/ 451 h 1911"/>
                <a:gd name="T40" fmla="*/ 1054 w 1437"/>
                <a:gd name="T41" fmla="*/ 527 h 1911"/>
                <a:gd name="T42" fmla="*/ 909 w 1437"/>
                <a:gd name="T43" fmla="*/ 420 h 1911"/>
                <a:gd name="T44" fmla="*/ 917 w 1437"/>
                <a:gd name="T45" fmla="*/ 282 h 1911"/>
                <a:gd name="T46" fmla="*/ 986 w 1437"/>
                <a:gd name="T47" fmla="*/ 160 h 1911"/>
                <a:gd name="T48" fmla="*/ 993 w 1437"/>
                <a:gd name="T49" fmla="*/ 69 h 1911"/>
                <a:gd name="T50" fmla="*/ 940 w 1437"/>
                <a:gd name="T51" fmla="*/ 0 h 1911"/>
                <a:gd name="T52" fmla="*/ 764 w 1437"/>
                <a:gd name="T53" fmla="*/ 38 h 1911"/>
                <a:gd name="T54" fmla="*/ 665 w 1437"/>
                <a:gd name="T55" fmla="*/ 61 h 1911"/>
                <a:gd name="T56" fmla="*/ 489 w 1437"/>
                <a:gd name="T57" fmla="*/ 46 h 1911"/>
                <a:gd name="T58" fmla="*/ 268 w 1437"/>
                <a:gd name="T59" fmla="*/ 237 h 1911"/>
                <a:gd name="T60" fmla="*/ 145 w 1437"/>
                <a:gd name="T61" fmla="*/ 321 h 1911"/>
                <a:gd name="T62" fmla="*/ 61 w 1437"/>
                <a:gd name="T63" fmla="*/ 519 h 1911"/>
                <a:gd name="T64" fmla="*/ 107 w 1437"/>
                <a:gd name="T65" fmla="*/ 703 h 1911"/>
                <a:gd name="T66" fmla="*/ 122 w 1437"/>
                <a:gd name="T67" fmla="*/ 741 h 1911"/>
                <a:gd name="T68" fmla="*/ 39 w 1437"/>
                <a:gd name="T69" fmla="*/ 893 h 1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911">
                  <a:moveTo>
                    <a:pt x="115" y="962"/>
                  </a:moveTo>
                  <a:lnTo>
                    <a:pt x="115" y="962"/>
                  </a:lnTo>
                  <a:cubicBezTo>
                    <a:pt x="130" y="985"/>
                    <a:pt x="153" y="1008"/>
                    <a:pt x="161" y="1039"/>
                  </a:cubicBezTo>
                  <a:cubicBezTo>
                    <a:pt x="176" y="1077"/>
                    <a:pt x="199" y="1130"/>
                    <a:pt x="184" y="1168"/>
                  </a:cubicBezTo>
                  <a:cubicBezTo>
                    <a:pt x="153" y="1260"/>
                    <a:pt x="92" y="1337"/>
                    <a:pt x="46" y="1421"/>
                  </a:cubicBezTo>
                  <a:cubicBezTo>
                    <a:pt x="31" y="1443"/>
                    <a:pt x="0" y="1459"/>
                    <a:pt x="0" y="1489"/>
                  </a:cubicBezTo>
                  <a:cubicBezTo>
                    <a:pt x="0" y="1520"/>
                    <a:pt x="39" y="1543"/>
                    <a:pt x="54" y="1566"/>
                  </a:cubicBezTo>
                  <a:lnTo>
                    <a:pt x="54" y="1566"/>
                  </a:lnTo>
                  <a:cubicBezTo>
                    <a:pt x="107" y="1581"/>
                    <a:pt x="161" y="1573"/>
                    <a:pt x="199" y="1596"/>
                  </a:cubicBezTo>
                  <a:cubicBezTo>
                    <a:pt x="237" y="1612"/>
                    <a:pt x="252" y="1657"/>
                    <a:pt x="275" y="1688"/>
                  </a:cubicBezTo>
                  <a:cubicBezTo>
                    <a:pt x="298" y="1726"/>
                    <a:pt x="314" y="1764"/>
                    <a:pt x="336" y="1802"/>
                  </a:cubicBezTo>
                  <a:cubicBezTo>
                    <a:pt x="344" y="1818"/>
                    <a:pt x="367" y="1818"/>
                    <a:pt x="382" y="1825"/>
                  </a:cubicBezTo>
                  <a:cubicBezTo>
                    <a:pt x="397" y="1848"/>
                    <a:pt x="397" y="1902"/>
                    <a:pt x="428" y="1902"/>
                  </a:cubicBezTo>
                  <a:cubicBezTo>
                    <a:pt x="466" y="1902"/>
                    <a:pt x="497" y="1856"/>
                    <a:pt x="535" y="1841"/>
                  </a:cubicBezTo>
                  <a:cubicBezTo>
                    <a:pt x="566" y="1825"/>
                    <a:pt x="604" y="1818"/>
                    <a:pt x="634" y="1802"/>
                  </a:cubicBezTo>
                  <a:lnTo>
                    <a:pt x="634" y="1802"/>
                  </a:lnTo>
                  <a:cubicBezTo>
                    <a:pt x="680" y="1787"/>
                    <a:pt x="711" y="1772"/>
                    <a:pt x="756" y="1764"/>
                  </a:cubicBezTo>
                  <a:cubicBezTo>
                    <a:pt x="772" y="1757"/>
                    <a:pt x="795" y="1749"/>
                    <a:pt x="818" y="1757"/>
                  </a:cubicBezTo>
                  <a:cubicBezTo>
                    <a:pt x="909" y="1802"/>
                    <a:pt x="986" y="1879"/>
                    <a:pt x="1085" y="1902"/>
                  </a:cubicBezTo>
                  <a:cubicBezTo>
                    <a:pt x="1116" y="1910"/>
                    <a:pt x="1131" y="1856"/>
                    <a:pt x="1146" y="1825"/>
                  </a:cubicBezTo>
                  <a:cubicBezTo>
                    <a:pt x="1161" y="1787"/>
                    <a:pt x="1192" y="1741"/>
                    <a:pt x="1184" y="1703"/>
                  </a:cubicBezTo>
                  <a:cubicBezTo>
                    <a:pt x="1177" y="1665"/>
                    <a:pt x="1116" y="1665"/>
                    <a:pt x="1116" y="1635"/>
                  </a:cubicBezTo>
                  <a:cubicBezTo>
                    <a:pt x="1100" y="1581"/>
                    <a:pt x="1138" y="1520"/>
                    <a:pt x="1138" y="1466"/>
                  </a:cubicBezTo>
                  <a:cubicBezTo>
                    <a:pt x="1138" y="1443"/>
                    <a:pt x="1108" y="1428"/>
                    <a:pt x="1100" y="1405"/>
                  </a:cubicBezTo>
                  <a:cubicBezTo>
                    <a:pt x="1077" y="1337"/>
                    <a:pt x="1016" y="1260"/>
                    <a:pt x="1047" y="1199"/>
                  </a:cubicBezTo>
                  <a:cubicBezTo>
                    <a:pt x="1070" y="1146"/>
                    <a:pt x="1161" y="1168"/>
                    <a:pt x="1215" y="1153"/>
                  </a:cubicBezTo>
                  <a:cubicBezTo>
                    <a:pt x="1245" y="1138"/>
                    <a:pt x="1283" y="1146"/>
                    <a:pt x="1299" y="1115"/>
                  </a:cubicBezTo>
                  <a:cubicBezTo>
                    <a:pt x="1314" y="1085"/>
                    <a:pt x="1291" y="1046"/>
                    <a:pt x="1291" y="1016"/>
                  </a:cubicBezTo>
                  <a:cubicBezTo>
                    <a:pt x="1283" y="993"/>
                    <a:pt x="1276" y="970"/>
                    <a:pt x="1283" y="955"/>
                  </a:cubicBezTo>
                  <a:cubicBezTo>
                    <a:pt x="1291" y="939"/>
                    <a:pt x="1398" y="924"/>
                    <a:pt x="1413" y="916"/>
                  </a:cubicBezTo>
                  <a:lnTo>
                    <a:pt x="1413" y="916"/>
                  </a:lnTo>
                  <a:cubicBezTo>
                    <a:pt x="1421" y="886"/>
                    <a:pt x="1436" y="855"/>
                    <a:pt x="1421" y="825"/>
                  </a:cubicBezTo>
                  <a:cubicBezTo>
                    <a:pt x="1413" y="802"/>
                    <a:pt x="1375" y="794"/>
                    <a:pt x="1360" y="771"/>
                  </a:cubicBezTo>
                  <a:cubicBezTo>
                    <a:pt x="1345" y="749"/>
                    <a:pt x="1314" y="726"/>
                    <a:pt x="1314" y="703"/>
                  </a:cubicBezTo>
                  <a:cubicBezTo>
                    <a:pt x="1322" y="680"/>
                    <a:pt x="1368" y="695"/>
                    <a:pt x="1375" y="680"/>
                  </a:cubicBezTo>
                  <a:cubicBezTo>
                    <a:pt x="1390" y="664"/>
                    <a:pt x="1390" y="641"/>
                    <a:pt x="1383" y="618"/>
                  </a:cubicBezTo>
                  <a:cubicBezTo>
                    <a:pt x="1368" y="596"/>
                    <a:pt x="1337" y="580"/>
                    <a:pt x="1329" y="557"/>
                  </a:cubicBezTo>
                  <a:cubicBezTo>
                    <a:pt x="1314" y="519"/>
                    <a:pt x="1306" y="474"/>
                    <a:pt x="1299" y="435"/>
                  </a:cubicBezTo>
                  <a:lnTo>
                    <a:pt x="1299" y="435"/>
                  </a:lnTo>
                  <a:cubicBezTo>
                    <a:pt x="1261" y="451"/>
                    <a:pt x="1261" y="451"/>
                    <a:pt x="1261" y="451"/>
                  </a:cubicBezTo>
                  <a:lnTo>
                    <a:pt x="1261" y="451"/>
                  </a:lnTo>
                  <a:cubicBezTo>
                    <a:pt x="1192" y="474"/>
                    <a:pt x="1131" y="512"/>
                    <a:pt x="1054" y="527"/>
                  </a:cubicBezTo>
                  <a:cubicBezTo>
                    <a:pt x="1024" y="535"/>
                    <a:pt x="978" y="535"/>
                    <a:pt x="947" y="512"/>
                  </a:cubicBezTo>
                  <a:cubicBezTo>
                    <a:pt x="925" y="489"/>
                    <a:pt x="917" y="451"/>
                    <a:pt x="909" y="420"/>
                  </a:cubicBezTo>
                  <a:cubicBezTo>
                    <a:pt x="894" y="389"/>
                    <a:pt x="886" y="351"/>
                    <a:pt x="894" y="321"/>
                  </a:cubicBezTo>
                  <a:cubicBezTo>
                    <a:pt x="894" y="305"/>
                    <a:pt x="917" y="298"/>
                    <a:pt x="917" y="282"/>
                  </a:cubicBezTo>
                  <a:cubicBezTo>
                    <a:pt x="925" y="244"/>
                    <a:pt x="894" y="214"/>
                    <a:pt x="909" y="183"/>
                  </a:cubicBezTo>
                  <a:cubicBezTo>
                    <a:pt x="925" y="160"/>
                    <a:pt x="970" y="176"/>
                    <a:pt x="986" y="160"/>
                  </a:cubicBezTo>
                  <a:cubicBezTo>
                    <a:pt x="1001" y="145"/>
                    <a:pt x="970" y="130"/>
                    <a:pt x="970" y="114"/>
                  </a:cubicBezTo>
                  <a:cubicBezTo>
                    <a:pt x="978" y="99"/>
                    <a:pt x="986" y="84"/>
                    <a:pt x="993" y="69"/>
                  </a:cubicBezTo>
                  <a:lnTo>
                    <a:pt x="993" y="69"/>
                  </a:lnTo>
                  <a:cubicBezTo>
                    <a:pt x="978" y="46"/>
                    <a:pt x="970" y="0"/>
                    <a:pt x="940" y="0"/>
                  </a:cubicBezTo>
                  <a:cubicBezTo>
                    <a:pt x="902" y="0"/>
                    <a:pt x="886" y="61"/>
                    <a:pt x="841" y="69"/>
                  </a:cubicBezTo>
                  <a:cubicBezTo>
                    <a:pt x="818" y="76"/>
                    <a:pt x="795" y="23"/>
                    <a:pt x="764" y="38"/>
                  </a:cubicBezTo>
                  <a:cubicBezTo>
                    <a:pt x="749" y="46"/>
                    <a:pt x="779" y="99"/>
                    <a:pt x="756" y="99"/>
                  </a:cubicBezTo>
                  <a:cubicBezTo>
                    <a:pt x="726" y="107"/>
                    <a:pt x="695" y="53"/>
                    <a:pt x="665" y="61"/>
                  </a:cubicBezTo>
                  <a:cubicBezTo>
                    <a:pt x="642" y="69"/>
                    <a:pt x="665" y="130"/>
                    <a:pt x="642" y="130"/>
                  </a:cubicBezTo>
                  <a:cubicBezTo>
                    <a:pt x="589" y="122"/>
                    <a:pt x="543" y="23"/>
                    <a:pt x="489" y="46"/>
                  </a:cubicBezTo>
                  <a:cubicBezTo>
                    <a:pt x="413" y="76"/>
                    <a:pt x="405" y="199"/>
                    <a:pt x="336" y="252"/>
                  </a:cubicBezTo>
                  <a:cubicBezTo>
                    <a:pt x="321" y="267"/>
                    <a:pt x="291" y="229"/>
                    <a:pt x="268" y="237"/>
                  </a:cubicBezTo>
                  <a:cubicBezTo>
                    <a:pt x="222" y="252"/>
                    <a:pt x="184" y="290"/>
                    <a:pt x="145" y="321"/>
                  </a:cubicBezTo>
                  <a:lnTo>
                    <a:pt x="145" y="321"/>
                  </a:lnTo>
                  <a:cubicBezTo>
                    <a:pt x="153" y="366"/>
                    <a:pt x="184" y="405"/>
                    <a:pt x="161" y="451"/>
                  </a:cubicBezTo>
                  <a:cubicBezTo>
                    <a:pt x="145" y="489"/>
                    <a:pt x="77" y="481"/>
                    <a:pt x="61" y="519"/>
                  </a:cubicBezTo>
                  <a:cubicBezTo>
                    <a:pt x="54" y="542"/>
                    <a:pt x="107" y="550"/>
                    <a:pt x="115" y="580"/>
                  </a:cubicBezTo>
                  <a:cubicBezTo>
                    <a:pt x="122" y="618"/>
                    <a:pt x="107" y="664"/>
                    <a:pt x="107" y="703"/>
                  </a:cubicBezTo>
                  <a:lnTo>
                    <a:pt x="107" y="703"/>
                  </a:lnTo>
                  <a:cubicBezTo>
                    <a:pt x="115" y="718"/>
                    <a:pt x="122" y="726"/>
                    <a:pt x="122" y="741"/>
                  </a:cubicBezTo>
                  <a:cubicBezTo>
                    <a:pt x="122" y="779"/>
                    <a:pt x="130" y="817"/>
                    <a:pt x="115" y="848"/>
                  </a:cubicBezTo>
                  <a:cubicBezTo>
                    <a:pt x="100" y="871"/>
                    <a:pt x="39" y="863"/>
                    <a:pt x="39" y="893"/>
                  </a:cubicBezTo>
                  <a:cubicBezTo>
                    <a:pt x="39" y="924"/>
                    <a:pt x="92" y="939"/>
                    <a:pt x="115" y="96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8" name="Freeform 150"/>
            <p:cNvSpPr>
              <a:spLocks noChangeArrowheads="1"/>
            </p:cNvSpPr>
            <p:nvPr/>
          </p:nvSpPr>
          <p:spPr bwMode="auto">
            <a:xfrm>
              <a:off x="6438481" y="9050339"/>
              <a:ext cx="231760" cy="149225"/>
            </a:xfrm>
            <a:custGeom>
              <a:avLst/>
              <a:gdLst>
                <a:gd name="T0" fmla="*/ 15 w 642"/>
                <a:gd name="T1" fmla="*/ 298 h 413"/>
                <a:gd name="T2" fmla="*/ 15 w 642"/>
                <a:gd name="T3" fmla="*/ 298 h 413"/>
                <a:gd name="T4" fmla="*/ 114 w 642"/>
                <a:gd name="T5" fmla="*/ 374 h 413"/>
                <a:gd name="T6" fmla="*/ 229 w 642"/>
                <a:gd name="T7" fmla="*/ 344 h 413"/>
                <a:gd name="T8" fmla="*/ 305 w 642"/>
                <a:gd name="T9" fmla="*/ 366 h 413"/>
                <a:gd name="T10" fmla="*/ 358 w 642"/>
                <a:gd name="T11" fmla="*/ 405 h 413"/>
                <a:gd name="T12" fmla="*/ 450 w 642"/>
                <a:gd name="T13" fmla="*/ 336 h 413"/>
                <a:gd name="T14" fmla="*/ 626 w 642"/>
                <a:gd name="T15" fmla="*/ 282 h 413"/>
                <a:gd name="T16" fmla="*/ 626 w 642"/>
                <a:gd name="T17" fmla="*/ 282 h 413"/>
                <a:gd name="T18" fmla="*/ 550 w 642"/>
                <a:gd name="T19" fmla="*/ 213 h 413"/>
                <a:gd name="T20" fmla="*/ 626 w 642"/>
                <a:gd name="T21" fmla="*/ 168 h 413"/>
                <a:gd name="T22" fmla="*/ 633 w 642"/>
                <a:gd name="T23" fmla="*/ 61 h 413"/>
                <a:gd name="T24" fmla="*/ 618 w 642"/>
                <a:gd name="T25" fmla="*/ 23 h 413"/>
                <a:gd name="T26" fmla="*/ 618 w 642"/>
                <a:gd name="T27" fmla="*/ 23 h 413"/>
                <a:gd name="T28" fmla="*/ 527 w 642"/>
                <a:gd name="T29" fmla="*/ 0 h 413"/>
                <a:gd name="T30" fmla="*/ 381 w 642"/>
                <a:gd name="T31" fmla="*/ 38 h 413"/>
                <a:gd name="T32" fmla="*/ 267 w 642"/>
                <a:gd name="T33" fmla="*/ 15 h 413"/>
                <a:gd name="T34" fmla="*/ 267 w 642"/>
                <a:gd name="T35" fmla="*/ 15 h 413"/>
                <a:gd name="T36" fmla="*/ 244 w 642"/>
                <a:gd name="T37" fmla="*/ 61 h 413"/>
                <a:gd name="T38" fmla="*/ 206 w 642"/>
                <a:gd name="T39" fmla="*/ 61 h 413"/>
                <a:gd name="T40" fmla="*/ 175 w 642"/>
                <a:gd name="T41" fmla="*/ 91 h 413"/>
                <a:gd name="T42" fmla="*/ 175 w 642"/>
                <a:gd name="T43" fmla="*/ 91 h 413"/>
                <a:gd name="T44" fmla="*/ 83 w 642"/>
                <a:gd name="T45" fmla="*/ 145 h 413"/>
                <a:gd name="T46" fmla="*/ 68 w 642"/>
                <a:gd name="T47" fmla="*/ 244 h 413"/>
                <a:gd name="T48" fmla="*/ 15 w 642"/>
                <a:gd name="T49" fmla="*/ 175 h 413"/>
                <a:gd name="T50" fmla="*/ 0 w 642"/>
                <a:gd name="T51" fmla="*/ 198 h 413"/>
                <a:gd name="T52" fmla="*/ 15 w 642"/>
                <a:gd name="T53" fmla="*/ 2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2" h="413">
                  <a:moveTo>
                    <a:pt x="15" y="298"/>
                  </a:moveTo>
                  <a:lnTo>
                    <a:pt x="15" y="298"/>
                  </a:lnTo>
                  <a:cubicBezTo>
                    <a:pt x="45" y="321"/>
                    <a:pt x="83" y="351"/>
                    <a:pt x="114" y="374"/>
                  </a:cubicBezTo>
                  <a:cubicBezTo>
                    <a:pt x="114" y="374"/>
                    <a:pt x="221" y="344"/>
                    <a:pt x="229" y="344"/>
                  </a:cubicBezTo>
                  <a:cubicBezTo>
                    <a:pt x="236" y="344"/>
                    <a:pt x="305" y="366"/>
                    <a:pt x="305" y="366"/>
                  </a:cubicBezTo>
                  <a:cubicBezTo>
                    <a:pt x="328" y="382"/>
                    <a:pt x="343" y="412"/>
                    <a:pt x="358" y="405"/>
                  </a:cubicBezTo>
                  <a:cubicBezTo>
                    <a:pt x="397" y="397"/>
                    <a:pt x="412" y="351"/>
                    <a:pt x="450" y="336"/>
                  </a:cubicBezTo>
                  <a:cubicBezTo>
                    <a:pt x="504" y="305"/>
                    <a:pt x="565" y="298"/>
                    <a:pt x="626" y="282"/>
                  </a:cubicBezTo>
                  <a:lnTo>
                    <a:pt x="626" y="282"/>
                  </a:lnTo>
                  <a:cubicBezTo>
                    <a:pt x="603" y="259"/>
                    <a:pt x="550" y="244"/>
                    <a:pt x="550" y="213"/>
                  </a:cubicBezTo>
                  <a:cubicBezTo>
                    <a:pt x="550" y="183"/>
                    <a:pt x="611" y="191"/>
                    <a:pt x="626" y="168"/>
                  </a:cubicBezTo>
                  <a:cubicBezTo>
                    <a:pt x="641" y="137"/>
                    <a:pt x="633" y="99"/>
                    <a:pt x="633" y="61"/>
                  </a:cubicBezTo>
                  <a:cubicBezTo>
                    <a:pt x="633" y="46"/>
                    <a:pt x="626" y="38"/>
                    <a:pt x="618" y="23"/>
                  </a:cubicBezTo>
                  <a:lnTo>
                    <a:pt x="618" y="23"/>
                  </a:lnTo>
                  <a:cubicBezTo>
                    <a:pt x="588" y="15"/>
                    <a:pt x="557" y="0"/>
                    <a:pt x="527" y="0"/>
                  </a:cubicBezTo>
                  <a:cubicBezTo>
                    <a:pt x="473" y="0"/>
                    <a:pt x="427" y="38"/>
                    <a:pt x="381" y="38"/>
                  </a:cubicBezTo>
                  <a:cubicBezTo>
                    <a:pt x="336" y="38"/>
                    <a:pt x="305" y="23"/>
                    <a:pt x="267" y="15"/>
                  </a:cubicBezTo>
                  <a:lnTo>
                    <a:pt x="267" y="15"/>
                  </a:lnTo>
                  <a:cubicBezTo>
                    <a:pt x="259" y="30"/>
                    <a:pt x="259" y="53"/>
                    <a:pt x="244" y="61"/>
                  </a:cubicBezTo>
                  <a:cubicBezTo>
                    <a:pt x="236" y="69"/>
                    <a:pt x="221" y="53"/>
                    <a:pt x="206" y="61"/>
                  </a:cubicBezTo>
                  <a:cubicBezTo>
                    <a:pt x="191" y="61"/>
                    <a:pt x="183" y="76"/>
                    <a:pt x="175" y="91"/>
                  </a:cubicBezTo>
                  <a:lnTo>
                    <a:pt x="175" y="91"/>
                  </a:lnTo>
                  <a:cubicBezTo>
                    <a:pt x="145" y="107"/>
                    <a:pt x="106" y="122"/>
                    <a:pt x="83" y="145"/>
                  </a:cubicBezTo>
                  <a:cubicBezTo>
                    <a:pt x="68" y="175"/>
                    <a:pt x="99" y="229"/>
                    <a:pt x="68" y="244"/>
                  </a:cubicBezTo>
                  <a:cubicBezTo>
                    <a:pt x="45" y="252"/>
                    <a:pt x="38" y="191"/>
                    <a:pt x="15" y="175"/>
                  </a:cubicBezTo>
                  <a:cubicBezTo>
                    <a:pt x="7" y="168"/>
                    <a:pt x="0" y="191"/>
                    <a:pt x="0" y="198"/>
                  </a:cubicBezTo>
                  <a:cubicBezTo>
                    <a:pt x="0" y="229"/>
                    <a:pt x="7" y="267"/>
                    <a:pt x="15" y="2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9" name="Freeform 151"/>
            <p:cNvSpPr>
              <a:spLocks noChangeArrowheads="1"/>
            </p:cNvSpPr>
            <p:nvPr/>
          </p:nvSpPr>
          <p:spPr bwMode="auto">
            <a:xfrm>
              <a:off x="6263868" y="8993188"/>
              <a:ext cx="239697" cy="184150"/>
            </a:xfrm>
            <a:custGeom>
              <a:avLst/>
              <a:gdLst>
                <a:gd name="T0" fmla="*/ 481 w 665"/>
                <a:gd name="T1" fmla="*/ 0 h 513"/>
                <a:gd name="T2" fmla="*/ 481 w 665"/>
                <a:gd name="T3" fmla="*/ 0 h 513"/>
                <a:gd name="T4" fmla="*/ 527 w 665"/>
                <a:gd name="T5" fmla="*/ 46 h 513"/>
                <a:gd name="T6" fmla="*/ 580 w 665"/>
                <a:gd name="T7" fmla="*/ 77 h 513"/>
                <a:gd name="T8" fmla="*/ 588 w 665"/>
                <a:gd name="T9" fmla="*/ 153 h 513"/>
                <a:gd name="T10" fmla="*/ 580 w 665"/>
                <a:gd name="T11" fmla="*/ 214 h 513"/>
                <a:gd name="T12" fmla="*/ 664 w 665"/>
                <a:gd name="T13" fmla="*/ 252 h 513"/>
                <a:gd name="T14" fmla="*/ 664 w 665"/>
                <a:gd name="T15" fmla="*/ 252 h 513"/>
                <a:gd name="T16" fmla="*/ 572 w 665"/>
                <a:gd name="T17" fmla="*/ 306 h 513"/>
                <a:gd name="T18" fmla="*/ 557 w 665"/>
                <a:gd name="T19" fmla="*/ 405 h 513"/>
                <a:gd name="T20" fmla="*/ 504 w 665"/>
                <a:gd name="T21" fmla="*/ 336 h 513"/>
                <a:gd name="T22" fmla="*/ 489 w 665"/>
                <a:gd name="T23" fmla="*/ 359 h 513"/>
                <a:gd name="T24" fmla="*/ 504 w 665"/>
                <a:gd name="T25" fmla="*/ 459 h 513"/>
                <a:gd name="T26" fmla="*/ 504 w 665"/>
                <a:gd name="T27" fmla="*/ 459 h 513"/>
                <a:gd name="T28" fmla="*/ 305 w 665"/>
                <a:gd name="T29" fmla="*/ 436 h 513"/>
                <a:gd name="T30" fmla="*/ 320 w 665"/>
                <a:gd name="T31" fmla="*/ 489 h 513"/>
                <a:gd name="T32" fmla="*/ 191 w 665"/>
                <a:gd name="T33" fmla="*/ 497 h 513"/>
                <a:gd name="T34" fmla="*/ 168 w 665"/>
                <a:gd name="T35" fmla="*/ 512 h 513"/>
                <a:gd name="T36" fmla="*/ 76 w 665"/>
                <a:gd name="T37" fmla="*/ 497 h 513"/>
                <a:gd name="T38" fmla="*/ 46 w 665"/>
                <a:gd name="T39" fmla="*/ 459 h 513"/>
                <a:gd name="T40" fmla="*/ 0 w 665"/>
                <a:gd name="T41" fmla="*/ 420 h 513"/>
                <a:gd name="T42" fmla="*/ 0 w 665"/>
                <a:gd name="T43" fmla="*/ 420 h 513"/>
                <a:gd name="T44" fmla="*/ 23 w 665"/>
                <a:gd name="T45" fmla="*/ 352 h 513"/>
                <a:gd name="T46" fmla="*/ 221 w 665"/>
                <a:gd name="T47" fmla="*/ 184 h 513"/>
                <a:gd name="T48" fmla="*/ 458 w 665"/>
                <a:gd name="T49" fmla="*/ 16 h 513"/>
                <a:gd name="T50" fmla="*/ 481 w 665"/>
                <a:gd name="T51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5" h="513">
                  <a:moveTo>
                    <a:pt x="481" y="0"/>
                  </a:moveTo>
                  <a:lnTo>
                    <a:pt x="481" y="0"/>
                  </a:lnTo>
                  <a:cubicBezTo>
                    <a:pt x="504" y="31"/>
                    <a:pt x="496" y="23"/>
                    <a:pt x="527" y="46"/>
                  </a:cubicBezTo>
                  <a:cubicBezTo>
                    <a:pt x="542" y="61"/>
                    <a:pt x="572" y="61"/>
                    <a:pt x="580" y="77"/>
                  </a:cubicBezTo>
                  <a:cubicBezTo>
                    <a:pt x="595" y="99"/>
                    <a:pt x="588" y="130"/>
                    <a:pt x="588" y="153"/>
                  </a:cubicBezTo>
                  <a:cubicBezTo>
                    <a:pt x="588" y="176"/>
                    <a:pt x="565" y="199"/>
                    <a:pt x="580" y="214"/>
                  </a:cubicBezTo>
                  <a:cubicBezTo>
                    <a:pt x="595" y="245"/>
                    <a:pt x="634" y="237"/>
                    <a:pt x="664" y="252"/>
                  </a:cubicBezTo>
                  <a:lnTo>
                    <a:pt x="664" y="252"/>
                  </a:lnTo>
                  <a:cubicBezTo>
                    <a:pt x="634" y="268"/>
                    <a:pt x="595" y="283"/>
                    <a:pt x="572" y="306"/>
                  </a:cubicBezTo>
                  <a:cubicBezTo>
                    <a:pt x="557" y="336"/>
                    <a:pt x="588" y="390"/>
                    <a:pt x="557" y="405"/>
                  </a:cubicBezTo>
                  <a:cubicBezTo>
                    <a:pt x="534" y="413"/>
                    <a:pt x="527" y="352"/>
                    <a:pt x="504" y="336"/>
                  </a:cubicBezTo>
                  <a:cubicBezTo>
                    <a:pt x="496" y="329"/>
                    <a:pt x="489" y="352"/>
                    <a:pt x="489" y="359"/>
                  </a:cubicBezTo>
                  <a:cubicBezTo>
                    <a:pt x="489" y="390"/>
                    <a:pt x="496" y="428"/>
                    <a:pt x="504" y="459"/>
                  </a:cubicBezTo>
                  <a:lnTo>
                    <a:pt x="504" y="459"/>
                  </a:lnTo>
                  <a:cubicBezTo>
                    <a:pt x="435" y="451"/>
                    <a:pt x="374" y="428"/>
                    <a:pt x="305" y="436"/>
                  </a:cubicBezTo>
                  <a:cubicBezTo>
                    <a:pt x="290" y="443"/>
                    <a:pt x="336" y="482"/>
                    <a:pt x="320" y="489"/>
                  </a:cubicBezTo>
                  <a:cubicBezTo>
                    <a:pt x="282" y="512"/>
                    <a:pt x="229" y="489"/>
                    <a:pt x="191" y="497"/>
                  </a:cubicBezTo>
                  <a:cubicBezTo>
                    <a:pt x="175" y="497"/>
                    <a:pt x="175" y="512"/>
                    <a:pt x="168" y="512"/>
                  </a:cubicBezTo>
                  <a:cubicBezTo>
                    <a:pt x="137" y="512"/>
                    <a:pt x="107" y="512"/>
                    <a:pt x="76" y="497"/>
                  </a:cubicBezTo>
                  <a:cubicBezTo>
                    <a:pt x="61" y="489"/>
                    <a:pt x="53" y="474"/>
                    <a:pt x="46" y="459"/>
                  </a:cubicBezTo>
                  <a:cubicBezTo>
                    <a:pt x="30" y="451"/>
                    <a:pt x="7" y="428"/>
                    <a:pt x="0" y="420"/>
                  </a:cubicBezTo>
                  <a:lnTo>
                    <a:pt x="0" y="420"/>
                  </a:lnTo>
                  <a:cubicBezTo>
                    <a:pt x="7" y="397"/>
                    <a:pt x="15" y="374"/>
                    <a:pt x="23" y="352"/>
                  </a:cubicBezTo>
                  <a:cubicBezTo>
                    <a:pt x="53" y="283"/>
                    <a:pt x="183" y="275"/>
                    <a:pt x="221" y="184"/>
                  </a:cubicBezTo>
                  <a:cubicBezTo>
                    <a:pt x="290" y="84"/>
                    <a:pt x="359" y="61"/>
                    <a:pt x="458" y="16"/>
                  </a:cubicBezTo>
                  <a:cubicBezTo>
                    <a:pt x="466" y="8"/>
                    <a:pt x="473" y="8"/>
                    <a:pt x="48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0" name="Freeform 152"/>
            <p:cNvSpPr>
              <a:spLocks noChangeArrowheads="1"/>
            </p:cNvSpPr>
            <p:nvPr/>
          </p:nvSpPr>
          <p:spPr bwMode="auto">
            <a:xfrm>
              <a:off x="6851203" y="9091613"/>
              <a:ext cx="712742" cy="622300"/>
            </a:xfrm>
            <a:custGeom>
              <a:avLst/>
              <a:gdLst>
                <a:gd name="T0" fmla="*/ 1513 w 1980"/>
                <a:gd name="T1" fmla="*/ 1566 h 1728"/>
                <a:gd name="T2" fmla="*/ 1658 w 1980"/>
                <a:gd name="T3" fmla="*/ 1581 h 1728"/>
                <a:gd name="T4" fmla="*/ 1658 w 1980"/>
                <a:gd name="T5" fmla="*/ 1299 h 1728"/>
                <a:gd name="T6" fmla="*/ 1665 w 1980"/>
                <a:gd name="T7" fmla="*/ 1062 h 1728"/>
                <a:gd name="T8" fmla="*/ 1795 w 1980"/>
                <a:gd name="T9" fmla="*/ 810 h 1728"/>
                <a:gd name="T10" fmla="*/ 1940 w 1980"/>
                <a:gd name="T11" fmla="*/ 756 h 1728"/>
                <a:gd name="T12" fmla="*/ 1956 w 1980"/>
                <a:gd name="T13" fmla="*/ 688 h 1728"/>
                <a:gd name="T14" fmla="*/ 1818 w 1980"/>
                <a:gd name="T15" fmla="*/ 604 h 1728"/>
                <a:gd name="T16" fmla="*/ 1803 w 1980"/>
                <a:gd name="T17" fmla="*/ 443 h 1728"/>
                <a:gd name="T18" fmla="*/ 1887 w 1980"/>
                <a:gd name="T19" fmla="*/ 352 h 1728"/>
                <a:gd name="T20" fmla="*/ 1979 w 1980"/>
                <a:gd name="T21" fmla="*/ 344 h 1728"/>
                <a:gd name="T22" fmla="*/ 1910 w 1980"/>
                <a:gd name="T23" fmla="*/ 138 h 1728"/>
                <a:gd name="T24" fmla="*/ 1826 w 1980"/>
                <a:gd name="T25" fmla="*/ 84 h 1728"/>
                <a:gd name="T26" fmla="*/ 1658 w 1980"/>
                <a:gd name="T27" fmla="*/ 46 h 1728"/>
                <a:gd name="T28" fmla="*/ 1566 w 1980"/>
                <a:gd name="T29" fmla="*/ 61 h 1728"/>
                <a:gd name="T30" fmla="*/ 1497 w 1980"/>
                <a:gd name="T31" fmla="*/ 69 h 1728"/>
                <a:gd name="T32" fmla="*/ 1383 w 1980"/>
                <a:gd name="T33" fmla="*/ 23 h 1728"/>
                <a:gd name="T34" fmla="*/ 1291 w 1980"/>
                <a:gd name="T35" fmla="*/ 46 h 1728"/>
                <a:gd name="T36" fmla="*/ 879 w 1980"/>
                <a:gd name="T37" fmla="*/ 77 h 1728"/>
                <a:gd name="T38" fmla="*/ 779 w 1980"/>
                <a:gd name="T39" fmla="*/ 122 h 1728"/>
                <a:gd name="T40" fmla="*/ 649 w 1980"/>
                <a:gd name="T41" fmla="*/ 161 h 1728"/>
                <a:gd name="T42" fmla="*/ 665 w 1980"/>
                <a:gd name="T43" fmla="*/ 321 h 1728"/>
                <a:gd name="T44" fmla="*/ 413 w 1980"/>
                <a:gd name="T45" fmla="*/ 405 h 1728"/>
                <a:gd name="T46" fmla="*/ 504 w 1980"/>
                <a:gd name="T47" fmla="*/ 672 h 1728"/>
                <a:gd name="T48" fmla="*/ 550 w 1980"/>
                <a:gd name="T49" fmla="*/ 909 h 1728"/>
                <a:gd name="T50" fmla="*/ 451 w 1980"/>
                <a:gd name="T51" fmla="*/ 1108 h 1728"/>
                <a:gd name="T52" fmla="*/ 122 w 1980"/>
                <a:gd name="T53" fmla="*/ 970 h 1728"/>
                <a:gd name="T54" fmla="*/ 0 w 1980"/>
                <a:gd name="T55" fmla="*/ 1008 h 1728"/>
                <a:gd name="T56" fmla="*/ 191 w 1980"/>
                <a:gd name="T57" fmla="*/ 1138 h 1728"/>
                <a:gd name="T58" fmla="*/ 199 w 1980"/>
                <a:gd name="T59" fmla="*/ 1222 h 1728"/>
                <a:gd name="T60" fmla="*/ 176 w 1980"/>
                <a:gd name="T61" fmla="*/ 1322 h 1728"/>
                <a:gd name="T62" fmla="*/ 245 w 1980"/>
                <a:gd name="T63" fmla="*/ 1398 h 1728"/>
                <a:gd name="T64" fmla="*/ 329 w 1980"/>
                <a:gd name="T65" fmla="*/ 1520 h 1728"/>
                <a:gd name="T66" fmla="*/ 436 w 1980"/>
                <a:gd name="T67" fmla="*/ 1574 h 1728"/>
                <a:gd name="T68" fmla="*/ 420 w 1980"/>
                <a:gd name="T69" fmla="*/ 1673 h 1728"/>
                <a:gd name="T70" fmla="*/ 627 w 1980"/>
                <a:gd name="T71" fmla="*/ 1727 h 1728"/>
                <a:gd name="T72" fmla="*/ 1008 w 1980"/>
                <a:gd name="T73" fmla="*/ 1505 h 1728"/>
                <a:gd name="T74" fmla="*/ 833 w 1980"/>
                <a:gd name="T75" fmla="*/ 1253 h 1728"/>
                <a:gd name="T76" fmla="*/ 756 w 1980"/>
                <a:gd name="T77" fmla="*/ 1169 h 1728"/>
                <a:gd name="T78" fmla="*/ 963 w 1980"/>
                <a:gd name="T79" fmla="*/ 1116 h 1728"/>
                <a:gd name="T80" fmla="*/ 871 w 1980"/>
                <a:gd name="T81" fmla="*/ 1268 h 1728"/>
                <a:gd name="T82" fmla="*/ 986 w 1980"/>
                <a:gd name="T83" fmla="*/ 1352 h 1728"/>
                <a:gd name="T84" fmla="*/ 1207 w 1980"/>
                <a:gd name="T85" fmla="*/ 1505 h 1728"/>
                <a:gd name="T86" fmla="*/ 1368 w 1980"/>
                <a:gd name="T87" fmla="*/ 1551 h 1728"/>
                <a:gd name="T88" fmla="*/ 1306 w 1980"/>
                <a:gd name="T89" fmla="*/ 1398 h 1728"/>
                <a:gd name="T90" fmla="*/ 1360 w 1980"/>
                <a:gd name="T91" fmla="*/ 1352 h 1728"/>
                <a:gd name="T92" fmla="*/ 1520 w 1980"/>
                <a:gd name="T93" fmla="*/ 1337 h 1728"/>
                <a:gd name="T94" fmla="*/ 1513 w 1980"/>
                <a:gd name="T95" fmla="*/ 1566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80" h="1728">
                  <a:moveTo>
                    <a:pt x="1513" y="1566"/>
                  </a:moveTo>
                  <a:lnTo>
                    <a:pt x="1513" y="1566"/>
                  </a:lnTo>
                  <a:cubicBezTo>
                    <a:pt x="1566" y="1566"/>
                    <a:pt x="1612" y="1566"/>
                    <a:pt x="1658" y="1581"/>
                  </a:cubicBezTo>
                  <a:lnTo>
                    <a:pt x="1658" y="1581"/>
                  </a:lnTo>
                  <a:cubicBezTo>
                    <a:pt x="1650" y="1543"/>
                    <a:pt x="1620" y="1429"/>
                    <a:pt x="1620" y="1383"/>
                  </a:cubicBezTo>
                  <a:cubicBezTo>
                    <a:pt x="1620" y="1352"/>
                    <a:pt x="1658" y="1329"/>
                    <a:pt x="1658" y="1299"/>
                  </a:cubicBezTo>
                  <a:cubicBezTo>
                    <a:pt x="1658" y="1268"/>
                    <a:pt x="1620" y="1253"/>
                    <a:pt x="1620" y="1230"/>
                  </a:cubicBezTo>
                  <a:cubicBezTo>
                    <a:pt x="1627" y="1169"/>
                    <a:pt x="1650" y="1116"/>
                    <a:pt x="1665" y="1062"/>
                  </a:cubicBezTo>
                  <a:cubicBezTo>
                    <a:pt x="1688" y="1008"/>
                    <a:pt x="1704" y="955"/>
                    <a:pt x="1727" y="902"/>
                  </a:cubicBezTo>
                  <a:cubicBezTo>
                    <a:pt x="1742" y="871"/>
                    <a:pt x="1765" y="833"/>
                    <a:pt x="1795" y="810"/>
                  </a:cubicBezTo>
                  <a:cubicBezTo>
                    <a:pt x="1810" y="802"/>
                    <a:pt x="1833" y="825"/>
                    <a:pt x="1849" y="818"/>
                  </a:cubicBezTo>
                  <a:cubicBezTo>
                    <a:pt x="1879" y="802"/>
                    <a:pt x="1910" y="772"/>
                    <a:pt x="1940" y="756"/>
                  </a:cubicBezTo>
                  <a:lnTo>
                    <a:pt x="1940" y="756"/>
                  </a:lnTo>
                  <a:cubicBezTo>
                    <a:pt x="1940" y="734"/>
                    <a:pt x="1963" y="711"/>
                    <a:pt x="1956" y="688"/>
                  </a:cubicBezTo>
                  <a:cubicBezTo>
                    <a:pt x="1933" y="649"/>
                    <a:pt x="1902" y="611"/>
                    <a:pt x="1864" y="588"/>
                  </a:cubicBezTo>
                  <a:cubicBezTo>
                    <a:pt x="1849" y="581"/>
                    <a:pt x="1826" y="619"/>
                    <a:pt x="1818" y="604"/>
                  </a:cubicBezTo>
                  <a:cubicBezTo>
                    <a:pt x="1803" y="573"/>
                    <a:pt x="1826" y="535"/>
                    <a:pt x="1826" y="504"/>
                  </a:cubicBezTo>
                  <a:cubicBezTo>
                    <a:pt x="1826" y="482"/>
                    <a:pt x="1803" y="466"/>
                    <a:pt x="1803" y="443"/>
                  </a:cubicBezTo>
                  <a:cubicBezTo>
                    <a:pt x="1803" y="420"/>
                    <a:pt x="1810" y="397"/>
                    <a:pt x="1826" y="374"/>
                  </a:cubicBezTo>
                  <a:cubicBezTo>
                    <a:pt x="1841" y="359"/>
                    <a:pt x="1864" y="344"/>
                    <a:pt x="1887" y="352"/>
                  </a:cubicBezTo>
                  <a:cubicBezTo>
                    <a:pt x="1910" y="352"/>
                    <a:pt x="1933" y="382"/>
                    <a:pt x="1963" y="382"/>
                  </a:cubicBezTo>
                  <a:cubicBezTo>
                    <a:pt x="1979" y="382"/>
                    <a:pt x="1971" y="359"/>
                    <a:pt x="1979" y="344"/>
                  </a:cubicBezTo>
                  <a:cubicBezTo>
                    <a:pt x="1979" y="313"/>
                    <a:pt x="1979" y="275"/>
                    <a:pt x="1971" y="245"/>
                  </a:cubicBezTo>
                  <a:cubicBezTo>
                    <a:pt x="1956" y="207"/>
                    <a:pt x="1933" y="168"/>
                    <a:pt x="1910" y="138"/>
                  </a:cubicBezTo>
                  <a:lnTo>
                    <a:pt x="1910" y="138"/>
                  </a:lnTo>
                  <a:cubicBezTo>
                    <a:pt x="1826" y="84"/>
                    <a:pt x="1826" y="84"/>
                    <a:pt x="1826" y="84"/>
                  </a:cubicBezTo>
                  <a:lnTo>
                    <a:pt x="1826" y="84"/>
                  </a:lnTo>
                  <a:cubicBezTo>
                    <a:pt x="1765" y="69"/>
                    <a:pt x="1711" y="54"/>
                    <a:pt x="1658" y="46"/>
                  </a:cubicBezTo>
                  <a:cubicBezTo>
                    <a:pt x="1643" y="46"/>
                    <a:pt x="1635" y="61"/>
                    <a:pt x="1627" y="61"/>
                  </a:cubicBezTo>
                  <a:cubicBezTo>
                    <a:pt x="1604" y="61"/>
                    <a:pt x="1589" y="61"/>
                    <a:pt x="1566" y="61"/>
                  </a:cubicBezTo>
                  <a:lnTo>
                    <a:pt x="1566" y="61"/>
                  </a:lnTo>
                  <a:cubicBezTo>
                    <a:pt x="1543" y="61"/>
                    <a:pt x="1520" y="77"/>
                    <a:pt x="1497" y="69"/>
                  </a:cubicBezTo>
                  <a:cubicBezTo>
                    <a:pt x="1467" y="61"/>
                    <a:pt x="1452" y="16"/>
                    <a:pt x="1421" y="8"/>
                  </a:cubicBezTo>
                  <a:cubicBezTo>
                    <a:pt x="1413" y="0"/>
                    <a:pt x="1398" y="8"/>
                    <a:pt x="1383" y="23"/>
                  </a:cubicBezTo>
                  <a:cubicBezTo>
                    <a:pt x="1375" y="31"/>
                    <a:pt x="1383" y="61"/>
                    <a:pt x="1375" y="61"/>
                  </a:cubicBezTo>
                  <a:cubicBezTo>
                    <a:pt x="1345" y="69"/>
                    <a:pt x="1322" y="54"/>
                    <a:pt x="1291" y="46"/>
                  </a:cubicBezTo>
                  <a:cubicBezTo>
                    <a:pt x="1169" y="38"/>
                    <a:pt x="1054" y="16"/>
                    <a:pt x="932" y="23"/>
                  </a:cubicBezTo>
                  <a:cubicBezTo>
                    <a:pt x="909" y="23"/>
                    <a:pt x="886" y="54"/>
                    <a:pt x="879" y="77"/>
                  </a:cubicBezTo>
                  <a:cubicBezTo>
                    <a:pt x="879" y="92"/>
                    <a:pt x="909" y="115"/>
                    <a:pt x="894" y="122"/>
                  </a:cubicBezTo>
                  <a:cubicBezTo>
                    <a:pt x="863" y="138"/>
                    <a:pt x="818" y="122"/>
                    <a:pt x="779" y="122"/>
                  </a:cubicBezTo>
                  <a:lnTo>
                    <a:pt x="779" y="122"/>
                  </a:lnTo>
                  <a:cubicBezTo>
                    <a:pt x="764" y="130"/>
                    <a:pt x="657" y="145"/>
                    <a:pt x="649" y="161"/>
                  </a:cubicBezTo>
                  <a:cubicBezTo>
                    <a:pt x="642" y="176"/>
                    <a:pt x="649" y="199"/>
                    <a:pt x="657" y="222"/>
                  </a:cubicBezTo>
                  <a:cubicBezTo>
                    <a:pt x="657" y="252"/>
                    <a:pt x="680" y="291"/>
                    <a:pt x="665" y="321"/>
                  </a:cubicBezTo>
                  <a:cubicBezTo>
                    <a:pt x="649" y="352"/>
                    <a:pt x="611" y="344"/>
                    <a:pt x="581" y="359"/>
                  </a:cubicBezTo>
                  <a:cubicBezTo>
                    <a:pt x="527" y="374"/>
                    <a:pt x="436" y="352"/>
                    <a:pt x="413" y="405"/>
                  </a:cubicBezTo>
                  <a:cubicBezTo>
                    <a:pt x="382" y="466"/>
                    <a:pt x="443" y="543"/>
                    <a:pt x="466" y="611"/>
                  </a:cubicBezTo>
                  <a:cubicBezTo>
                    <a:pt x="474" y="634"/>
                    <a:pt x="504" y="649"/>
                    <a:pt x="504" y="672"/>
                  </a:cubicBezTo>
                  <a:cubicBezTo>
                    <a:pt x="504" y="726"/>
                    <a:pt x="466" y="787"/>
                    <a:pt x="482" y="841"/>
                  </a:cubicBezTo>
                  <a:cubicBezTo>
                    <a:pt x="482" y="871"/>
                    <a:pt x="543" y="871"/>
                    <a:pt x="550" y="909"/>
                  </a:cubicBezTo>
                  <a:cubicBezTo>
                    <a:pt x="558" y="947"/>
                    <a:pt x="527" y="993"/>
                    <a:pt x="512" y="1031"/>
                  </a:cubicBezTo>
                  <a:cubicBezTo>
                    <a:pt x="497" y="1062"/>
                    <a:pt x="482" y="1116"/>
                    <a:pt x="451" y="1108"/>
                  </a:cubicBezTo>
                  <a:cubicBezTo>
                    <a:pt x="352" y="1085"/>
                    <a:pt x="275" y="1008"/>
                    <a:pt x="184" y="963"/>
                  </a:cubicBezTo>
                  <a:cubicBezTo>
                    <a:pt x="161" y="955"/>
                    <a:pt x="138" y="963"/>
                    <a:pt x="122" y="970"/>
                  </a:cubicBezTo>
                  <a:cubicBezTo>
                    <a:pt x="77" y="978"/>
                    <a:pt x="46" y="993"/>
                    <a:pt x="0" y="1008"/>
                  </a:cubicBezTo>
                  <a:lnTo>
                    <a:pt x="0" y="1008"/>
                  </a:lnTo>
                  <a:cubicBezTo>
                    <a:pt x="38" y="1070"/>
                    <a:pt x="54" y="1138"/>
                    <a:pt x="107" y="1177"/>
                  </a:cubicBezTo>
                  <a:cubicBezTo>
                    <a:pt x="138" y="1199"/>
                    <a:pt x="161" y="1146"/>
                    <a:pt x="191" y="1138"/>
                  </a:cubicBezTo>
                  <a:cubicBezTo>
                    <a:pt x="199" y="1138"/>
                    <a:pt x="230" y="1138"/>
                    <a:pt x="230" y="1154"/>
                  </a:cubicBezTo>
                  <a:cubicBezTo>
                    <a:pt x="237" y="1177"/>
                    <a:pt x="214" y="1199"/>
                    <a:pt x="199" y="1222"/>
                  </a:cubicBezTo>
                  <a:cubicBezTo>
                    <a:pt x="191" y="1230"/>
                    <a:pt x="184" y="1238"/>
                    <a:pt x="176" y="1245"/>
                  </a:cubicBezTo>
                  <a:cubicBezTo>
                    <a:pt x="168" y="1276"/>
                    <a:pt x="161" y="1306"/>
                    <a:pt x="176" y="1322"/>
                  </a:cubicBezTo>
                  <a:cubicBezTo>
                    <a:pt x="191" y="1345"/>
                    <a:pt x="230" y="1306"/>
                    <a:pt x="245" y="1322"/>
                  </a:cubicBezTo>
                  <a:cubicBezTo>
                    <a:pt x="260" y="1337"/>
                    <a:pt x="245" y="1375"/>
                    <a:pt x="245" y="1398"/>
                  </a:cubicBezTo>
                  <a:cubicBezTo>
                    <a:pt x="252" y="1444"/>
                    <a:pt x="237" y="1497"/>
                    <a:pt x="260" y="1535"/>
                  </a:cubicBezTo>
                  <a:cubicBezTo>
                    <a:pt x="275" y="1551"/>
                    <a:pt x="306" y="1505"/>
                    <a:pt x="329" y="1520"/>
                  </a:cubicBezTo>
                  <a:cubicBezTo>
                    <a:pt x="344" y="1528"/>
                    <a:pt x="321" y="1581"/>
                    <a:pt x="344" y="1589"/>
                  </a:cubicBezTo>
                  <a:cubicBezTo>
                    <a:pt x="374" y="1604"/>
                    <a:pt x="413" y="1551"/>
                    <a:pt x="436" y="1574"/>
                  </a:cubicBezTo>
                  <a:cubicBezTo>
                    <a:pt x="459" y="1589"/>
                    <a:pt x="428" y="1650"/>
                    <a:pt x="420" y="1673"/>
                  </a:cubicBezTo>
                  <a:lnTo>
                    <a:pt x="420" y="1673"/>
                  </a:lnTo>
                  <a:cubicBezTo>
                    <a:pt x="443" y="1673"/>
                    <a:pt x="474" y="1673"/>
                    <a:pt x="497" y="1681"/>
                  </a:cubicBezTo>
                  <a:cubicBezTo>
                    <a:pt x="566" y="1666"/>
                    <a:pt x="588" y="1711"/>
                    <a:pt x="627" y="1727"/>
                  </a:cubicBezTo>
                  <a:cubicBezTo>
                    <a:pt x="627" y="1681"/>
                    <a:pt x="818" y="1589"/>
                    <a:pt x="863" y="1581"/>
                  </a:cubicBezTo>
                  <a:cubicBezTo>
                    <a:pt x="924" y="1566"/>
                    <a:pt x="955" y="1551"/>
                    <a:pt x="1008" y="1505"/>
                  </a:cubicBezTo>
                  <a:cubicBezTo>
                    <a:pt x="1093" y="1429"/>
                    <a:pt x="871" y="1322"/>
                    <a:pt x="833" y="1253"/>
                  </a:cubicBezTo>
                  <a:lnTo>
                    <a:pt x="833" y="1253"/>
                  </a:lnTo>
                  <a:cubicBezTo>
                    <a:pt x="825" y="1253"/>
                    <a:pt x="818" y="1245"/>
                    <a:pt x="818" y="1245"/>
                  </a:cubicBezTo>
                  <a:cubicBezTo>
                    <a:pt x="779" y="1222"/>
                    <a:pt x="741" y="1207"/>
                    <a:pt x="756" y="1169"/>
                  </a:cubicBezTo>
                  <a:cubicBezTo>
                    <a:pt x="779" y="1070"/>
                    <a:pt x="886" y="1070"/>
                    <a:pt x="940" y="1077"/>
                  </a:cubicBezTo>
                  <a:cubicBezTo>
                    <a:pt x="955" y="1085"/>
                    <a:pt x="963" y="1100"/>
                    <a:pt x="963" y="1116"/>
                  </a:cubicBezTo>
                  <a:cubicBezTo>
                    <a:pt x="986" y="1146"/>
                    <a:pt x="1024" y="1184"/>
                    <a:pt x="1001" y="1215"/>
                  </a:cubicBezTo>
                  <a:cubicBezTo>
                    <a:pt x="978" y="1253"/>
                    <a:pt x="917" y="1260"/>
                    <a:pt x="871" y="1268"/>
                  </a:cubicBezTo>
                  <a:lnTo>
                    <a:pt x="871" y="1268"/>
                  </a:lnTo>
                  <a:cubicBezTo>
                    <a:pt x="917" y="1291"/>
                    <a:pt x="970" y="1337"/>
                    <a:pt x="986" y="1352"/>
                  </a:cubicBezTo>
                  <a:cubicBezTo>
                    <a:pt x="1031" y="1383"/>
                    <a:pt x="1070" y="1421"/>
                    <a:pt x="1108" y="1452"/>
                  </a:cubicBezTo>
                  <a:cubicBezTo>
                    <a:pt x="1138" y="1474"/>
                    <a:pt x="1184" y="1482"/>
                    <a:pt x="1207" y="1505"/>
                  </a:cubicBezTo>
                  <a:cubicBezTo>
                    <a:pt x="1230" y="1535"/>
                    <a:pt x="1276" y="1604"/>
                    <a:pt x="1314" y="1558"/>
                  </a:cubicBezTo>
                  <a:cubicBezTo>
                    <a:pt x="1345" y="1528"/>
                    <a:pt x="1352" y="1543"/>
                    <a:pt x="1368" y="1551"/>
                  </a:cubicBezTo>
                  <a:lnTo>
                    <a:pt x="1368" y="1551"/>
                  </a:lnTo>
                  <a:cubicBezTo>
                    <a:pt x="1352" y="1513"/>
                    <a:pt x="1322" y="1429"/>
                    <a:pt x="1306" y="1398"/>
                  </a:cubicBezTo>
                  <a:cubicBezTo>
                    <a:pt x="1306" y="1383"/>
                    <a:pt x="1283" y="1368"/>
                    <a:pt x="1299" y="1360"/>
                  </a:cubicBezTo>
                  <a:cubicBezTo>
                    <a:pt x="1314" y="1345"/>
                    <a:pt x="1345" y="1368"/>
                    <a:pt x="1360" y="1352"/>
                  </a:cubicBezTo>
                  <a:cubicBezTo>
                    <a:pt x="1375" y="1345"/>
                    <a:pt x="1368" y="1306"/>
                    <a:pt x="1383" y="1306"/>
                  </a:cubicBezTo>
                  <a:cubicBezTo>
                    <a:pt x="1429" y="1299"/>
                    <a:pt x="1490" y="1299"/>
                    <a:pt x="1520" y="1337"/>
                  </a:cubicBezTo>
                  <a:cubicBezTo>
                    <a:pt x="1543" y="1360"/>
                    <a:pt x="1505" y="1406"/>
                    <a:pt x="1505" y="1436"/>
                  </a:cubicBezTo>
                  <a:cubicBezTo>
                    <a:pt x="1505" y="1459"/>
                    <a:pt x="1513" y="1543"/>
                    <a:pt x="1513" y="15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1" name="Freeform 153"/>
            <p:cNvSpPr>
              <a:spLocks noChangeArrowheads="1"/>
            </p:cNvSpPr>
            <p:nvPr/>
          </p:nvSpPr>
          <p:spPr bwMode="auto">
            <a:xfrm>
              <a:off x="7313137" y="9559925"/>
              <a:ext cx="93656" cy="96838"/>
            </a:xfrm>
            <a:custGeom>
              <a:avLst/>
              <a:gdLst>
                <a:gd name="T0" fmla="*/ 85 w 261"/>
                <a:gd name="T1" fmla="*/ 252 h 268"/>
                <a:gd name="T2" fmla="*/ 85 w 261"/>
                <a:gd name="T3" fmla="*/ 252 h 268"/>
                <a:gd name="T4" fmla="*/ 138 w 261"/>
                <a:gd name="T5" fmla="*/ 252 h 268"/>
                <a:gd name="T6" fmla="*/ 230 w 261"/>
                <a:gd name="T7" fmla="*/ 267 h 268"/>
                <a:gd name="T8" fmla="*/ 230 w 261"/>
                <a:gd name="T9" fmla="*/ 267 h 268"/>
                <a:gd name="T10" fmla="*/ 222 w 261"/>
                <a:gd name="T11" fmla="*/ 137 h 268"/>
                <a:gd name="T12" fmla="*/ 237 w 261"/>
                <a:gd name="T13" fmla="*/ 38 h 268"/>
                <a:gd name="T14" fmla="*/ 100 w 261"/>
                <a:gd name="T15" fmla="*/ 7 h 268"/>
                <a:gd name="T16" fmla="*/ 77 w 261"/>
                <a:gd name="T17" fmla="*/ 53 h 268"/>
                <a:gd name="T18" fmla="*/ 16 w 261"/>
                <a:gd name="T19" fmla="*/ 61 h 268"/>
                <a:gd name="T20" fmla="*/ 23 w 261"/>
                <a:gd name="T21" fmla="*/ 99 h 268"/>
                <a:gd name="T22" fmla="*/ 85 w 261"/>
                <a:gd name="T23" fmla="*/ 25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268">
                  <a:moveTo>
                    <a:pt x="85" y="252"/>
                  </a:moveTo>
                  <a:lnTo>
                    <a:pt x="85" y="252"/>
                  </a:lnTo>
                  <a:cubicBezTo>
                    <a:pt x="92" y="259"/>
                    <a:pt x="108" y="259"/>
                    <a:pt x="138" y="252"/>
                  </a:cubicBezTo>
                  <a:cubicBezTo>
                    <a:pt x="169" y="259"/>
                    <a:pt x="199" y="267"/>
                    <a:pt x="230" y="267"/>
                  </a:cubicBezTo>
                  <a:lnTo>
                    <a:pt x="230" y="267"/>
                  </a:lnTo>
                  <a:cubicBezTo>
                    <a:pt x="230" y="244"/>
                    <a:pt x="222" y="160"/>
                    <a:pt x="222" y="137"/>
                  </a:cubicBezTo>
                  <a:cubicBezTo>
                    <a:pt x="222" y="107"/>
                    <a:pt x="260" y="61"/>
                    <a:pt x="237" y="38"/>
                  </a:cubicBezTo>
                  <a:cubicBezTo>
                    <a:pt x="207" y="0"/>
                    <a:pt x="146" y="0"/>
                    <a:pt x="100" y="7"/>
                  </a:cubicBezTo>
                  <a:cubicBezTo>
                    <a:pt x="85" y="7"/>
                    <a:pt x="92" y="46"/>
                    <a:pt x="77" y="53"/>
                  </a:cubicBezTo>
                  <a:cubicBezTo>
                    <a:pt x="62" y="69"/>
                    <a:pt x="31" y="46"/>
                    <a:pt x="16" y="61"/>
                  </a:cubicBezTo>
                  <a:cubicBezTo>
                    <a:pt x="0" y="69"/>
                    <a:pt x="23" y="84"/>
                    <a:pt x="23" y="99"/>
                  </a:cubicBezTo>
                  <a:cubicBezTo>
                    <a:pt x="39" y="130"/>
                    <a:pt x="69" y="214"/>
                    <a:pt x="85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2" name="Freeform 154"/>
            <p:cNvSpPr>
              <a:spLocks noChangeArrowheads="1"/>
            </p:cNvSpPr>
            <p:nvPr/>
          </p:nvSpPr>
          <p:spPr bwMode="auto">
            <a:xfrm>
              <a:off x="7117887" y="9477375"/>
              <a:ext cx="101593" cy="71438"/>
            </a:xfrm>
            <a:custGeom>
              <a:avLst/>
              <a:gdLst>
                <a:gd name="T0" fmla="*/ 92 w 284"/>
                <a:gd name="T1" fmla="*/ 183 h 199"/>
                <a:gd name="T2" fmla="*/ 92 w 284"/>
                <a:gd name="T3" fmla="*/ 183 h 199"/>
                <a:gd name="T4" fmla="*/ 84 w 284"/>
                <a:gd name="T5" fmla="*/ 175 h 199"/>
                <a:gd name="T6" fmla="*/ 130 w 284"/>
                <a:gd name="T7" fmla="*/ 198 h 199"/>
                <a:gd name="T8" fmla="*/ 130 w 284"/>
                <a:gd name="T9" fmla="*/ 198 h 199"/>
                <a:gd name="T10" fmla="*/ 260 w 284"/>
                <a:gd name="T11" fmla="*/ 145 h 199"/>
                <a:gd name="T12" fmla="*/ 222 w 284"/>
                <a:gd name="T13" fmla="*/ 46 h 199"/>
                <a:gd name="T14" fmla="*/ 199 w 284"/>
                <a:gd name="T15" fmla="*/ 7 h 199"/>
                <a:gd name="T16" fmla="*/ 15 w 284"/>
                <a:gd name="T17" fmla="*/ 99 h 199"/>
                <a:gd name="T18" fmla="*/ 77 w 284"/>
                <a:gd name="T19" fmla="*/ 175 h 199"/>
                <a:gd name="T20" fmla="*/ 92 w 284"/>
                <a:gd name="T21" fmla="*/ 18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" h="199">
                  <a:moveTo>
                    <a:pt x="92" y="183"/>
                  </a:moveTo>
                  <a:lnTo>
                    <a:pt x="92" y="183"/>
                  </a:lnTo>
                  <a:cubicBezTo>
                    <a:pt x="84" y="183"/>
                    <a:pt x="84" y="175"/>
                    <a:pt x="84" y="175"/>
                  </a:cubicBezTo>
                  <a:cubicBezTo>
                    <a:pt x="92" y="175"/>
                    <a:pt x="115" y="183"/>
                    <a:pt x="130" y="198"/>
                  </a:cubicBezTo>
                  <a:lnTo>
                    <a:pt x="130" y="198"/>
                  </a:lnTo>
                  <a:cubicBezTo>
                    <a:pt x="176" y="190"/>
                    <a:pt x="237" y="183"/>
                    <a:pt x="260" y="145"/>
                  </a:cubicBezTo>
                  <a:cubicBezTo>
                    <a:pt x="283" y="114"/>
                    <a:pt x="245" y="76"/>
                    <a:pt x="222" y="46"/>
                  </a:cubicBezTo>
                  <a:cubicBezTo>
                    <a:pt x="222" y="30"/>
                    <a:pt x="214" y="15"/>
                    <a:pt x="199" y="7"/>
                  </a:cubicBezTo>
                  <a:cubicBezTo>
                    <a:pt x="145" y="0"/>
                    <a:pt x="38" y="0"/>
                    <a:pt x="15" y="99"/>
                  </a:cubicBezTo>
                  <a:cubicBezTo>
                    <a:pt x="0" y="137"/>
                    <a:pt x="38" y="152"/>
                    <a:pt x="77" y="175"/>
                  </a:cubicBezTo>
                  <a:cubicBezTo>
                    <a:pt x="77" y="175"/>
                    <a:pt x="84" y="183"/>
                    <a:pt x="92" y="18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3" name="Freeform 155"/>
            <p:cNvSpPr>
              <a:spLocks noChangeArrowheads="1"/>
            </p:cNvSpPr>
            <p:nvPr/>
          </p:nvSpPr>
          <p:spPr bwMode="auto">
            <a:xfrm>
              <a:off x="6294028" y="9369426"/>
              <a:ext cx="723853" cy="511175"/>
            </a:xfrm>
            <a:custGeom>
              <a:avLst/>
              <a:gdLst>
                <a:gd name="T0" fmla="*/ 7 w 2010"/>
                <a:gd name="T1" fmla="*/ 657 h 1421"/>
                <a:gd name="T2" fmla="*/ 152 w 2010"/>
                <a:gd name="T3" fmla="*/ 580 h 1421"/>
                <a:gd name="T4" fmla="*/ 473 w 2010"/>
                <a:gd name="T5" fmla="*/ 496 h 1421"/>
                <a:gd name="T6" fmla="*/ 542 w 2010"/>
                <a:gd name="T7" fmla="*/ 344 h 1421"/>
                <a:gd name="T8" fmla="*/ 687 w 2010"/>
                <a:gd name="T9" fmla="*/ 221 h 1421"/>
                <a:gd name="T10" fmla="*/ 809 w 2010"/>
                <a:gd name="T11" fmla="*/ 282 h 1421"/>
                <a:gd name="T12" fmla="*/ 886 w 2010"/>
                <a:gd name="T13" fmla="*/ 206 h 1421"/>
                <a:gd name="T14" fmla="*/ 939 w 2010"/>
                <a:gd name="T15" fmla="*/ 23 h 1421"/>
                <a:gd name="T16" fmla="*/ 970 w 2010"/>
                <a:gd name="T17" fmla="*/ 0 h 1421"/>
                <a:gd name="T18" fmla="*/ 1191 w 2010"/>
                <a:gd name="T19" fmla="*/ 122 h 1421"/>
                <a:gd name="T20" fmla="*/ 1298 w 2010"/>
                <a:gd name="T21" fmla="*/ 259 h 1421"/>
                <a:gd name="T22" fmla="*/ 1451 w 2010"/>
                <a:gd name="T23" fmla="*/ 275 h 1421"/>
                <a:gd name="T24" fmla="*/ 1550 w 2010"/>
                <a:gd name="T25" fmla="*/ 236 h 1421"/>
                <a:gd name="T26" fmla="*/ 1741 w 2010"/>
                <a:gd name="T27" fmla="*/ 366 h 1421"/>
                <a:gd name="T28" fmla="*/ 1749 w 2010"/>
                <a:gd name="T29" fmla="*/ 450 h 1421"/>
                <a:gd name="T30" fmla="*/ 1726 w 2010"/>
                <a:gd name="T31" fmla="*/ 550 h 1421"/>
                <a:gd name="T32" fmla="*/ 1795 w 2010"/>
                <a:gd name="T33" fmla="*/ 626 h 1421"/>
                <a:gd name="T34" fmla="*/ 1879 w 2010"/>
                <a:gd name="T35" fmla="*/ 748 h 1421"/>
                <a:gd name="T36" fmla="*/ 1986 w 2010"/>
                <a:gd name="T37" fmla="*/ 802 h 1421"/>
                <a:gd name="T38" fmla="*/ 1970 w 2010"/>
                <a:gd name="T39" fmla="*/ 901 h 1421"/>
                <a:gd name="T40" fmla="*/ 1848 w 2010"/>
                <a:gd name="T41" fmla="*/ 955 h 1421"/>
                <a:gd name="T42" fmla="*/ 1764 w 2010"/>
                <a:gd name="T43" fmla="*/ 825 h 1421"/>
                <a:gd name="T44" fmla="*/ 1695 w 2010"/>
                <a:gd name="T45" fmla="*/ 786 h 1421"/>
                <a:gd name="T46" fmla="*/ 1619 w 2010"/>
                <a:gd name="T47" fmla="*/ 763 h 1421"/>
                <a:gd name="T48" fmla="*/ 1482 w 2010"/>
                <a:gd name="T49" fmla="*/ 741 h 1421"/>
                <a:gd name="T50" fmla="*/ 1405 w 2010"/>
                <a:gd name="T51" fmla="*/ 977 h 1421"/>
                <a:gd name="T52" fmla="*/ 1581 w 2010"/>
                <a:gd name="T53" fmla="*/ 1069 h 1421"/>
                <a:gd name="T54" fmla="*/ 1566 w 2010"/>
                <a:gd name="T55" fmla="*/ 1176 h 1421"/>
                <a:gd name="T56" fmla="*/ 1428 w 2010"/>
                <a:gd name="T57" fmla="*/ 1291 h 1421"/>
                <a:gd name="T58" fmla="*/ 1275 w 2010"/>
                <a:gd name="T59" fmla="*/ 1207 h 1421"/>
                <a:gd name="T60" fmla="*/ 825 w 2010"/>
                <a:gd name="T61" fmla="*/ 1146 h 1421"/>
                <a:gd name="T62" fmla="*/ 779 w 2010"/>
                <a:gd name="T63" fmla="*/ 1245 h 1421"/>
                <a:gd name="T64" fmla="*/ 840 w 2010"/>
                <a:gd name="T65" fmla="*/ 1352 h 1421"/>
                <a:gd name="T66" fmla="*/ 809 w 2010"/>
                <a:gd name="T67" fmla="*/ 1420 h 1421"/>
                <a:gd name="T68" fmla="*/ 794 w 2010"/>
                <a:gd name="T69" fmla="*/ 1313 h 1421"/>
                <a:gd name="T70" fmla="*/ 756 w 2010"/>
                <a:gd name="T71" fmla="*/ 1245 h 1421"/>
                <a:gd name="T72" fmla="*/ 84 w 2010"/>
                <a:gd name="T73" fmla="*/ 909 h 1421"/>
                <a:gd name="T74" fmla="*/ 15 w 2010"/>
                <a:gd name="T75" fmla="*/ 939 h 1421"/>
                <a:gd name="T76" fmla="*/ 38 w 2010"/>
                <a:gd name="T77" fmla="*/ 809 h 1421"/>
                <a:gd name="T78" fmla="*/ 107 w 2010"/>
                <a:gd name="T79" fmla="*/ 718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10" h="1421">
                  <a:moveTo>
                    <a:pt x="7" y="657"/>
                  </a:moveTo>
                  <a:lnTo>
                    <a:pt x="7" y="657"/>
                  </a:lnTo>
                  <a:cubicBezTo>
                    <a:pt x="30" y="641"/>
                    <a:pt x="38" y="611"/>
                    <a:pt x="61" y="603"/>
                  </a:cubicBezTo>
                  <a:cubicBezTo>
                    <a:pt x="84" y="588"/>
                    <a:pt x="122" y="588"/>
                    <a:pt x="152" y="580"/>
                  </a:cubicBezTo>
                  <a:cubicBezTo>
                    <a:pt x="175" y="573"/>
                    <a:pt x="191" y="565"/>
                    <a:pt x="214" y="557"/>
                  </a:cubicBezTo>
                  <a:cubicBezTo>
                    <a:pt x="298" y="534"/>
                    <a:pt x="389" y="519"/>
                    <a:pt x="473" y="496"/>
                  </a:cubicBezTo>
                  <a:cubicBezTo>
                    <a:pt x="488" y="496"/>
                    <a:pt x="527" y="511"/>
                    <a:pt x="534" y="488"/>
                  </a:cubicBezTo>
                  <a:cubicBezTo>
                    <a:pt x="557" y="443"/>
                    <a:pt x="534" y="389"/>
                    <a:pt x="542" y="344"/>
                  </a:cubicBezTo>
                  <a:cubicBezTo>
                    <a:pt x="542" y="313"/>
                    <a:pt x="534" y="275"/>
                    <a:pt x="550" y="259"/>
                  </a:cubicBezTo>
                  <a:cubicBezTo>
                    <a:pt x="588" y="229"/>
                    <a:pt x="641" y="206"/>
                    <a:pt x="687" y="221"/>
                  </a:cubicBezTo>
                  <a:cubicBezTo>
                    <a:pt x="733" y="236"/>
                    <a:pt x="725" y="313"/>
                    <a:pt x="771" y="336"/>
                  </a:cubicBezTo>
                  <a:cubicBezTo>
                    <a:pt x="786" y="344"/>
                    <a:pt x="794" y="290"/>
                    <a:pt x="809" y="282"/>
                  </a:cubicBezTo>
                  <a:cubicBezTo>
                    <a:pt x="855" y="267"/>
                    <a:pt x="924" y="298"/>
                    <a:pt x="962" y="259"/>
                  </a:cubicBezTo>
                  <a:cubicBezTo>
                    <a:pt x="977" y="244"/>
                    <a:pt x="886" y="236"/>
                    <a:pt x="886" y="206"/>
                  </a:cubicBezTo>
                  <a:cubicBezTo>
                    <a:pt x="886" y="168"/>
                    <a:pt x="947" y="145"/>
                    <a:pt x="962" y="99"/>
                  </a:cubicBezTo>
                  <a:cubicBezTo>
                    <a:pt x="970" y="76"/>
                    <a:pt x="939" y="53"/>
                    <a:pt x="939" y="23"/>
                  </a:cubicBezTo>
                  <a:cubicBezTo>
                    <a:pt x="947" y="15"/>
                    <a:pt x="962" y="7"/>
                    <a:pt x="970" y="0"/>
                  </a:cubicBezTo>
                  <a:lnTo>
                    <a:pt x="970" y="0"/>
                  </a:lnTo>
                  <a:cubicBezTo>
                    <a:pt x="1023" y="15"/>
                    <a:pt x="1077" y="7"/>
                    <a:pt x="1115" y="30"/>
                  </a:cubicBezTo>
                  <a:cubicBezTo>
                    <a:pt x="1153" y="46"/>
                    <a:pt x="1168" y="91"/>
                    <a:pt x="1191" y="122"/>
                  </a:cubicBezTo>
                  <a:cubicBezTo>
                    <a:pt x="1214" y="160"/>
                    <a:pt x="1230" y="198"/>
                    <a:pt x="1252" y="236"/>
                  </a:cubicBezTo>
                  <a:cubicBezTo>
                    <a:pt x="1260" y="252"/>
                    <a:pt x="1283" y="252"/>
                    <a:pt x="1298" y="259"/>
                  </a:cubicBezTo>
                  <a:cubicBezTo>
                    <a:pt x="1313" y="282"/>
                    <a:pt x="1313" y="336"/>
                    <a:pt x="1344" y="336"/>
                  </a:cubicBezTo>
                  <a:cubicBezTo>
                    <a:pt x="1382" y="336"/>
                    <a:pt x="1413" y="290"/>
                    <a:pt x="1451" y="275"/>
                  </a:cubicBezTo>
                  <a:cubicBezTo>
                    <a:pt x="1482" y="259"/>
                    <a:pt x="1520" y="252"/>
                    <a:pt x="1550" y="236"/>
                  </a:cubicBezTo>
                  <a:lnTo>
                    <a:pt x="1550" y="236"/>
                  </a:lnTo>
                  <a:cubicBezTo>
                    <a:pt x="1588" y="298"/>
                    <a:pt x="1604" y="366"/>
                    <a:pt x="1657" y="405"/>
                  </a:cubicBezTo>
                  <a:cubicBezTo>
                    <a:pt x="1688" y="427"/>
                    <a:pt x="1711" y="374"/>
                    <a:pt x="1741" y="366"/>
                  </a:cubicBezTo>
                  <a:cubicBezTo>
                    <a:pt x="1749" y="366"/>
                    <a:pt x="1780" y="366"/>
                    <a:pt x="1780" y="382"/>
                  </a:cubicBezTo>
                  <a:cubicBezTo>
                    <a:pt x="1787" y="405"/>
                    <a:pt x="1764" y="427"/>
                    <a:pt x="1749" y="450"/>
                  </a:cubicBezTo>
                  <a:cubicBezTo>
                    <a:pt x="1741" y="458"/>
                    <a:pt x="1734" y="466"/>
                    <a:pt x="1726" y="473"/>
                  </a:cubicBezTo>
                  <a:cubicBezTo>
                    <a:pt x="1718" y="504"/>
                    <a:pt x="1711" y="534"/>
                    <a:pt x="1726" y="550"/>
                  </a:cubicBezTo>
                  <a:cubicBezTo>
                    <a:pt x="1741" y="573"/>
                    <a:pt x="1780" y="534"/>
                    <a:pt x="1795" y="550"/>
                  </a:cubicBezTo>
                  <a:cubicBezTo>
                    <a:pt x="1810" y="565"/>
                    <a:pt x="1795" y="603"/>
                    <a:pt x="1795" y="626"/>
                  </a:cubicBezTo>
                  <a:cubicBezTo>
                    <a:pt x="1802" y="672"/>
                    <a:pt x="1787" y="725"/>
                    <a:pt x="1810" y="763"/>
                  </a:cubicBezTo>
                  <a:cubicBezTo>
                    <a:pt x="1825" y="779"/>
                    <a:pt x="1856" y="733"/>
                    <a:pt x="1879" y="748"/>
                  </a:cubicBezTo>
                  <a:cubicBezTo>
                    <a:pt x="1894" y="756"/>
                    <a:pt x="1871" y="809"/>
                    <a:pt x="1894" y="817"/>
                  </a:cubicBezTo>
                  <a:cubicBezTo>
                    <a:pt x="1924" y="832"/>
                    <a:pt x="1963" y="779"/>
                    <a:pt x="1986" y="802"/>
                  </a:cubicBezTo>
                  <a:cubicBezTo>
                    <a:pt x="2009" y="817"/>
                    <a:pt x="1978" y="878"/>
                    <a:pt x="1970" y="901"/>
                  </a:cubicBezTo>
                  <a:lnTo>
                    <a:pt x="1970" y="901"/>
                  </a:lnTo>
                  <a:cubicBezTo>
                    <a:pt x="1947" y="909"/>
                    <a:pt x="1917" y="916"/>
                    <a:pt x="1894" y="947"/>
                  </a:cubicBezTo>
                  <a:cubicBezTo>
                    <a:pt x="1886" y="955"/>
                    <a:pt x="1871" y="955"/>
                    <a:pt x="1848" y="955"/>
                  </a:cubicBezTo>
                  <a:lnTo>
                    <a:pt x="1848" y="955"/>
                  </a:lnTo>
                  <a:cubicBezTo>
                    <a:pt x="1825" y="924"/>
                    <a:pt x="1787" y="855"/>
                    <a:pt x="1764" y="825"/>
                  </a:cubicBezTo>
                  <a:cubicBezTo>
                    <a:pt x="1749" y="817"/>
                    <a:pt x="1749" y="794"/>
                    <a:pt x="1734" y="786"/>
                  </a:cubicBezTo>
                  <a:cubicBezTo>
                    <a:pt x="1726" y="779"/>
                    <a:pt x="1703" y="786"/>
                    <a:pt x="1695" y="786"/>
                  </a:cubicBezTo>
                  <a:cubicBezTo>
                    <a:pt x="1665" y="779"/>
                    <a:pt x="1642" y="771"/>
                    <a:pt x="1619" y="763"/>
                  </a:cubicBezTo>
                  <a:lnTo>
                    <a:pt x="1619" y="763"/>
                  </a:lnTo>
                  <a:cubicBezTo>
                    <a:pt x="1596" y="748"/>
                    <a:pt x="1581" y="710"/>
                    <a:pt x="1550" y="710"/>
                  </a:cubicBezTo>
                  <a:cubicBezTo>
                    <a:pt x="1527" y="702"/>
                    <a:pt x="1497" y="718"/>
                    <a:pt x="1482" y="741"/>
                  </a:cubicBezTo>
                  <a:cubicBezTo>
                    <a:pt x="1466" y="763"/>
                    <a:pt x="1474" y="802"/>
                    <a:pt x="1466" y="832"/>
                  </a:cubicBezTo>
                  <a:cubicBezTo>
                    <a:pt x="1459" y="855"/>
                    <a:pt x="1413" y="955"/>
                    <a:pt x="1405" y="977"/>
                  </a:cubicBezTo>
                  <a:lnTo>
                    <a:pt x="1405" y="977"/>
                  </a:lnTo>
                  <a:cubicBezTo>
                    <a:pt x="1405" y="1008"/>
                    <a:pt x="1550" y="1077"/>
                    <a:pt x="1581" y="1069"/>
                  </a:cubicBezTo>
                  <a:cubicBezTo>
                    <a:pt x="1604" y="1061"/>
                    <a:pt x="1588" y="1092"/>
                    <a:pt x="1588" y="1107"/>
                  </a:cubicBezTo>
                  <a:cubicBezTo>
                    <a:pt x="1596" y="1153"/>
                    <a:pt x="1642" y="1146"/>
                    <a:pt x="1566" y="1176"/>
                  </a:cubicBezTo>
                  <a:cubicBezTo>
                    <a:pt x="1535" y="1184"/>
                    <a:pt x="1581" y="1260"/>
                    <a:pt x="1558" y="1260"/>
                  </a:cubicBezTo>
                  <a:cubicBezTo>
                    <a:pt x="1520" y="1260"/>
                    <a:pt x="1436" y="1245"/>
                    <a:pt x="1428" y="1291"/>
                  </a:cubicBezTo>
                  <a:cubicBezTo>
                    <a:pt x="1405" y="1298"/>
                    <a:pt x="1397" y="1275"/>
                    <a:pt x="1390" y="1252"/>
                  </a:cubicBezTo>
                  <a:cubicBezTo>
                    <a:pt x="1344" y="1252"/>
                    <a:pt x="1321" y="1222"/>
                    <a:pt x="1275" y="1207"/>
                  </a:cubicBezTo>
                  <a:cubicBezTo>
                    <a:pt x="1230" y="1191"/>
                    <a:pt x="1176" y="1207"/>
                    <a:pt x="1130" y="1191"/>
                  </a:cubicBezTo>
                  <a:cubicBezTo>
                    <a:pt x="1023" y="1176"/>
                    <a:pt x="932" y="1146"/>
                    <a:pt x="825" y="1146"/>
                  </a:cubicBezTo>
                  <a:cubicBezTo>
                    <a:pt x="825" y="1168"/>
                    <a:pt x="794" y="1207"/>
                    <a:pt x="779" y="1229"/>
                  </a:cubicBezTo>
                  <a:cubicBezTo>
                    <a:pt x="779" y="1245"/>
                    <a:pt x="779" y="1245"/>
                    <a:pt x="779" y="1245"/>
                  </a:cubicBezTo>
                  <a:cubicBezTo>
                    <a:pt x="779" y="1268"/>
                    <a:pt x="794" y="1283"/>
                    <a:pt x="809" y="1298"/>
                  </a:cubicBezTo>
                  <a:cubicBezTo>
                    <a:pt x="817" y="1313"/>
                    <a:pt x="840" y="1336"/>
                    <a:pt x="840" y="1352"/>
                  </a:cubicBezTo>
                  <a:cubicBezTo>
                    <a:pt x="840" y="1367"/>
                    <a:pt x="825" y="1382"/>
                    <a:pt x="817" y="1398"/>
                  </a:cubicBezTo>
                  <a:cubicBezTo>
                    <a:pt x="809" y="1405"/>
                    <a:pt x="809" y="1420"/>
                    <a:pt x="809" y="1420"/>
                  </a:cubicBezTo>
                  <a:cubicBezTo>
                    <a:pt x="802" y="1398"/>
                    <a:pt x="794" y="1390"/>
                    <a:pt x="794" y="1367"/>
                  </a:cubicBezTo>
                  <a:cubicBezTo>
                    <a:pt x="794" y="1352"/>
                    <a:pt x="802" y="1329"/>
                    <a:pt x="794" y="1313"/>
                  </a:cubicBezTo>
                  <a:cubicBezTo>
                    <a:pt x="786" y="1306"/>
                    <a:pt x="779" y="1298"/>
                    <a:pt x="771" y="1283"/>
                  </a:cubicBezTo>
                  <a:cubicBezTo>
                    <a:pt x="763" y="1275"/>
                    <a:pt x="763" y="1260"/>
                    <a:pt x="756" y="1245"/>
                  </a:cubicBezTo>
                  <a:cubicBezTo>
                    <a:pt x="664" y="1138"/>
                    <a:pt x="351" y="1031"/>
                    <a:pt x="282" y="970"/>
                  </a:cubicBezTo>
                  <a:cubicBezTo>
                    <a:pt x="236" y="955"/>
                    <a:pt x="130" y="901"/>
                    <a:pt x="84" y="909"/>
                  </a:cubicBezTo>
                  <a:cubicBezTo>
                    <a:pt x="61" y="916"/>
                    <a:pt x="38" y="924"/>
                    <a:pt x="15" y="939"/>
                  </a:cubicBezTo>
                  <a:lnTo>
                    <a:pt x="15" y="939"/>
                  </a:lnTo>
                  <a:cubicBezTo>
                    <a:pt x="15" y="916"/>
                    <a:pt x="15" y="863"/>
                    <a:pt x="23" y="840"/>
                  </a:cubicBezTo>
                  <a:cubicBezTo>
                    <a:pt x="23" y="825"/>
                    <a:pt x="38" y="817"/>
                    <a:pt x="38" y="809"/>
                  </a:cubicBezTo>
                  <a:cubicBezTo>
                    <a:pt x="30" y="794"/>
                    <a:pt x="0" y="794"/>
                    <a:pt x="7" y="786"/>
                  </a:cubicBezTo>
                  <a:cubicBezTo>
                    <a:pt x="30" y="748"/>
                    <a:pt x="107" y="756"/>
                    <a:pt x="107" y="718"/>
                  </a:cubicBezTo>
                  <a:cubicBezTo>
                    <a:pt x="107" y="680"/>
                    <a:pt x="46" y="680"/>
                    <a:pt x="7" y="65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4" name="Freeform 156"/>
            <p:cNvSpPr>
              <a:spLocks noChangeArrowheads="1"/>
            </p:cNvSpPr>
            <p:nvPr/>
          </p:nvSpPr>
          <p:spPr bwMode="auto">
            <a:xfrm>
              <a:off x="6862316" y="9644063"/>
              <a:ext cx="96831" cy="74612"/>
            </a:xfrm>
            <a:custGeom>
              <a:avLst/>
              <a:gdLst>
                <a:gd name="T0" fmla="*/ 267 w 268"/>
                <a:gd name="T1" fmla="*/ 192 h 208"/>
                <a:gd name="T2" fmla="*/ 267 w 268"/>
                <a:gd name="T3" fmla="*/ 192 h 208"/>
                <a:gd name="T4" fmla="*/ 183 w 268"/>
                <a:gd name="T5" fmla="*/ 62 h 208"/>
                <a:gd name="T6" fmla="*/ 153 w 268"/>
                <a:gd name="T7" fmla="*/ 23 h 208"/>
                <a:gd name="T8" fmla="*/ 114 w 268"/>
                <a:gd name="T9" fmla="*/ 23 h 208"/>
                <a:gd name="T10" fmla="*/ 38 w 268"/>
                <a:gd name="T11" fmla="*/ 0 h 208"/>
                <a:gd name="T12" fmla="*/ 38 w 268"/>
                <a:gd name="T13" fmla="*/ 0 h 208"/>
                <a:gd name="T14" fmla="*/ 7 w 268"/>
                <a:gd name="T15" fmla="*/ 54 h 208"/>
                <a:gd name="T16" fmla="*/ 68 w 268"/>
                <a:gd name="T17" fmla="*/ 85 h 208"/>
                <a:gd name="T18" fmla="*/ 61 w 268"/>
                <a:gd name="T19" fmla="*/ 207 h 208"/>
                <a:gd name="T20" fmla="*/ 61 w 268"/>
                <a:gd name="T21" fmla="*/ 207 h 208"/>
                <a:gd name="T22" fmla="*/ 214 w 268"/>
                <a:gd name="T23" fmla="*/ 176 h 208"/>
                <a:gd name="T24" fmla="*/ 267 w 268"/>
                <a:gd name="T25" fmla="*/ 19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8" h="208">
                  <a:moveTo>
                    <a:pt x="267" y="192"/>
                  </a:moveTo>
                  <a:lnTo>
                    <a:pt x="267" y="192"/>
                  </a:lnTo>
                  <a:cubicBezTo>
                    <a:pt x="244" y="161"/>
                    <a:pt x="206" y="92"/>
                    <a:pt x="183" y="62"/>
                  </a:cubicBezTo>
                  <a:cubicBezTo>
                    <a:pt x="168" y="54"/>
                    <a:pt x="168" y="31"/>
                    <a:pt x="153" y="23"/>
                  </a:cubicBezTo>
                  <a:cubicBezTo>
                    <a:pt x="145" y="16"/>
                    <a:pt x="122" y="23"/>
                    <a:pt x="114" y="23"/>
                  </a:cubicBezTo>
                  <a:cubicBezTo>
                    <a:pt x="84" y="16"/>
                    <a:pt x="61" y="8"/>
                    <a:pt x="38" y="0"/>
                  </a:cubicBezTo>
                  <a:lnTo>
                    <a:pt x="38" y="0"/>
                  </a:lnTo>
                  <a:cubicBezTo>
                    <a:pt x="30" y="16"/>
                    <a:pt x="0" y="31"/>
                    <a:pt x="7" y="54"/>
                  </a:cubicBezTo>
                  <a:cubicBezTo>
                    <a:pt x="15" y="69"/>
                    <a:pt x="61" y="62"/>
                    <a:pt x="68" y="85"/>
                  </a:cubicBezTo>
                  <a:cubicBezTo>
                    <a:pt x="84" y="115"/>
                    <a:pt x="68" y="176"/>
                    <a:pt x="61" y="207"/>
                  </a:cubicBezTo>
                  <a:lnTo>
                    <a:pt x="61" y="207"/>
                  </a:lnTo>
                  <a:cubicBezTo>
                    <a:pt x="99" y="176"/>
                    <a:pt x="153" y="161"/>
                    <a:pt x="214" y="176"/>
                  </a:cubicBezTo>
                  <a:cubicBezTo>
                    <a:pt x="229" y="176"/>
                    <a:pt x="252" y="184"/>
                    <a:pt x="267" y="1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5" name="Freeform 157"/>
            <p:cNvSpPr>
              <a:spLocks noChangeArrowheads="1"/>
            </p:cNvSpPr>
            <p:nvPr/>
          </p:nvSpPr>
          <p:spPr bwMode="auto">
            <a:xfrm>
              <a:off x="7049629" y="9647239"/>
              <a:ext cx="322241" cy="206375"/>
            </a:xfrm>
            <a:custGeom>
              <a:avLst/>
              <a:gdLst>
                <a:gd name="T0" fmla="*/ 359 w 895"/>
                <a:gd name="T1" fmla="*/ 413 h 574"/>
                <a:gd name="T2" fmla="*/ 359 w 895"/>
                <a:gd name="T3" fmla="*/ 413 h 574"/>
                <a:gd name="T4" fmla="*/ 275 w 895"/>
                <a:gd name="T5" fmla="*/ 367 h 574"/>
                <a:gd name="T6" fmla="*/ 199 w 895"/>
                <a:gd name="T7" fmla="*/ 298 h 574"/>
                <a:gd name="T8" fmla="*/ 115 w 895"/>
                <a:gd name="T9" fmla="*/ 237 h 574"/>
                <a:gd name="T10" fmla="*/ 329 w 895"/>
                <a:gd name="T11" fmla="*/ 161 h 574"/>
                <a:gd name="T12" fmla="*/ 481 w 895"/>
                <a:gd name="T13" fmla="*/ 61 h 574"/>
                <a:gd name="T14" fmla="*/ 604 w 895"/>
                <a:gd name="T15" fmla="*/ 92 h 574"/>
                <a:gd name="T16" fmla="*/ 733 w 895"/>
                <a:gd name="T17" fmla="*/ 115 h 574"/>
                <a:gd name="T18" fmla="*/ 848 w 895"/>
                <a:gd name="T19" fmla="*/ 252 h 574"/>
                <a:gd name="T20" fmla="*/ 764 w 895"/>
                <a:gd name="T21" fmla="*/ 321 h 574"/>
                <a:gd name="T22" fmla="*/ 710 w 895"/>
                <a:gd name="T23" fmla="*/ 397 h 574"/>
                <a:gd name="T24" fmla="*/ 581 w 895"/>
                <a:gd name="T25" fmla="*/ 497 h 574"/>
                <a:gd name="T26" fmla="*/ 413 w 895"/>
                <a:gd name="T27" fmla="*/ 458 h 574"/>
                <a:gd name="T28" fmla="*/ 359 w 895"/>
                <a:gd name="T29" fmla="*/ 413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5" h="574">
                  <a:moveTo>
                    <a:pt x="359" y="413"/>
                  </a:moveTo>
                  <a:lnTo>
                    <a:pt x="359" y="413"/>
                  </a:lnTo>
                  <a:cubicBezTo>
                    <a:pt x="329" y="397"/>
                    <a:pt x="306" y="390"/>
                    <a:pt x="275" y="367"/>
                  </a:cubicBezTo>
                  <a:cubicBezTo>
                    <a:pt x="252" y="352"/>
                    <a:pt x="229" y="290"/>
                    <a:pt x="199" y="298"/>
                  </a:cubicBezTo>
                  <a:cubicBezTo>
                    <a:pt x="0" y="352"/>
                    <a:pt x="99" y="306"/>
                    <a:pt x="115" y="237"/>
                  </a:cubicBezTo>
                  <a:cubicBezTo>
                    <a:pt x="130" y="168"/>
                    <a:pt x="275" y="191"/>
                    <a:pt x="329" y="161"/>
                  </a:cubicBezTo>
                  <a:cubicBezTo>
                    <a:pt x="390" y="130"/>
                    <a:pt x="436" y="115"/>
                    <a:pt x="481" y="61"/>
                  </a:cubicBezTo>
                  <a:cubicBezTo>
                    <a:pt x="535" y="0"/>
                    <a:pt x="543" y="61"/>
                    <a:pt x="604" y="92"/>
                  </a:cubicBezTo>
                  <a:cubicBezTo>
                    <a:pt x="649" y="115"/>
                    <a:pt x="680" y="115"/>
                    <a:pt x="733" y="115"/>
                  </a:cubicBezTo>
                  <a:cubicBezTo>
                    <a:pt x="764" y="115"/>
                    <a:pt x="825" y="222"/>
                    <a:pt x="848" y="252"/>
                  </a:cubicBezTo>
                  <a:cubicBezTo>
                    <a:pt x="894" y="298"/>
                    <a:pt x="779" y="313"/>
                    <a:pt x="764" y="321"/>
                  </a:cubicBezTo>
                  <a:cubicBezTo>
                    <a:pt x="703" y="336"/>
                    <a:pt x="726" y="359"/>
                    <a:pt x="710" y="397"/>
                  </a:cubicBezTo>
                  <a:cubicBezTo>
                    <a:pt x="688" y="474"/>
                    <a:pt x="634" y="443"/>
                    <a:pt x="581" y="497"/>
                  </a:cubicBezTo>
                  <a:cubicBezTo>
                    <a:pt x="497" y="573"/>
                    <a:pt x="489" y="489"/>
                    <a:pt x="413" y="458"/>
                  </a:cubicBezTo>
                  <a:lnTo>
                    <a:pt x="359" y="41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6" name="Freeform 158"/>
            <p:cNvSpPr>
              <a:spLocks noChangeArrowheads="1"/>
            </p:cNvSpPr>
            <p:nvPr/>
          </p:nvSpPr>
          <p:spPr bwMode="auto">
            <a:xfrm>
              <a:off x="6798820" y="9621838"/>
              <a:ext cx="93656" cy="127000"/>
            </a:xfrm>
            <a:custGeom>
              <a:avLst/>
              <a:gdLst>
                <a:gd name="T0" fmla="*/ 0 w 261"/>
                <a:gd name="T1" fmla="*/ 275 h 353"/>
                <a:gd name="T2" fmla="*/ 0 w 261"/>
                <a:gd name="T3" fmla="*/ 275 h 353"/>
                <a:gd name="T4" fmla="*/ 84 w 261"/>
                <a:gd name="T5" fmla="*/ 283 h 353"/>
                <a:gd name="T6" fmla="*/ 161 w 261"/>
                <a:gd name="T7" fmla="*/ 275 h 353"/>
                <a:gd name="T8" fmla="*/ 153 w 261"/>
                <a:gd name="T9" fmla="*/ 329 h 353"/>
                <a:gd name="T10" fmla="*/ 183 w 261"/>
                <a:gd name="T11" fmla="*/ 352 h 353"/>
                <a:gd name="T12" fmla="*/ 237 w 261"/>
                <a:gd name="T13" fmla="*/ 268 h 353"/>
                <a:gd name="T14" fmla="*/ 237 w 261"/>
                <a:gd name="T15" fmla="*/ 268 h 353"/>
                <a:gd name="T16" fmla="*/ 244 w 261"/>
                <a:gd name="T17" fmla="*/ 146 h 353"/>
                <a:gd name="T18" fmla="*/ 183 w 261"/>
                <a:gd name="T19" fmla="*/ 115 h 353"/>
                <a:gd name="T20" fmla="*/ 214 w 261"/>
                <a:gd name="T21" fmla="*/ 61 h 353"/>
                <a:gd name="T22" fmla="*/ 214 w 261"/>
                <a:gd name="T23" fmla="*/ 61 h 353"/>
                <a:gd name="T24" fmla="*/ 145 w 261"/>
                <a:gd name="T25" fmla="*/ 8 h 353"/>
                <a:gd name="T26" fmla="*/ 77 w 261"/>
                <a:gd name="T27" fmla="*/ 39 h 353"/>
                <a:gd name="T28" fmla="*/ 61 w 261"/>
                <a:gd name="T29" fmla="*/ 130 h 353"/>
                <a:gd name="T30" fmla="*/ 0 w 261"/>
                <a:gd name="T31" fmla="*/ 2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1" h="353">
                  <a:moveTo>
                    <a:pt x="0" y="275"/>
                  </a:moveTo>
                  <a:lnTo>
                    <a:pt x="0" y="275"/>
                  </a:lnTo>
                  <a:cubicBezTo>
                    <a:pt x="31" y="275"/>
                    <a:pt x="54" y="283"/>
                    <a:pt x="84" y="283"/>
                  </a:cubicBezTo>
                  <a:cubicBezTo>
                    <a:pt x="115" y="275"/>
                    <a:pt x="138" y="268"/>
                    <a:pt x="161" y="275"/>
                  </a:cubicBezTo>
                  <a:cubicBezTo>
                    <a:pt x="168" y="298"/>
                    <a:pt x="153" y="306"/>
                    <a:pt x="153" y="329"/>
                  </a:cubicBezTo>
                  <a:cubicBezTo>
                    <a:pt x="153" y="336"/>
                    <a:pt x="183" y="352"/>
                    <a:pt x="183" y="352"/>
                  </a:cubicBezTo>
                  <a:cubicBezTo>
                    <a:pt x="191" y="321"/>
                    <a:pt x="214" y="291"/>
                    <a:pt x="237" y="268"/>
                  </a:cubicBezTo>
                  <a:lnTo>
                    <a:pt x="237" y="268"/>
                  </a:lnTo>
                  <a:cubicBezTo>
                    <a:pt x="244" y="237"/>
                    <a:pt x="260" y="176"/>
                    <a:pt x="244" y="146"/>
                  </a:cubicBezTo>
                  <a:cubicBezTo>
                    <a:pt x="237" y="123"/>
                    <a:pt x="191" y="130"/>
                    <a:pt x="183" y="115"/>
                  </a:cubicBezTo>
                  <a:cubicBezTo>
                    <a:pt x="176" y="92"/>
                    <a:pt x="206" y="77"/>
                    <a:pt x="214" y="61"/>
                  </a:cubicBezTo>
                  <a:lnTo>
                    <a:pt x="214" y="61"/>
                  </a:lnTo>
                  <a:cubicBezTo>
                    <a:pt x="191" y="46"/>
                    <a:pt x="176" y="8"/>
                    <a:pt x="145" y="8"/>
                  </a:cubicBezTo>
                  <a:cubicBezTo>
                    <a:pt x="122" y="0"/>
                    <a:pt x="92" y="16"/>
                    <a:pt x="77" y="39"/>
                  </a:cubicBezTo>
                  <a:cubicBezTo>
                    <a:pt x="61" y="61"/>
                    <a:pt x="69" y="100"/>
                    <a:pt x="61" y="130"/>
                  </a:cubicBezTo>
                  <a:cubicBezTo>
                    <a:pt x="54" y="153"/>
                    <a:pt x="8" y="253"/>
                    <a:pt x="0" y="2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7" name="Freeform 159"/>
            <p:cNvSpPr>
              <a:spLocks noChangeArrowheads="1"/>
            </p:cNvSpPr>
            <p:nvPr/>
          </p:nvSpPr>
          <p:spPr bwMode="auto">
            <a:xfrm>
              <a:off x="5916228" y="9879013"/>
              <a:ext cx="85719" cy="127000"/>
            </a:xfrm>
            <a:custGeom>
              <a:avLst/>
              <a:gdLst>
                <a:gd name="T0" fmla="*/ 184 w 238"/>
                <a:gd name="T1" fmla="*/ 0 h 352"/>
                <a:gd name="T2" fmla="*/ 184 w 238"/>
                <a:gd name="T3" fmla="*/ 0 h 352"/>
                <a:gd name="T4" fmla="*/ 77 w 238"/>
                <a:gd name="T5" fmla="*/ 61 h 352"/>
                <a:gd name="T6" fmla="*/ 61 w 238"/>
                <a:gd name="T7" fmla="*/ 122 h 352"/>
                <a:gd name="T8" fmla="*/ 8 w 238"/>
                <a:gd name="T9" fmla="*/ 168 h 352"/>
                <a:gd name="T10" fmla="*/ 8 w 238"/>
                <a:gd name="T11" fmla="*/ 221 h 352"/>
                <a:gd name="T12" fmla="*/ 77 w 238"/>
                <a:gd name="T13" fmla="*/ 282 h 352"/>
                <a:gd name="T14" fmla="*/ 92 w 238"/>
                <a:gd name="T15" fmla="*/ 336 h 352"/>
                <a:gd name="T16" fmla="*/ 214 w 238"/>
                <a:gd name="T17" fmla="*/ 328 h 352"/>
                <a:gd name="T18" fmla="*/ 214 w 238"/>
                <a:gd name="T19" fmla="*/ 328 h 352"/>
                <a:gd name="T20" fmla="*/ 222 w 238"/>
                <a:gd name="T21" fmla="*/ 305 h 352"/>
                <a:gd name="T22" fmla="*/ 161 w 238"/>
                <a:gd name="T23" fmla="*/ 191 h 352"/>
                <a:gd name="T24" fmla="*/ 199 w 238"/>
                <a:gd name="T25" fmla="*/ 137 h 352"/>
                <a:gd name="T26" fmla="*/ 184 w 238"/>
                <a:gd name="T27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352">
                  <a:moveTo>
                    <a:pt x="184" y="0"/>
                  </a:moveTo>
                  <a:lnTo>
                    <a:pt x="184" y="0"/>
                  </a:lnTo>
                  <a:cubicBezTo>
                    <a:pt x="153" y="23"/>
                    <a:pt x="100" y="38"/>
                    <a:pt x="77" y="61"/>
                  </a:cubicBezTo>
                  <a:cubicBezTo>
                    <a:pt x="61" y="76"/>
                    <a:pt x="69" y="107"/>
                    <a:pt x="61" y="122"/>
                  </a:cubicBezTo>
                  <a:cubicBezTo>
                    <a:pt x="46" y="145"/>
                    <a:pt x="16" y="153"/>
                    <a:pt x="8" y="168"/>
                  </a:cubicBezTo>
                  <a:cubicBezTo>
                    <a:pt x="0" y="183"/>
                    <a:pt x="0" y="206"/>
                    <a:pt x="8" y="221"/>
                  </a:cubicBezTo>
                  <a:cubicBezTo>
                    <a:pt x="23" y="244"/>
                    <a:pt x="61" y="259"/>
                    <a:pt x="77" y="282"/>
                  </a:cubicBezTo>
                  <a:cubicBezTo>
                    <a:pt x="92" y="298"/>
                    <a:pt x="77" y="328"/>
                    <a:pt x="92" y="336"/>
                  </a:cubicBezTo>
                  <a:cubicBezTo>
                    <a:pt x="130" y="351"/>
                    <a:pt x="168" y="336"/>
                    <a:pt x="214" y="328"/>
                  </a:cubicBezTo>
                  <a:lnTo>
                    <a:pt x="214" y="328"/>
                  </a:lnTo>
                  <a:cubicBezTo>
                    <a:pt x="214" y="321"/>
                    <a:pt x="214" y="313"/>
                    <a:pt x="222" y="305"/>
                  </a:cubicBezTo>
                  <a:cubicBezTo>
                    <a:pt x="107" y="305"/>
                    <a:pt x="31" y="191"/>
                    <a:pt x="161" y="191"/>
                  </a:cubicBezTo>
                  <a:cubicBezTo>
                    <a:pt x="207" y="191"/>
                    <a:pt x="237" y="183"/>
                    <a:pt x="199" y="137"/>
                  </a:cubicBezTo>
                  <a:cubicBezTo>
                    <a:pt x="161" y="107"/>
                    <a:pt x="168" y="46"/>
                    <a:pt x="18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8" name="Freeform 160"/>
            <p:cNvSpPr>
              <a:spLocks noChangeArrowheads="1"/>
            </p:cNvSpPr>
            <p:nvPr/>
          </p:nvSpPr>
          <p:spPr bwMode="auto">
            <a:xfrm>
              <a:off x="5311429" y="9234489"/>
              <a:ext cx="1020697" cy="935037"/>
            </a:xfrm>
            <a:custGeom>
              <a:avLst/>
              <a:gdLst>
                <a:gd name="T0" fmla="*/ 15 w 2834"/>
                <a:gd name="T1" fmla="*/ 191 h 2598"/>
                <a:gd name="T2" fmla="*/ 7 w 2834"/>
                <a:gd name="T3" fmla="*/ 146 h 2598"/>
                <a:gd name="T4" fmla="*/ 23 w 2834"/>
                <a:gd name="T5" fmla="*/ 130 h 2598"/>
                <a:gd name="T6" fmla="*/ 38 w 2834"/>
                <a:gd name="T7" fmla="*/ 184 h 2598"/>
                <a:gd name="T8" fmla="*/ 15 w 2834"/>
                <a:gd name="T9" fmla="*/ 191 h 2598"/>
                <a:gd name="T10" fmla="*/ 886 w 2834"/>
                <a:gd name="T11" fmla="*/ 2208 h 2598"/>
                <a:gd name="T12" fmla="*/ 1283 w 2834"/>
                <a:gd name="T13" fmla="*/ 2452 h 2598"/>
                <a:gd name="T14" fmla="*/ 1528 w 2834"/>
                <a:gd name="T15" fmla="*/ 2597 h 2598"/>
                <a:gd name="T16" fmla="*/ 1635 w 2834"/>
                <a:gd name="T17" fmla="*/ 2552 h 2598"/>
                <a:gd name="T18" fmla="*/ 1833 w 2834"/>
                <a:gd name="T19" fmla="*/ 2254 h 2598"/>
                <a:gd name="T20" fmla="*/ 1894 w 2834"/>
                <a:gd name="T21" fmla="*/ 2116 h 2598"/>
                <a:gd name="T22" fmla="*/ 1772 w 2834"/>
                <a:gd name="T23" fmla="*/ 2124 h 2598"/>
                <a:gd name="T24" fmla="*/ 1688 w 2834"/>
                <a:gd name="T25" fmla="*/ 2009 h 2598"/>
                <a:gd name="T26" fmla="*/ 1741 w 2834"/>
                <a:gd name="T27" fmla="*/ 1910 h 2598"/>
                <a:gd name="T28" fmla="*/ 1864 w 2834"/>
                <a:gd name="T29" fmla="*/ 1788 h 2598"/>
                <a:gd name="T30" fmla="*/ 1955 w 2834"/>
                <a:gd name="T31" fmla="*/ 1612 h 2598"/>
                <a:gd name="T32" fmla="*/ 2351 w 2834"/>
                <a:gd name="T33" fmla="*/ 1413 h 2598"/>
                <a:gd name="T34" fmla="*/ 2603 w 2834"/>
                <a:gd name="T35" fmla="*/ 1368 h 2598"/>
                <a:gd name="T36" fmla="*/ 2741 w 2834"/>
                <a:gd name="T37" fmla="*/ 1314 h 2598"/>
                <a:gd name="T38" fmla="*/ 2764 w 2834"/>
                <a:gd name="T39" fmla="*/ 1184 h 2598"/>
                <a:gd name="T40" fmla="*/ 2833 w 2834"/>
                <a:gd name="T41" fmla="*/ 1093 h 2598"/>
                <a:gd name="T42" fmla="*/ 2733 w 2834"/>
                <a:gd name="T43" fmla="*/ 1032 h 2598"/>
                <a:gd name="T44" fmla="*/ 2603 w 2834"/>
                <a:gd name="T45" fmla="*/ 948 h 2598"/>
                <a:gd name="T46" fmla="*/ 2588 w 2834"/>
                <a:gd name="T47" fmla="*/ 818 h 2598"/>
                <a:gd name="T48" fmla="*/ 2428 w 2834"/>
                <a:gd name="T49" fmla="*/ 841 h 2598"/>
                <a:gd name="T50" fmla="*/ 2397 w 2834"/>
                <a:gd name="T51" fmla="*/ 703 h 2598"/>
                <a:gd name="T52" fmla="*/ 2154 w 2834"/>
                <a:gd name="T53" fmla="*/ 619 h 2598"/>
                <a:gd name="T54" fmla="*/ 2070 w 2834"/>
                <a:gd name="T55" fmla="*/ 520 h 2598"/>
                <a:gd name="T56" fmla="*/ 1955 w 2834"/>
                <a:gd name="T57" fmla="*/ 512 h 2598"/>
                <a:gd name="T58" fmla="*/ 1871 w 2834"/>
                <a:gd name="T59" fmla="*/ 489 h 2598"/>
                <a:gd name="T60" fmla="*/ 1711 w 2834"/>
                <a:gd name="T61" fmla="*/ 543 h 2598"/>
                <a:gd name="T62" fmla="*/ 1726 w 2834"/>
                <a:gd name="T63" fmla="*/ 428 h 2598"/>
                <a:gd name="T64" fmla="*/ 1558 w 2834"/>
                <a:gd name="T65" fmla="*/ 367 h 2598"/>
                <a:gd name="T66" fmla="*/ 1375 w 2834"/>
                <a:gd name="T67" fmla="*/ 123 h 2598"/>
                <a:gd name="T68" fmla="*/ 1543 w 2834"/>
                <a:gd name="T69" fmla="*/ 107 h 2598"/>
                <a:gd name="T70" fmla="*/ 1543 w 2834"/>
                <a:gd name="T71" fmla="*/ 69 h 2598"/>
                <a:gd name="T72" fmla="*/ 1405 w 2834"/>
                <a:gd name="T73" fmla="*/ 0 h 2598"/>
                <a:gd name="T74" fmla="*/ 1398 w 2834"/>
                <a:gd name="T75" fmla="*/ 8 h 2598"/>
                <a:gd name="T76" fmla="*/ 848 w 2834"/>
                <a:gd name="T77" fmla="*/ 107 h 2598"/>
                <a:gd name="T78" fmla="*/ 710 w 2834"/>
                <a:gd name="T79" fmla="*/ 237 h 2598"/>
                <a:gd name="T80" fmla="*/ 611 w 2834"/>
                <a:gd name="T81" fmla="*/ 604 h 2598"/>
                <a:gd name="T82" fmla="*/ 252 w 2834"/>
                <a:gd name="T83" fmla="*/ 558 h 2598"/>
                <a:gd name="T84" fmla="*/ 206 w 2834"/>
                <a:gd name="T85" fmla="*/ 749 h 2598"/>
                <a:gd name="T86" fmla="*/ 382 w 2834"/>
                <a:gd name="T87" fmla="*/ 749 h 2598"/>
                <a:gd name="T88" fmla="*/ 443 w 2834"/>
                <a:gd name="T89" fmla="*/ 894 h 2598"/>
                <a:gd name="T90" fmla="*/ 412 w 2834"/>
                <a:gd name="T91" fmla="*/ 1047 h 2598"/>
                <a:gd name="T92" fmla="*/ 328 w 2834"/>
                <a:gd name="T93" fmla="*/ 1093 h 2598"/>
                <a:gd name="T94" fmla="*/ 458 w 2834"/>
                <a:gd name="T95" fmla="*/ 1161 h 2598"/>
                <a:gd name="T96" fmla="*/ 527 w 2834"/>
                <a:gd name="T97" fmla="*/ 1291 h 2598"/>
                <a:gd name="T98" fmla="*/ 565 w 2834"/>
                <a:gd name="T99" fmla="*/ 1368 h 2598"/>
                <a:gd name="T100" fmla="*/ 619 w 2834"/>
                <a:gd name="T101" fmla="*/ 1482 h 2598"/>
                <a:gd name="T102" fmla="*/ 664 w 2834"/>
                <a:gd name="T103" fmla="*/ 1612 h 2598"/>
                <a:gd name="T104" fmla="*/ 672 w 2834"/>
                <a:gd name="T105" fmla="*/ 1711 h 2598"/>
                <a:gd name="T106" fmla="*/ 817 w 2834"/>
                <a:gd name="T107" fmla="*/ 1811 h 2598"/>
                <a:gd name="T108" fmla="*/ 726 w 2834"/>
                <a:gd name="T109" fmla="*/ 1918 h 2598"/>
                <a:gd name="T110" fmla="*/ 787 w 2834"/>
                <a:gd name="T111" fmla="*/ 1994 h 2598"/>
                <a:gd name="T112" fmla="*/ 848 w 2834"/>
                <a:gd name="T113" fmla="*/ 1979 h 2598"/>
                <a:gd name="T114" fmla="*/ 978 w 2834"/>
                <a:gd name="T115" fmla="*/ 2040 h 2598"/>
                <a:gd name="T116" fmla="*/ 1008 w 2834"/>
                <a:gd name="T117" fmla="*/ 2132 h 2598"/>
                <a:gd name="T118" fmla="*/ 947 w 2834"/>
                <a:gd name="T119" fmla="*/ 2200 h 2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4" h="2598">
                  <a:moveTo>
                    <a:pt x="15" y="191"/>
                  </a:moveTo>
                  <a:lnTo>
                    <a:pt x="15" y="191"/>
                  </a:lnTo>
                  <a:cubicBezTo>
                    <a:pt x="15" y="184"/>
                    <a:pt x="7" y="176"/>
                    <a:pt x="7" y="169"/>
                  </a:cubicBezTo>
                  <a:cubicBezTo>
                    <a:pt x="7" y="161"/>
                    <a:pt x="7" y="153"/>
                    <a:pt x="7" y="146"/>
                  </a:cubicBezTo>
                  <a:cubicBezTo>
                    <a:pt x="7" y="138"/>
                    <a:pt x="0" y="115"/>
                    <a:pt x="15" y="107"/>
                  </a:cubicBezTo>
                  <a:cubicBezTo>
                    <a:pt x="23" y="107"/>
                    <a:pt x="23" y="123"/>
                    <a:pt x="23" y="130"/>
                  </a:cubicBezTo>
                  <a:cubicBezTo>
                    <a:pt x="23" y="138"/>
                    <a:pt x="30" y="161"/>
                    <a:pt x="38" y="169"/>
                  </a:cubicBezTo>
                  <a:cubicBezTo>
                    <a:pt x="38" y="176"/>
                    <a:pt x="38" y="184"/>
                    <a:pt x="38" y="184"/>
                  </a:cubicBezTo>
                  <a:cubicBezTo>
                    <a:pt x="38" y="191"/>
                    <a:pt x="30" y="199"/>
                    <a:pt x="15" y="207"/>
                  </a:cubicBezTo>
                  <a:cubicBezTo>
                    <a:pt x="15" y="191"/>
                    <a:pt x="15" y="191"/>
                    <a:pt x="15" y="191"/>
                  </a:cubicBezTo>
                  <a:close/>
                  <a:moveTo>
                    <a:pt x="886" y="2208"/>
                  </a:moveTo>
                  <a:lnTo>
                    <a:pt x="886" y="2208"/>
                  </a:lnTo>
                  <a:cubicBezTo>
                    <a:pt x="886" y="2391"/>
                    <a:pt x="1031" y="2353"/>
                    <a:pt x="1168" y="2353"/>
                  </a:cubicBezTo>
                  <a:cubicBezTo>
                    <a:pt x="1214" y="2376"/>
                    <a:pt x="1276" y="2399"/>
                    <a:pt x="1283" y="2452"/>
                  </a:cubicBezTo>
                  <a:cubicBezTo>
                    <a:pt x="1283" y="2513"/>
                    <a:pt x="1329" y="2552"/>
                    <a:pt x="1382" y="2582"/>
                  </a:cubicBezTo>
                  <a:cubicBezTo>
                    <a:pt x="1405" y="2590"/>
                    <a:pt x="1497" y="2513"/>
                    <a:pt x="1528" y="2597"/>
                  </a:cubicBezTo>
                  <a:cubicBezTo>
                    <a:pt x="1543" y="2597"/>
                    <a:pt x="1550" y="2567"/>
                    <a:pt x="1573" y="2559"/>
                  </a:cubicBezTo>
                  <a:cubicBezTo>
                    <a:pt x="1589" y="2559"/>
                    <a:pt x="1612" y="2552"/>
                    <a:pt x="1635" y="2552"/>
                  </a:cubicBezTo>
                  <a:cubicBezTo>
                    <a:pt x="1635" y="2475"/>
                    <a:pt x="1619" y="2430"/>
                    <a:pt x="1673" y="2353"/>
                  </a:cubicBezTo>
                  <a:cubicBezTo>
                    <a:pt x="1718" y="2277"/>
                    <a:pt x="1741" y="2254"/>
                    <a:pt x="1833" y="2254"/>
                  </a:cubicBezTo>
                  <a:lnTo>
                    <a:pt x="1833" y="2254"/>
                  </a:lnTo>
                  <a:cubicBezTo>
                    <a:pt x="1833" y="2193"/>
                    <a:pt x="1871" y="2162"/>
                    <a:pt x="1894" y="2116"/>
                  </a:cubicBezTo>
                  <a:lnTo>
                    <a:pt x="1894" y="2116"/>
                  </a:lnTo>
                  <a:cubicBezTo>
                    <a:pt x="1848" y="2124"/>
                    <a:pt x="1810" y="2139"/>
                    <a:pt x="1772" y="2124"/>
                  </a:cubicBezTo>
                  <a:cubicBezTo>
                    <a:pt x="1757" y="2116"/>
                    <a:pt x="1772" y="2086"/>
                    <a:pt x="1757" y="2070"/>
                  </a:cubicBezTo>
                  <a:cubicBezTo>
                    <a:pt x="1741" y="2047"/>
                    <a:pt x="1703" y="2032"/>
                    <a:pt x="1688" y="2009"/>
                  </a:cubicBezTo>
                  <a:cubicBezTo>
                    <a:pt x="1680" y="1994"/>
                    <a:pt x="1680" y="1971"/>
                    <a:pt x="1688" y="1956"/>
                  </a:cubicBezTo>
                  <a:cubicBezTo>
                    <a:pt x="1696" y="1941"/>
                    <a:pt x="1726" y="1933"/>
                    <a:pt x="1741" y="1910"/>
                  </a:cubicBezTo>
                  <a:cubicBezTo>
                    <a:pt x="1749" y="1895"/>
                    <a:pt x="1741" y="1864"/>
                    <a:pt x="1757" y="1849"/>
                  </a:cubicBezTo>
                  <a:cubicBezTo>
                    <a:pt x="1780" y="1826"/>
                    <a:pt x="1833" y="1811"/>
                    <a:pt x="1864" y="1788"/>
                  </a:cubicBezTo>
                  <a:lnTo>
                    <a:pt x="1864" y="1788"/>
                  </a:lnTo>
                  <a:cubicBezTo>
                    <a:pt x="1864" y="1765"/>
                    <a:pt x="1940" y="1643"/>
                    <a:pt x="1955" y="1612"/>
                  </a:cubicBezTo>
                  <a:cubicBezTo>
                    <a:pt x="1986" y="1574"/>
                    <a:pt x="2108" y="1597"/>
                    <a:pt x="2169" y="1543"/>
                  </a:cubicBezTo>
                  <a:cubicBezTo>
                    <a:pt x="2230" y="1482"/>
                    <a:pt x="2261" y="1429"/>
                    <a:pt x="2351" y="1413"/>
                  </a:cubicBezTo>
                  <a:cubicBezTo>
                    <a:pt x="2397" y="1406"/>
                    <a:pt x="2474" y="1421"/>
                    <a:pt x="2497" y="1391"/>
                  </a:cubicBezTo>
                  <a:cubicBezTo>
                    <a:pt x="2527" y="1360"/>
                    <a:pt x="2565" y="1360"/>
                    <a:pt x="2603" y="1368"/>
                  </a:cubicBezTo>
                  <a:cubicBezTo>
                    <a:pt x="2657" y="1375"/>
                    <a:pt x="2695" y="1345"/>
                    <a:pt x="2741" y="1314"/>
                  </a:cubicBezTo>
                  <a:lnTo>
                    <a:pt x="2741" y="1314"/>
                  </a:lnTo>
                  <a:cubicBezTo>
                    <a:pt x="2741" y="1291"/>
                    <a:pt x="2741" y="1238"/>
                    <a:pt x="2749" y="1215"/>
                  </a:cubicBezTo>
                  <a:cubicBezTo>
                    <a:pt x="2749" y="1200"/>
                    <a:pt x="2764" y="1192"/>
                    <a:pt x="2764" y="1184"/>
                  </a:cubicBezTo>
                  <a:cubicBezTo>
                    <a:pt x="2756" y="1169"/>
                    <a:pt x="2726" y="1169"/>
                    <a:pt x="2733" y="1161"/>
                  </a:cubicBezTo>
                  <a:cubicBezTo>
                    <a:pt x="2756" y="1123"/>
                    <a:pt x="2833" y="1131"/>
                    <a:pt x="2833" y="1093"/>
                  </a:cubicBezTo>
                  <a:cubicBezTo>
                    <a:pt x="2833" y="1055"/>
                    <a:pt x="2772" y="1055"/>
                    <a:pt x="2733" y="1032"/>
                  </a:cubicBezTo>
                  <a:lnTo>
                    <a:pt x="2733" y="1032"/>
                  </a:lnTo>
                  <a:cubicBezTo>
                    <a:pt x="2718" y="1001"/>
                    <a:pt x="2718" y="963"/>
                    <a:pt x="2688" y="940"/>
                  </a:cubicBezTo>
                  <a:cubicBezTo>
                    <a:pt x="2665" y="925"/>
                    <a:pt x="2626" y="955"/>
                    <a:pt x="2603" y="948"/>
                  </a:cubicBezTo>
                  <a:cubicBezTo>
                    <a:pt x="2581" y="932"/>
                    <a:pt x="2573" y="902"/>
                    <a:pt x="2573" y="879"/>
                  </a:cubicBezTo>
                  <a:cubicBezTo>
                    <a:pt x="2565" y="856"/>
                    <a:pt x="2596" y="833"/>
                    <a:pt x="2588" y="818"/>
                  </a:cubicBezTo>
                  <a:cubicBezTo>
                    <a:pt x="2581" y="802"/>
                    <a:pt x="2558" y="810"/>
                    <a:pt x="2542" y="810"/>
                  </a:cubicBezTo>
                  <a:cubicBezTo>
                    <a:pt x="2504" y="818"/>
                    <a:pt x="2466" y="841"/>
                    <a:pt x="2428" y="841"/>
                  </a:cubicBezTo>
                  <a:cubicBezTo>
                    <a:pt x="2405" y="833"/>
                    <a:pt x="2382" y="818"/>
                    <a:pt x="2382" y="795"/>
                  </a:cubicBezTo>
                  <a:cubicBezTo>
                    <a:pt x="2374" y="764"/>
                    <a:pt x="2420" y="726"/>
                    <a:pt x="2397" y="703"/>
                  </a:cubicBezTo>
                  <a:cubicBezTo>
                    <a:pt x="2359" y="680"/>
                    <a:pt x="2307" y="726"/>
                    <a:pt x="2268" y="711"/>
                  </a:cubicBezTo>
                  <a:cubicBezTo>
                    <a:pt x="2223" y="696"/>
                    <a:pt x="2200" y="642"/>
                    <a:pt x="2154" y="619"/>
                  </a:cubicBezTo>
                  <a:cubicBezTo>
                    <a:pt x="2131" y="604"/>
                    <a:pt x="2093" y="642"/>
                    <a:pt x="2077" y="619"/>
                  </a:cubicBezTo>
                  <a:cubicBezTo>
                    <a:pt x="2054" y="596"/>
                    <a:pt x="2085" y="550"/>
                    <a:pt x="2070" y="520"/>
                  </a:cubicBezTo>
                  <a:cubicBezTo>
                    <a:pt x="2062" y="505"/>
                    <a:pt x="2039" y="497"/>
                    <a:pt x="2016" y="497"/>
                  </a:cubicBezTo>
                  <a:cubicBezTo>
                    <a:pt x="2001" y="497"/>
                    <a:pt x="1978" y="512"/>
                    <a:pt x="1955" y="512"/>
                  </a:cubicBezTo>
                  <a:cubicBezTo>
                    <a:pt x="1948" y="512"/>
                    <a:pt x="1940" y="489"/>
                    <a:pt x="1932" y="489"/>
                  </a:cubicBezTo>
                  <a:cubicBezTo>
                    <a:pt x="1910" y="482"/>
                    <a:pt x="1887" y="474"/>
                    <a:pt x="1871" y="489"/>
                  </a:cubicBezTo>
                  <a:cubicBezTo>
                    <a:pt x="1856" y="505"/>
                    <a:pt x="1856" y="550"/>
                    <a:pt x="1833" y="558"/>
                  </a:cubicBezTo>
                  <a:cubicBezTo>
                    <a:pt x="1795" y="573"/>
                    <a:pt x="1741" y="566"/>
                    <a:pt x="1711" y="543"/>
                  </a:cubicBezTo>
                  <a:cubicBezTo>
                    <a:pt x="1696" y="527"/>
                    <a:pt x="1726" y="505"/>
                    <a:pt x="1726" y="482"/>
                  </a:cubicBezTo>
                  <a:cubicBezTo>
                    <a:pt x="1734" y="466"/>
                    <a:pt x="1741" y="444"/>
                    <a:pt x="1726" y="428"/>
                  </a:cubicBezTo>
                  <a:cubicBezTo>
                    <a:pt x="1718" y="413"/>
                    <a:pt x="1696" y="428"/>
                    <a:pt x="1680" y="428"/>
                  </a:cubicBezTo>
                  <a:cubicBezTo>
                    <a:pt x="1635" y="413"/>
                    <a:pt x="1596" y="390"/>
                    <a:pt x="1558" y="367"/>
                  </a:cubicBezTo>
                  <a:cubicBezTo>
                    <a:pt x="1497" y="321"/>
                    <a:pt x="1428" y="283"/>
                    <a:pt x="1390" y="230"/>
                  </a:cubicBezTo>
                  <a:cubicBezTo>
                    <a:pt x="1367" y="199"/>
                    <a:pt x="1360" y="153"/>
                    <a:pt x="1375" y="123"/>
                  </a:cubicBezTo>
                  <a:cubicBezTo>
                    <a:pt x="1382" y="107"/>
                    <a:pt x="1413" y="115"/>
                    <a:pt x="1428" y="115"/>
                  </a:cubicBezTo>
                  <a:cubicBezTo>
                    <a:pt x="1466" y="107"/>
                    <a:pt x="1512" y="123"/>
                    <a:pt x="1543" y="107"/>
                  </a:cubicBezTo>
                  <a:cubicBezTo>
                    <a:pt x="1558" y="92"/>
                    <a:pt x="1543" y="92"/>
                    <a:pt x="1543" y="69"/>
                  </a:cubicBezTo>
                  <a:lnTo>
                    <a:pt x="1543" y="69"/>
                  </a:lnTo>
                  <a:cubicBezTo>
                    <a:pt x="1489" y="62"/>
                    <a:pt x="1436" y="46"/>
                    <a:pt x="1405" y="0"/>
                  </a:cubicBezTo>
                  <a:lnTo>
                    <a:pt x="1405" y="0"/>
                  </a:lnTo>
                  <a:cubicBezTo>
                    <a:pt x="1398" y="8"/>
                    <a:pt x="1398" y="8"/>
                    <a:pt x="1398" y="8"/>
                  </a:cubicBezTo>
                  <a:lnTo>
                    <a:pt x="1398" y="8"/>
                  </a:lnTo>
                  <a:cubicBezTo>
                    <a:pt x="1329" y="54"/>
                    <a:pt x="1191" y="46"/>
                    <a:pt x="1107" y="77"/>
                  </a:cubicBezTo>
                  <a:cubicBezTo>
                    <a:pt x="1031" y="100"/>
                    <a:pt x="924" y="100"/>
                    <a:pt x="848" y="107"/>
                  </a:cubicBezTo>
                  <a:cubicBezTo>
                    <a:pt x="810" y="115"/>
                    <a:pt x="741" y="115"/>
                    <a:pt x="749" y="153"/>
                  </a:cubicBezTo>
                  <a:cubicBezTo>
                    <a:pt x="764" y="191"/>
                    <a:pt x="733" y="214"/>
                    <a:pt x="710" y="237"/>
                  </a:cubicBezTo>
                  <a:cubicBezTo>
                    <a:pt x="687" y="268"/>
                    <a:pt x="710" y="367"/>
                    <a:pt x="703" y="413"/>
                  </a:cubicBezTo>
                  <a:cubicBezTo>
                    <a:pt x="687" y="489"/>
                    <a:pt x="649" y="543"/>
                    <a:pt x="611" y="604"/>
                  </a:cubicBezTo>
                  <a:cubicBezTo>
                    <a:pt x="542" y="642"/>
                    <a:pt x="474" y="673"/>
                    <a:pt x="420" y="589"/>
                  </a:cubicBezTo>
                  <a:cubicBezTo>
                    <a:pt x="405" y="558"/>
                    <a:pt x="290" y="558"/>
                    <a:pt x="252" y="558"/>
                  </a:cubicBezTo>
                  <a:cubicBezTo>
                    <a:pt x="252" y="627"/>
                    <a:pt x="229" y="688"/>
                    <a:pt x="206" y="749"/>
                  </a:cubicBezTo>
                  <a:lnTo>
                    <a:pt x="206" y="749"/>
                  </a:lnTo>
                  <a:cubicBezTo>
                    <a:pt x="237" y="749"/>
                    <a:pt x="252" y="749"/>
                    <a:pt x="282" y="749"/>
                  </a:cubicBezTo>
                  <a:cubicBezTo>
                    <a:pt x="313" y="749"/>
                    <a:pt x="351" y="734"/>
                    <a:pt x="382" y="749"/>
                  </a:cubicBezTo>
                  <a:cubicBezTo>
                    <a:pt x="397" y="757"/>
                    <a:pt x="389" y="780"/>
                    <a:pt x="397" y="795"/>
                  </a:cubicBezTo>
                  <a:cubicBezTo>
                    <a:pt x="412" y="833"/>
                    <a:pt x="435" y="863"/>
                    <a:pt x="443" y="894"/>
                  </a:cubicBezTo>
                  <a:cubicBezTo>
                    <a:pt x="451" y="902"/>
                    <a:pt x="435" y="909"/>
                    <a:pt x="428" y="917"/>
                  </a:cubicBezTo>
                  <a:cubicBezTo>
                    <a:pt x="420" y="955"/>
                    <a:pt x="428" y="1009"/>
                    <a:pt x="412" y="1047"/>
                  </a:cubicBezTo>
                  <a:cubicBezTo>
                    <a:pt x="397" y="1070"/>
                    <a:pt x="367" y="1062"/>
                    <a:pt x="344" y="1077"/>
                  </a:cubicBezTo>
                  <a:cubicBezTo>
                    <a:pt x="336" y="1077"/>
                    <a:pt x="328" y="1085"/>
                    <a:pt x="328" y="1093"/>
                  </a:cubicBezTo>
                  <a:cubicBezTo>
                    <a:pt x="336" y="1108"/>
                    <a:pt x="351" y="1100"/>
                    <a:pt x="359" y="1108"/>
                  </a:cubicBezTo>
                  <a:cubicBezTo>
                    <a:pt x="397" y="1123"/>
                    <a:pt x="420" y="1154"/>
                    <a:pt x="458" y="1161"/>
                  </a:cubicBezTo>
                  <a:cubicBezTo>
                    <a:pt x="474" y="1169"/>
                    <a:pt x="489" y="1116"/>
                    <a:pt x="496" y="1131"/>
                  </a:cubicBezTo>
                  <a:cubicBezTo>
                    <a:pt x="527" y="1177"/>
                    <a:pt x="519" y="1238"/>
                    <a:pt x="527" y="1291"/>
                  </a:cubicBezTo>
                  <a:cubicBezTo>
                    <a:pt x="535" y="1299"/>
                    <a:pt x="527" y="1314"/>
                    <a:pt x="535" y="1322"/>
                  </a:cubicBezTo>
                  <a:cubicBezTo>
                    <a:pt x="542" y="1337"/>
                    <a:pt x="557" y="1352"/>
                    <a:pt x="565" y="1368"/>
                  </a:cubicBezTo>
                  <a:cubicBezTo>
                    <a:pt x="580" y="1398"/>
                    <a:pt x="573" y="1436"/>
                    <a:pt x="588" y="1467"/>
                  </a:cubicBezTo>
                  <a:cubicBezTo>
                    <a:pt x="596" y="1482"/>
                    <a:pt x="619" y="1467"/>
                    <a:pt x="619" y="1482"/>
                  </a:cubicBezTo>
                  <a:cubicBezTo>
                    <a:pt x="626" y="1521"/>
                    <a:pt x="603" y="1566"/>
                    <a:pt x="619" y="1604"/>
                  </a:cubicBezTo>
                  <a:cubicBezTo>
                    <a:pt x="619" y="1627"/>
                    <a:pt x="657" y="1604"/>
                    <a:pt x="664" y="1612"/>
                  </a:cubicBezTo>
                  <a:cubicBezTo>
                    <a:pt x="680" y="1627"/>
                    <a:pt x="680" y="1643"/>
                    <a:pt x="680" y="1658"/>
                  </a:cubicBezTo>
                  <a:cubicBezTo>
                    <a:pt x="680" y="1681"/>
                    <a:pt x="664" y="1704"/>
                    <a:pt x="672" y="1711"/>
                  </a:cubicBezTo>
                  <a:cubicBezTo>
                    <a:pt x="695" y="1734"/>
                    <a:pt x="733" y="1719"/>
                    <a:pt x="756" y="1734"/>
                  </a:cubicBezTo>
                  <a:cubicBezTo>
                    <a:pt x="779" y="1750"/>
                    <a:pt x="817" y="1780"/>
                    <a:pt x="817" y="1811"/>
                  </a:cubicBezTo>
                  <a:cubicBezTo>
                    <a:pt x="810" y="1841"/>
                    <a:pt x="764" y="1834"/>
                    <a:pt x="749" y="1857"/>
                  </a:cubicBezTo>
                  <a:cubicBezTo>
                    <a:pt x="733" y="1872"/>
                    <a:pt x="718" y="1895"/>
                    <a:pt x="726" y="1918"/>
                  </a:cubicBezTo>
                  <a:cubicBezTo>
                    <a:pt x="733" y="1933"/>
                    <a:pt x="764" y="1918"/>
                    <a:pt x="771" y="1933"/>
                  </a:cubicBezTo>
                  <a:cubicBezTo>
                    <a:pt x="787" y="1948"/>
                    <a:pt x="779" y="1979"/>
                    <a:pt x="787" y="1994"/>
                  </a:cubicBezTo>
                  <a:lnTo>
                    <a:pt x="787" y="1994"/>
                  </a:lnTo>
                  <a:cubicBezTo>
                    <a:pt x="810" y="1994"/>
                    <a:pt x="825" y="1986"/>
                    <a:pt x="848" y="1979"/>
                  </a:cubicBezTo>
                  <a:cubicBezTo>
                    <a:pt x="871" y="1971"/>
                    <a:pt x="901" y="1956"/>
                    <a:pt x="924" y="1963"/>
                  </a:cubicBezTo>
                  <a:cubicBezTo>
                    <a:pt x="947" y="1979"/>
                    <a:pt x="955" y="2017"/>
                    <a:pt x="978" y="2040"/>
                  </a:cubicBezTo>
                  <a:cubicBezTo>
                    <a:pt x="1001" y="2055"/>
                    <a:pt x="1054" y="2047"/>
                    <a:pt x="1062" y="2078"/>
                  </a:cubicBezTo>
                  <a:cubicBezTo>
                    <a:pt x="1069" y="2101"/>
                    <a:pt x="1024" y="2109"/>
                    <a:pt x="1008" y="2132"/>
                  </a:cubicBezTo>
                  <a:cubicBezTo>
                    <a:pt x="1001" y="2139"/>
                    <a:pt x="1016" y="2155"/>
                    <a:pt x="1008" y="2170"/>
                  </a:cubicBezTo>
                  <a:cubicBezTo>
                    <a:pt x="993" y="2185"/>
                    <a:pt x="970" y="2193"/>
                    <a:pt x="947" y="2200"/>
                  </a:cubicBezTo>
                  <a:cubicBezTo>
                    <a:pt x="932" y="2208"/>
                    <a:pt x="909" y="2208"/>
                    <a:pt x="886" y="220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9" name="Freeform 161"/>
            <p:cNvSpPr>
              <a:spLocks noChangeArrowheads="1"/>
            </p:cNvSpPr>
            <p:nvPr/>
          </p:nvSpPr>
          <p:spPr bwMode="auto">
            <a:xfrm>
              <a:off x="5584462" y="9939339"/>
              <a:ext cx="112706" cy="90487"/>
            </a:xfrm>
            <a:custGeom>
              <a:avLst/>
              <a:gdLst>
                <a:gd name="T0" fmla="*/ 130 w 314"/>
                <a:gd name="T1" fmla="*/ 252 h 253"/>
                <a:gd name="T2" fmla="*/ 130 w 314"/>
                <a:gd name="T3" fmla="*/ 252 h 253"/>
                <a:gd name="T4" fmla="*/ 191 w 314"/>
                <a:gd name="T5" fmla="*/ 244 h 253"/>
                <a:gd name="T6" fmla="*/ 252 w 314"/>
                <a:gd name="T7" fmla="*/ 214 h 253"/>
                <a:gd name="T8" fmla="*/ 252 w 314"/>
                <a:gd name="T9" fmla="*/ 176 h 253"/>
                <a:gd name="T10" fmla="*/ 306 w 314"/>
                <a:gd name="T11" fmla="*/ 122 h 253"/>
                <a:gd name="T12" fmla="*/ 222 w 314"/>
                <a:gd name="T13" fmla="*/ 84 h 253"/>
                <a:gd name="T14" fmla="*/ 168 w 314"/>
                <a:gd name="T15" fmla="*/ 7 h 253"/>
                <a:gd name="T16" fmla="*/ 92 w 314"/>
                <a:gd name="T17" fmla="*/ 23 h 253"/>
                <a:gd name="T18" fmla="*/ 31 w 314"/>
                <a:gd name="T19" fmla="*/ 38 h 253"/>
                <a:gd name="T20" fmla="*/ 31 w 314"/>
                <a:gd name="T21" fmla="*/ 38 h 253"/>
                <a:gd name="T22" fmla="*/ 8 w 314"/>
                <a:gd name="T23" fmla="*/ 122 h 253"/>
                <a:gd name="T24" fmla="*/ 61 w 314"/>
                <a:gd name="T25" fmla="*/ 252 h 253"/>
                <a:gd name="T26" fmla="*/ 61 w 314"/>
                <a:gd name="T27" fmla="*/ 252 h 253"/>
                <a:gd name="T28" fmla="*/ 130 w 314"/>
                <a:gd name="T29" fmla="*/ 244 h 253"/>
                <a:gd name="T30" fmla="*/ 130 w 314"/>
                <a:gd name="T31" fmla="*/ 244 h 253"/>
                <a:gd name="T32" fmla="*/ 130 w 314"/>
                <a:gd name="T33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4" h="253">
                  <a:moveTo>
                    <a:pt x="130" y="252"/>
                  </a:moveTo>
                  <a:lnTo>
                    <a:pt x="130" y="252"/>
                  </a:lnTo>
                  <a:cubicBezTo>
                    <a:pt x="153" y="252"/>
                    <a:pt x="176" y="252"/>
                    <a:pt x="191" y="244"/>
                  </a:cubicBezTo>
                  <a:cubicBezTo>
                    <a:pt x="214" y="237"/>
                    <a:pt x="237" y="229"/>
                    <a:pt x="252" y="214"/>
                  </a:cubicBezTo>
                  <a:cubicBezTo>
                    <a:pt x="260" y="199"/>
                    <a:pt x="245" y="183"/>
                    <a:pt x="252" y="176"/>
                  </a:cubicBezTo>
                  <a:cubicBezTo>
                    <a:pt x="268" y="153"/>
                    <a:pt x="313" y="145"/>
                    <a:pt x="306" y="122"/>
                  </a:cubicBezTo>
                  <a:cubicBezTo>
                    <a:pt x="298" y="91"/>
                    <a:pt x="245" y="99"/>
                    <a:pt x="222" y="84"/>
                  </a:cubicBezTo>
                  <a:cubicBezTo>
                    <a:pt x="199" y="61"/>
                    <a:pt x="191" y="23"/>
                    <a:pt x="168" y="7"/>
                  </a:cubicBezTo>
                  <a:cubicBezTo>
                    <a:pt x="145" y="0"/>
                    <a:pt x="115" y="15"/>
                    <a:pt x="92" y="23"/>
                  </a:cubicBezTo>
                  <a:cubicBezTo>
                    <a:pt x="69" y="30"/>
                    <a:pt x="54" y="38"/>
                    <a:pt x="31" y="38"/>
                  </a:cubicBezTo>
                  <a:lnTo>
                    <a:pt x="31" y="38"/>
                  </a:lnTo>
                  <a:cubicBezTo>
                    <a:pt x="23" y="69"/>
                    <a:pt x="0" y="99"/>
                    <a:pt x="8" y="122"/>
                  </a:cubicBezTo>
                  <a:cubicBezTo>
                    <a:pt x="15" y="153"/>
                    <a:pt x="46" y="229"/>
                    <a:pt x="61" y="252"/>
                  </a:cubicBezTo>
                  <a:lnTo>
                    <a:pt x="61" y="252"/>
                  </a:lnTo>
                  <a:cubicBezTo>
                    <a:pt x="84" y="244"/>
                    <a:pt x="99" y="237"/>
                    <a:pt x="130" y="244"/>
                  </a:cubicBezTo>
                  <a:lnTo>
                    <a:pt x="130" y="244"/>
                  </a:lnTo>
                  <a:cubicBezTo>
                    <a:pt x="130" y="252"/>
                    <a:pt x="130" y="252"/>
                    <a:pt x="130" y="2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0" name="Freeform 162"/>
            <p:cNvSpPr>
              <a:spLocks noChangeArrowheads="1"/>
            </p:cNvSpPr>
            <p:nvPr/>
          </p:nvSpPr>
          <p:spPr bwMode="auto">
            <a:xfrm>
              <a:off x="4387564" y="9499600"/>
              <a:ext cx="1219121" cy="927100"/>
            </a:xfrm>
            <a:custGeom>
              <a:avLst/>
              <a:gdLst>
                <a:gd name="T0" fmla="*/ 8 w 3385"/>
                <a:gd name="T1" fmla="*/ 2551 h 2575"/>
                <a:gd name="T2" fmla="*/ 69 w 3385"/>
                <a:gd name="T3" fmla="*/ 2536 h 2575"/>
                <a:gd name="T4" fmla="*/ 0 w 3385"/>
                <a:gd name="T5" fmla="*/ 2566 h 2575"/>
                <a:gd name="T6" fmla="*/ 3384 w 3385"/>
                <a:gd name="T7" fmla="*/ 1474 h 2575"/>
                <a:gd name="T8" fmla="*/ 3331 w 3385"/>
                <a:gd name="T9" fmla="*/ 1344 h 2575"/>
                <a:gd name="T10" fmla="*/ 3354 w 3385"/>
                <a:gd name="T11" fmla="*/ 1260 h 2575"/>
                <a:gd name="T12" fmla="*/ 3293 w 3385"/>
                <a:gd name="T13" fmla="*/ 1184 h 2575"/>
                <a:gd name="T14" fmla="*/ 3384 w 3385"/>
                <a:gd name="T15" fmla="*/ 1077 h 2575"/>
                <a:gd name="T16" fmla="*/ 3239 w 3385"/>
                <a:gd name="T17" fmla="*/ 977 h 2575"/>
                <a:gd name="T18" fmla="*/ 3231 w 3385"/>
                <a:gd name="T19" fmla="*/ 878 h 2575"/>
                <a:gd name="T20" fmla="*/ 3186 w 3385"/>
                <a:gd name="T21" fmla="*/ 748 h 2575"/>
                <a:gd name="T22" fmla="*/ 3132 w 3385"/>
                <a:gd name="T23" fmla="*/ 634 h 2575"/>
                <a:gd name="T24" fmla="*/ 3094 w 3385"/>
                <a:gd name="T25" fmla="*/ 557 h 2575"/>
                <a:gd name="T26" fmla="*/ 3025 w 3385"/>
                <a:gd name="T27" fmla="*/ 427 h 2575"/>
                <a:gd name="T28" fmla="*/ 2895 w 3385"/>
                <a:gd name="T29" fmla="*/ 359 h 2575"/>
                <a:gd name="T30" fmla="*/ 2979 w 3385"/>
                <a:gd name="T31" fmla="*/ 313 h 2575"/>
                <a:gd name="T32" fmla="*/ 3010 w 3385"/>
                <a:gd name="T33" fmla="*/ 160 h 2575"/>
                <a:gd name="T34" fmla="*/ 2949 w 3385"/>
                <a:gd name="T35" fmla="*/ 15 h 2575"/>
                <a:gd name="T36" fmla="*/ 2773 w 3385"/>
                <a:gd name="T37" fmla="*/ 15 h 2575"/>
                <a:gd name="T38" fmla="*/ 2750 w 3385"/>
                <a:gd name="T39" fmla="*/ 114 h 2575"/>
                <a:gd name="T40" fmla="*/ 2674 w 3385"/>
                <a:gd name="T41" fmla="*/ 473 h 2575"/>
                <a:gd name="T42" fmla="*/ 2437 w 3385"/>
                <a:gd name="T43" fmla="*/ 710 h 2575"/>
                <a:gd name="T44" fmla="*/ 2185 w 3385"/>
                <a:gd name="T45" fmla="*/ 901 h 2575"/>
                <a:gd name="T46" fmla="*/ 2017 w 3385"/>
                <a:gd name="T47" fmla="*/ 1000 h 2575"/>
                <a:gd name="T48" fmla="*/ 1795 w 3385"/>
                <a:gd name="T49" fmla="*/ 1520 h 2575"/>
                <a:gd name="T50" fmla="*/ 1582 w 3385"/>
                <a:gd name="T51" fmla="*/ 1726 h 2575"/>
                <a:gd name="T52" fmla="*/ 1322 w 3385"/>
                <a:gd name="T53" fmla="*/ 1810 h 2575"/>
                <a:gd name="T54" fmla="*/ 1047 w 3385"/>
                <a:gd name="T55" fmla="*/ 1940 h 2575"/>
                <a:gd name="T56" fmla="*/ 940 w 3385"/>
                <a:gd name="T57" fmla="*/ 2184 h 2575"/>
                <a:gd name="T58" fmla="*/ 1207 w 3385"/>
                <a:gd name="T59" fmla="*/ 2184 h 2575"/>
                <a:gd name="T60" fmla="*/ 1375 w 3385"/>
                <a:gd name="T61" fmla="*/ 2077 h 2575"/>
                <a:gd name="T62" fmla="*/ 1757 w 3385"/>
                <a:gd name="T63" fmla="*/ 2452 h 2575"/>
                <a:gd name="T64" fmla="*/ 1925 w 3385"/>
                <a:gd name="T65" fmla="*/ 2337 h 2575"/>
                <a:gd name="T66" fmla="*/ 1918 w 3385"/>
                <a:gd name="T67" fmla="*/ 2123 h 2575"/>
                <a:gd name="T68" fmla="*/ 1986 w 3385"/>
                <a:gd name="T69" fmla="*/ 1963 h 2575"/>
                <a:gd name="T70" fmla="*/ 2047 w 3385"/>
                <a:gd name="T71" fmla="*/ 2016 h 2575"/>
                <a:gd name="T72" fmla="*/ 2139 w 3385"/>
                <a:gd name="T73" fmla="*/ 1856 h 2575"/>
                <a:gd name="T74" fmla="*/ 2292 w 3385"/>
                <a:gd name="T75" fmla="*/ 1787 h 2575"/>
                <a:gd name="T76" fmla="*/ 2422 w 3385"/>
                <a:gd name="T77" fmla="*/ 1741 h 2575"/>
                <a:gd name="T78" fmla="*/ 2452 w 3385"/>
                <a:gd name="T79" fmla="*/ 1619 h 2575"/>
                <a:gd name="T80" fmla="*/ 2567 w 3385"/>
                <a:gd name="T81" fmla="*/ 1573 h 2575"/>
                <a:gd name="T82" fmla="*/ 3041 w 3385"/>
                <a:gd name="T83" fmla="*/ 1474 h 2575"/>
                <a:gd name="T84" fmla="*/ 3277 w 3385"/>
                <a:gd name="T85" fmla="*/ 1543 h 2575"/>
                <a:gd name="T86" fmla="*/ 3300 w 3385"/>
                <a:gd name="T87" fmla="*/ 1565 h 2575"/>
                <a:gd name="T88" fmla="*/ 3384 w 3385"/>
                <a:gd name="T89" fmla="*/ 1474 h 2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85" h="2575">
                  <a:moveTo>
                    <a:pt x="8" y="2551"/>
                  </a:moveTo>
                  <a:lnTo>
                    <a:pt x="8" y="2551"/>
                  </a:lnTo>
                  <a:cubicBezTo>
                    <a:pt x="23" y="2551"/>
                    <a:pt x="23" y="2513"/>
                    <a:pt x="23" y="2505"/>
                  </a:cubicBezTo>
                  <a:cubicBezTo>
                    <a:pt x="31" y="2497"/>
                    <a:pt x="92" y="2513"/>
                    <a:pt x="69" y="2536"/>
                  </a:cubicBezTo>
                  <a:cubicBezTo>
                    <a:pt x="62" y="2543"/>
                    <a:pt x="54" y="2551"/>
                    <a:pt x="46" y="2566"/>
                  </a:cubicBezTo>
                  <a:cubicBezTo>
                    <a:pt x="39" y="2574"/>
                    <a:pt x="8" y="2566"/>
                    <a:pt x="0" y="2566"/>
                  </a:cubicBezTo>
                  <a:cubicBezTo>
                    <a:pt x="8" y="2551"/>
                    <a:pt x="8" y="2551"/>
                    <a:pt x="8" y="2551"/>
                  </a:cubicBezTo>
                  <a:close/>
                  <a:moveTo>
                    <a:pt x="3384" y="1474"/>
                  </a:moveTo>
                  <a:lnTo>
                    <a:pt x="3384" y="1474"/>
                  </a:lnTo>
                  <a:cubicBezTo>
                    <a:pt x="3369" y="1451"/>
                    <a:pt x="3338" y="1375"/>
                    <a:pt x="3331" y="1344"/>
                  </a:cubicBezTo>
                  <a:cubicBezTo>
                    <a:pt x="3323" y="1321"/>
                    <a:pt x="3346" y="1291"/>
                    <a:pt x="3354" y="1260"/>
                  </a:cubicBezTo>
                  <a:lnTo>
                    <a:pt x="3354" y="1260"/>
                  </a:lnTo>
                  <a:cubicBezTo>
                    <a:pt x="3346" y="1245"/>
                    <a:pt x="3354" y="1214"/>
                    <a:pt x="3338" y="1199"/>
                  </a:cubicBezTo>
                  <a:cubicBezTo>
                    <a:pt x="3331" y="1184"/>
                    <a:pt x="3300" y="1199"/>
                    <a:pt x="3293" y="1184"/>
                  </a:cubicBezTo>
                  <a:cubicBezTo>
                    <a:pt x="3285" y="1161"/>
                    <a:pt x="3300" y="1138"/>
                    <a:pt x="3316" y="1123"/>
                  </a:cubicBezTo>
                  <a:cubicBezTo>
                    <a:pt x="3331" y="1100"/>
                    <a:pt x="3377" y="1107"/>
                    <a:pt x="3384" y="1077"/>
                  </a:cubicBezTo>
                  <a:cubicBezTo>
                    <a:pt x="3384" y="1046"/>
                    <a:pt x="3346" y="1016"/>
                    <a:pt x="3323" y="1000"/>
                  </a:cubicBezTo>
                  <a:cubicBezTo>
                    <a:pt x="3300" y="985"/>
                    <a:pt x="3262" y="1000"/>
                    <a:pt x="3239" y="977"/>
                  </a:cubicBezTo>
                  <a:cubicBezTo>
                    <a:pt x="3231" y="970"/>
                    <a:pt x="3247" y="947"/>
                    <a:pt x="3247" y="924"/>
                  </a:cubicBezTo>
                  <a:cubicBezTo>
                    <a:pt x="3247" y="909"/>
                    <a:pt x="3247" y="893"/>
                    <a:pt x="3231" y="878"/>
                  </a:cubicBezTo>
                  <a:cubicBezTo>
                    <a:pt x="3224" y="870"/>
                    <a:pt x="3186" y="893"/>
                    <a:pt x="3186" y="870"/>
                  </a:cubicBezTo>
                  <a:cubicBezTo>
                    <a:pt x="3170" y="832"/>
                    <a:pt x="3193" y="787"/>
                    <a:pt x="3186" y="748"/>
                  </a:cubicBezTo>
                  <a:cubicBezTo>
                    <a:pt x="3186" y="733"/>
                    <a:pt x="3163" y="748"/>
                    <a:pt x="3155" y="733"/>
                  </a:cubicBezTo>
                  <a:cubicBezTo>
                    <a:pt x="3140" y="702"/>
                    <a:pt x="3147" y="664"/>
                    <a:pt x="3132" y="634"/>
                  </a:cubicBezTo>
                  <a:cubicBezTo>
                    <a:pt x="3124" y="618"/>
                    <a:pt x="3109" y="603"/>
                    <a:pt x="3102" y="588"/>
                  </a:cubicBezTo>
                  <a:cubicBezTo>
                    <a:pt x="3094" y="580"/>
                    <a:pt x="3102" y="565"/>
                    <a:pt x="3094" y="557"/>
                  </a:cubicBezTo>
                  <a:cubicBezTo>
                    <a:pt x="3086" y="504"/>
                    <a:pt x="3094" y="443"/>
                    <a:pt x="3063" y="397"/>
                  </a:cubicBezTo>
                  <a:cubicBezTo>
                    <a:pt x="3056" y="382"/>
                    <a:pt x="3041" y="435"/>
                    <a:pt x="3025" y="427"/>
                  </a:cubicBezTo>
                  <a:cubicBezTo>
                    <a:pt x="2987" y="420"/>
                    <a:pt x="2964" y="389"/>
                    <a:pt x="2926" y="374"/>
                  </a:cubicBezTo>
                  <a:cubicBezTo>
                    <a:pt x="2918" y="366"/>
                    <a:pt x="2903" y="374"/>
                    <a:pt x="2895" y="359"/>
                  </a:cubicBezTo>
                  <a:cubicBezTo>
                    <a:pt x="2895" y="351"/>
                    <a:pt x="2903" y="343"/>
                    <a:pt x="2911" y="343"/>
                  </a:cubicBezTo>
                  <a:cubicBezTo>
                    <a:pt x="2934" y="328"/>
                    <a:pt x="2964" y="336"/>
                    <a:pt x="2979" y="313"/>
                  </a:cubicBezTo>
                  <a:cubicBezTo>
                    <a:pt x="2995" y="275"/>
                    <a:pt x="2987" y="221"/>
                    <a:pt x="2995" y="183"/>
                  </a:cubicBezTo>
                  <a:cubicBezTo>
                    <a:pt x="3002" y="175"/>
                    <a:pt x="3018" y="168"/>
                    <a:pt x="3010" y="160"/>
                  </a:cubicBezTo>
                  <a:cubicBezTo>
                    <a:pt x="3002" y="129"/>
                    <a:pt x="2979" y="99"/>
                    <a:pt x="2964" y="61"/>
                  </a:cubicBezTo>
                  <a:cubicBezTo>
                    <a:pt x="2956" y="46"/>
                    <a:pt x="2964" y="23"/>
                    <a:pt x="2949" y="15"/>
                  </a:cubicBezTo>
                  <a:cubicBezTo>
                    <a:pt x="2918" y="0"/>
                    <a:pt x="2880" y="15"/>
                    <a:pt x="2849" y="15"/>
                  </a:cubicBezTo>
                  <a:cubicBezTo>
                    <a:pt x="2819" y="15"/>
                    <a:pt x="2804" y="15"/>
                    <a:pt x="2773" y="15"/>
                  </a:cubicBezTo>
                  <a:lnTo>
                    <a:pt x="2773" y="15"/>
                  </a:lnTo>
                  <a:cubicBezTo>
                    <a:pt x="2766" y="46"/>
                    <a:pt x="2750" y="76"/>
                    <a:pt x="2750" y="114"/>
                  </a:cubicBezTo>
                  <a:cubicBezTo>
                    <a:pt x="2743" y="198"/>
                    <a:pt x="2781" y="282"/>
                    <a:pt x="2773" y="374"/>
                  </a:cubicBezTo>
                  <a:cubicBezTo>
                    <a:pt x="2766" y="458"/>
                    <a:pt x="2720" y="435"/>
                    <a:pt x="2674" y="473"/>
                  </a:cubicBezTo>
                  <a:cubicBezTo>
                    <a:pt x="2605" y="535"/>
                    <a:pt x="2628" y="611"/>
                    <a:pt x="2529" y="664"/>
                  </a:cubicBezTo>
                  <a:cubicBezTo>
                    <a:pt x="2498" y="679"/>
                    <a:pt x="2422" y="672"/>
                    <a:pt x="2437" y="710"/>
                  </a:cubicBezTo>
                  <a:cubicBezTo>
                    <a:pt x="2452" y="748"/>
                    <a:pt x="2437" y="809"/>
                    <a:pt x="2407" y="840"/>
                  </a:cubicBezTo>
                  <a:cubicBezTo>
                    <a:pt x="2345" y="909"/>
                    <a:pt x="2269" y="901"/>
                    <a:pt x="2185" y="901"/>
                  </a:cubicBezTo>
                  <a:cubicBezTo>
                    <a:pt x="2185" y="954"/>
                    <a:pt x="2193" y="962"/>
                    <a:pt x="2139" y="962"/>
                  </a:cubicBezTo>
                  <a:cubicBezTo>
                    <a:pt x="2124" y="1016"/>
                    <a:pt x="2063" y="1000"/>
                    <a:pt x="2017" y="1000"/>
                  </a:cubicBezTo>
                  <a:cubicBezTo>
                    <a:pt x="2002" y="1084"/>
                    <a:pt x="2032" y="1336"/>
                    <a:pt x="1902" y="1329"/>
                  </a:cubicBezTo>
                  <a:cubicBezTo>
                    <a:pt x="1803" y="1321"/>
                    <a:pt x="1834" y="1459"/>
                    <a:pt x="1795" y="1520"/>
                  </a:cubicBezTo>
                  <a:cubicBezTo>
                    <a:pt x="1757" y="1588"/>
                    <a:pt x="1719" y="1543"/>
                    <a:pt x="1688" y="1619"/>
                  </a:cubicBezTo>
                  <a:cubicBezTo>
                    <a:pt x="1666" y="1665"/>
                    <a:pt x="1612" y="1696"/>
                    <a:pt x="1582" y="1726"/>
                  </a:cubicBezTo>
                  <a:cubicBezTo>
                    <a:pt x="1513" y="1795"/>
                    <a:pt x="1505" y="1741"/>
                    <a:pt x="1436" y="1795"/>
                  </a:cubicBezTo>
                  <a:cubicBezTo>
                    <a:pt x="1391" y="1840"/>
                    <a:pt x="1360" y="1917"/>
                    <a:pt x="1322" y="1810"/>
                  </a:cubicBezTo>
                  <a:cubicBezTo>
                    <a:pt x="1299" y="1810"/>
                    <a:pt x="1284" y="1802"/>
                    <a:pt x="1253" y="1818"/>
                  </a:cubicBezTo>
                  <a:cubicBezTo>
                    <a:pt x="1177" y="1848"/>
                    <a:pt x="1123" y="1925"/>
                    <a:pt x="1047" y="1940"/>
                  </a:cubicBezTo>
                  <a:cubicBezTo>
                    <a:pt x="1009" y="1948"/>
                    <a:pt x="940" y="2001"/>
                    <a:pt x="963" y="2054"/>
                  </a:cubicBezTo>
                  <a:cubicBezTo>
                    <a:pt x="978" y="2100"/>
                    <a:pt x="932" y="2177"/>
                    <a:pt x="940" y="2184"/>
                  </a:cubicBezTo>
                  <a:cubicBezTo>
                    <a:pt x="986" y="2215"/>
                    <a:pt x="986" y="2268"/>
                    <a:pt x="1047" y="2238"/>
                  </a:cubicBezTo>
                  <a:cubicBezTo>
                    <a:pt x="1093" y="2215"/>
                    <a:pt x="1154" y="2192"/>
                    <a:pt x="1207" y="2184"/>
                  </a:cubicBezTo>
                  <a:cubicBezTo>
                    <a:pt x="1238" y="2177"/>
                    <a:pt x="1207" y="2131"/>
                    <a:pt x="1230" y="2100"/>
                  </a:cubicBezTo>
                  <a:cubicBezTo>
                    <a:pt x="1261" y="2047"/>
                    <a:pt x="1337" y="2032"/>
                    <a:pt x="1375" y="2077"/>
                  </a:cubicBezTo>
                  <a:cubicBezTo>
                    <a:pt x="1444" y="2161"/>
                    <a:pt x="1582" y="2131"/>
                    <a:pt x="1635" y="2245"/>
                  </a:cubicBezTo>
                  <a:cubicBezTo>
                    <a:pt x="1673" y="2314"/>
                    <a:pt x="1650" y="2429"/>
                    <a:pt x="1757" y="2452"/>
                  </a:cubicBezTo>
                  <a:cubicBezTo>
                    <a:pt x="1765" y="2398"/>
                    <a:pt x="1795" y="2390"/>
                    <a:pt x="1834" y="2360"/>
                  </a:cubicBezTo>
                  <a:cubicBezTo>
                    <a:pt x="1864" y="2337"/>
                    <a:pt x="1925" y="2345"/>
                    <a:pt x="1925" y="2337"/>
                  </a:cubicBezTo>
                  <a:cubicBezTo>
                    <a:pt x="1941" y="2299"/>
                    <a:pt x="1979" y="2253"/>
                    <a:pt x="1979" y="2215"/>
                  </a:cubicBezTo>
                  <a:cubicBezTo>
                    <a:pt x="1979" y="2184"/>
                    <a:pt x="1933" y="2146"/>
                    <a:pt x="1918" y="2123"/>
                  </a:cubicBezTo>
                  <a:cubicBezTo>
                    <a:pt x="1902" y="2100"/>
                    <a:pt x="1948" y="2093"/>
                    <a:pt x="1948" y="2062"/>
                  </a:cubicBezTo>
                  <a:cubicBezTo>
                    <a:pt x="1956" y="2016"/>
                    <a:pt x="1979" y="1993"/>
                    <a:pt x="1986" y="1963"/>
                  </a:cubicBezTo>
                  <a:cubicBezTo>
                    <a:pt x="1994" y="1925"/>
                    <a:pt x="1994" y="1886"/>
                    <a:pt x="2002" y="1848"/>
                  </a:cubicBezTo>
                  <a:cubicBezTo>
                    <a:pt x="2047" y="1856"/>
                    <a:pt x="2025" y="1993"/>
                    <a:pt x="2047" y="2016"/>
                  </a:cubicBezTo>
                  <a:cubicBezTo>
                    <a:pt x="2063" y="1993"/>
                    <a:pt x="2078" y="1993"/>
                    <a:pt x="2093" y="1986"/>
                  </a:cubicBezTo>
                  <a:cubicBezTo>
                    <a:pt x="2124" y="1955"/>
                    <a:pt x="2101" y="1879"/>
                    <a:pt x="2139" y="1856"/>
                  </a:cubicBezTo>
                  <a:cubicBezTo>
                    <a:pt x="2170" y="1833"/>
                    <a:pt x="2177" y="1871"/>
                    <a:pt x="2200" y="1871"/>
                  </a:cubicBezTo>
                  <a:cubicBezTo>
                    <a:pt x="2208" y="1871"/>
                    <a:pt x="2269" y="1795"/>
                    <a:pt x="2292" y="1787"/>
                  </a:cubicBezTo>
                  <a:cubicBezTo>
                    <a:pt x="2353" y="1764"/>
                    <a:pt x="2361" y="1810"/>
                    <a:pt x="2391" y="1818"/>
                  </a:cubicBezTo>
                  <a:cubicBezTo>
                    <a:pt x="2391" y="1795"/>
                    <a:pt x="2422" y="1772"/>
                    <a:pt x="2422" y="1741"/>
                  </a:cubicBezTo>
                  <a:cubicBezTo>
                    <a:pt x="2422" y="1703"/>
                    <a:pt x="2422" y="1673"/>
                    <a:pt x="2422" y="1634"/>
                  </a:cubicBezTo>
                  <a:cubicBezTo>
                    <a:pt x="2437" y="1627"/>
                    <a:pt x="2445" y="1619"/>
                    <a:pt x="2452" y="1619"/>
                  </a:cubicBezTo>
                  <a:cubicBezTo>
                    <a:pt x="2460" y="1611"/>
                    <a:pt x="2460" y="1596"/>
                    <a:pt x="2452" y="1588"/>
                  </a:cubicBezTo>
                  <a:cubicBezTo>
                    <a:pt x="2437" y="1520"/>
                    <a:pt x="2567" y="1466"/>
                    <a:pt x="2567" y="1573"/>
                  </a:cubicBezTo>
                  <a:cubicBezTo>
                    <a:pt x="2597" y="1588"/>
                    <a:pt x="2697" y="1527"/>
                    <a:pt x="2758" y="1543"/>
                  </a:cubicBezTo>
                  <a:cubicBezTo>
                    <a:pt x="2865" y="1565"/>
                    <a:pt x="2941" y="1497"/>
                    <a:pt x="3041" y="1474"/>
                  </a:cubicBezTo>
                  <a:cubicBezTo>
                    <a:pt x="3086" y="1466"/>
                    <a:pt x="3140" y="1474"/>
                    <a:pt x="3186" y="1482"/>
                  </a:cubicBezTo>
                  <a:cubicBezTo>
                    <a:pt x="3216" y="1489"/>
                    <a:pt x="3262" y="1543"/>
                    <a:pt x="3277" y="1543"/>
                  </a:cubicBezTo>
                  <a:cubicBezTo>
                    <a:pt x="3277" y="1550"/>
                    <a:pt x="3293" y="1558"/>
                    <a:pt x="3293" y="1565"/>
                  </a:cubicBezTo>
                  <a:cubicBezTo>
                    <a:pt x="3293" y="1565"/>
                    <a:pt x="3293" y="1565"/>
                    <a:pt x="3300" y="1565"/>
                  </a:cubicBezTo>
                  <a:cubicBezTo>
                    <a:pt x="3300" y="1573"/>
                    <a:pt x="3323" y="1573"/>
                    <a:pt x="3331" y="1573"/>
                  </a:cubicBezTo>
                  <a:cubicBezTo>
                    <a:pt x="3338" y="1535"/>
                    <a:pt x="3354" y="1489"/>
                    <a:pt x="3384" y="147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1" name="Freeform 163"/>
            <p:cNvSpPr>
              <a:spLocks noChangeArrowheads="1"/>
            </p:cNvSpPr>
            <p:nvPr/>
          </p:nvSpPr>
          <p:spPr bwMode="auto">
            <a:xfrm>
              <a:off x="4192315" y="6399214"/>
              <a:ext cx="446058" cy="236537"/>
            </a:xfrm>
            <a:custGeom>
              <a:avLst/>
              <a:gdLst>
                <a:gd name="T0" fmla="*/ 31 w 1239"/>
                <a:gd name="T1" fmla="*/ 260 h 658"/>
                <a:gd name="T2" fmla="*/ 31 w 1239"/>
                <a:gd name="T3" fmla="*/ 260 h 658"/>
                <a:gd name="T4" fmla="*/ 115 w 1239"/>
                <a:gd name="T5" fmla="*/ 168 h 658"/>
                <a:gd name="T6" fmla="*/ 153 w 1239"/>
                <a:gd name="T7" fmla="*/ 161 h 658"/>
                <a:gd name="T8" fmla="*/ 237 w 1239"/>
                <a:gd name="T9" fmla="*/ 107 h 658"/>
                <a:gd name="T10" fmla="*/ 267 w 1239"/>
                <a:gd name="T11" fmla="*/ 122 h 658"/>
                <a:gd name="T12" fmla="*/ 329 w 1239"/>
                <a:gd name="T13" fmla="*/ 69 h 658"/>
                <a:gd name="T14" fmla="*/ 352 w 1239"/>
                <a:gd name="T15" fmla="*/ 61 h 658"/>
                <a:gd name="T16" fmla="*/ 375 w 1239"/>
                <a:gd name="T17" fmla="*/ 23 h 658"/>
                <a:gd name="T18" fmla="*/ 443 w 1239"/>
                <a:gd name="T19" fmla="*/ 0 h 658"/>
                <a:gd name="T20" fmla="*/ 474 w 1239"/>
                <a:gd name="T21" fmla="*/ 31 h 658"/>
                <a:gd name="T22" fmla="*/ 504 w 1239"/>
                <a:gd name="T23" fmla="*/ 0 h 658"/>
                <a:gd name="T24" fmla="*/ 504 w 1239"/>
                <a:gd name="T25" fmla="*/ 0 h 658"/>
                <a:gd name="T26" fmla="*/ 611 w 1239"/>
                <a:gd name="T27" fmla="*/ 31 h 658"/>
                <a:gd name="T28" fmla="*/ 627 w 1239"/>
                <a:gd name="T29" fmla="*/ 16 h 658"/>
                <a:gd name="T30" fmla="*/ 703 w 1239"/>
                <a:gd name="T31" fmla="*/ 46 h 658"/>
                <a:gd name="T32" fmla="*/ 733 w 1239"/>
                <a:gd name="T33" fmla="*/ 46 h 658"/>
                <a:gd name="T34" fmla="*/ 779 w 1239"/>
                <a:gd name="T35" fmla="*/ 77 h 658"/>
                <a:gd name="T36" fmla="*/ 817 w 1239"/>
                <a:gd name="T37" fmla="*/ 138 h 658"/>
                <a:gd name="T38" fmla="*/ 871 w 1239"/>
                <a:gd name="T39" fmla="*/ 84 h 658"/>
                <a:gd name="T40" fmla="*/ 947 w 1239"/>
                <a:gd name="T41" fmla="*/ 54 h 658"/>
                <a:gd name="T42" fmla="*/ 993 w 1239"/>
                <a:gd name="T43" fmla="*/ 77 h 658"/>
                <a:gd name="T44" fmla="*/ 993 w 1239"/>
                <a:gd name="T45" fmla="*/ 77 h 658"/>
                <a:gd name="T46" fmla="*/ 963 w 1239"/>
                <a:gd name="T47" fmla="*/ 107 h 658"/>
                <a:gd name="T48" fmla="*/ 970 w 1239"/>
                <a:gd name="T49" fmla="*/ 122 h 658"/>
                <a:gd name="T50" fmla="*/ 1031 w 1239"/>
                <a:gd name="T51" fmla="*/ 283 h 658"/>
                <a:gd name="T52" fmla="*/ 1069 w 1239"/>
                <a:gd name="T53" fmla="*/ 237 h 658"/>
                <a:gd name="T54" fmla="*/ 1100 w 1239"/>
                <a:gd name="T55" fmla="*/ 237 h 658"/>
                <a:gd name="T56" fmla="*/ 1131 w 1239"/>
                <a:gd name="T57" fmla="*/ 222 h 658"/>
                <a:gd name="T58" fmla="*/ 1230 w 1239"/>
                <a:gd name="T59" fmla="*/ 252 h 658"/>
                <a:gd name="T60" fmla="*/ 1230 w 1239"/>
                <a:gd name="T61" fmla="*/ 252 h 658"/>
                <a:gd name="T62" fmla="*/ 1207 w 1239"/>
                <a:gd name="T63" fmla="*/ 443 h 658"/>
                <a:gd name="T64" fmla="*/ 1024 w 1239"/>
                <a:gd name="T65" fmla="*/ 596 h 658"/>
                <a:gd name="T66" fmla="*/ 932 w 1239"/>
                <a:gd name="T67" fmla="*/ 650 h 658"/>
                <a:gd name="T68" fmla="*/ 856 w 1239"/>
                <a:gd name="T69" fmla="*/ 566 h 658"/>
                <a:gd name="T70" fmla="*/ 779 w 1239"/>
                <a:gd name="T71" fmla="*/ 550 h 658"/>
                <a:gd name="T72" fmla="*/ 733 w 1239"/>
                <a:gd name="T73" fmla="*/ 474 h 658"/>
                <a:gd name="T74" fmla="*/ 627 w 1239"/>
                <a:gd name="T75" fmla="*/ 451 h 658"/>
                <a:gd name="T76" fmla="*/ 627 w 1239"/>
                <a:gd name="T77" fmla="*/ 451 h 658"/>
                <a:gd name="T78" fmla="*/ 527 w 1239"/>
                <a:gd name="T79" fmla="*/ 451 h 658"/>
                <a:gd name="T80" fmla="*/ 466 w 1239"/>
                <a:gd name="T81" fmla="*/ 497 h 658"/>
                <a:gd name="T82" fmla="*/ 290 w 1239"/>
                <a:gd name="T83" fmla="*/ 543 h 658"/>
                <a:gd name="T84" fmla="*/ 138 w 1239"/>
                <a:gd name="T85" fmla="*/ 589 h 658"/>
                <a:gd name="T86" fmla="*/ 61 w 1239"/>
                <a:gd name="T87" fmla="*/ 611 h 658"/>
                <a:gd name="T88" fmla="*/ 0 w 1239"/>
                <a:gd name="T89" fmla="*/ 527 h 658"/>
                <a:gd name="T90" fmla="*/ 23 w 1239"/>
                <a:gd name="T91" fmla="*/ 443 h 658"/>
                <a:gd name="T92" fmla="*/ 31 w 1239"/>
                <a:gd name="T93" fmla="*/ 344 h 658"/>
                <a:gd name="T94" fmla="*/ 31 w 1239"/>
                <a:gd name="T95" fmla="*/ 26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39" h="658">
                  <a:moveTo>
                    <a:pt x="31" y="260"/>
                  </a:moveTo>
                  <a:lnTo>
                    <a:pt x="31" y="260"/>
                  </a:lnTo>
                  <a:cubicBezTo>
                    <a:pt x="54" y="237"/>
                    <a:pt x="92" y="184"/>
                    <a:pt x="115" y="168"/>
                  </a:cubicBezTo>
                  <a:cubicBezTo>
                    <a:pt x="130" y="161"/>
                    <a:pt x="145" y="168"/>
                    <a:pt x="153" y="161"/>
                  </a:cubicBezTo>
                  <a:cubicBezTo>
                    <a:pt x="183" y="153"/>
                    <a:pt x="206" y="130"/>
                    <a:pt x="237" y="107"/>
                  </a:cubicBezTo>
                  <a:lnTo>
                    <a:pt x="267" y="122"/>
                  </a:lnTo>
                  <a:cubicBezTo>
                    <a:pt x="275" y="122"/>
                    <a:pt x="329" y="69"/>
                    <a:pt x="329" y="69"/>
                  </a:cubicBezTo>
                  <a:cubicBezTo>
                    <a:pt x="336" y="61"/>
                    <a:pt x="344" y="69"/>
                    <a:pt x="352" y="61"/>
                  </a:cubicBezTo>
                  <a:cubicBezTo>
                    <a:pt x="359" y="54"/>
                    <a:pt x="359" y="31"/>
                    <a:pt x="375" y="23"/>
                  </a:cubicBezTo>
                  <a:cubicBezTo>
                    <a:pt x="397" y="8"/>
                    <a:pt x="420" y="0"/>
                    <a:pt x="443" y="0"/>
                  </a:cubicBezTo>
                  <a:cubicBezTo>
                    <a:pt x="458" y="8"/>
                    <a:pt x="458" y="31"/>
                    <a:pt x="474" y="31"/>
                  </a:cubicBezTo>
                  <a:cubicBezTo>
                    <a:pt x="489" y="31"/>
                    <a:pt x="497" y="8"/>
                    <a:pt x="504" y="0"/>
                  </a:cubicBezTo>
                  <a:lnTo>
                    <a:pt x="504" y="0"/>
                  </a:lnTo>
                  <a:cubicBezTo>
                    <a:pt x="542" y="16"/>
                    <a:pt x="581" y="31"/>
                    <a:pt x="611" y="31"/>
                  </a:cubicBezTo>
                  <a:cubicBezTo>
                    <a:pt x="619" y="31"/>
                    <a:pt x="619" y="8"/>
                    <a:pt x="627" y="16"/>
                  </a:cubicBezTo>
                  <a:cubicBezTo>
                    <a:pt x="657" y="16"/>
                    <a:pt x="680" y="39"/>
                    <a:pt x="703" y="46"/>
                  </a:cubicBezTo>
                  <a:cubicBezTo>
                    <a:pt x="711" y="46"/>
                    <a:pt x="726" y="46"/>
                    <a:pt x="733" y="46"/>
                  </a:cubicBezTo>
                  <a:cubicBezTo>
                    <a:pt x="756" y="54"/>
                    <a:pt x="772" y="61"/>
                    <a:pt x="779" y="77"/>
                  </a:cubicBezTo>
                  <a:cubicBezTo>
                    <a:pt x="802" y="92"/>
                    <a:pt x="794" y="138"/>
                    <a:pt x="817" y="138"/>
                  </a:cubicBezTo>
                  <a:cubicBezTo>
                    <a:pt x="840" y="145"/>
                    <a:pt x="848" y="100"/>
                    <a:pt x="871" y="84"/>
                  </a:cubicBezTo>
                  <a:cubicBezTo>
                    <a:pt x="894" y="69"/>
                    <a:pt x="924" y="61"/>
                    <a:pt x="947" y="54"/>
                  </a:cubicBezTo>
                  <a:cubicBezTo>
                    <a:pt x="970" y="54"/>
                    <a:pt x="978" y="69"/>
                    <a:pt x="993" y="77"/>
                  </a:cubicBezTo>
                  <a:lnTo>
                    <a:pt x="993" y="77"/>
                  </a:lnTo>
                  <a:cubicBezTo>
                    <a:pt x="986" y="84"/>
                    <a:pt x="970" y="92"/>
                    <a:pt x="963" y="107"/>
                  </a:cubicBezTo>
                  <a:cubicBezTo>
                    <a:pt x="955" y="115"/>
                    <a:pt x="970" y="115"/>
                    <a:pt x="970" y="122"/>
                  </a:cubicBezTo>
                  <a:cubicBezTo>
                    <a:pt x="993" y="176"/>
                    <a:pt x="993" y="245"/>
                    <a:pt x="1031" y="283"/>
                  </a:cubicBezTo>
                  <a:cubicBezTo>
                    <a:pt x="1047" y="298"/>
                    <a:pt x="1054" y="245"/>
                    <a:pt x="1069" y="237"/>
                  </a:cubicBezTo>
                  <a:cubicBezTo>
                    <a:pt x="1077" y="230"/>
                    <a:pt x="1092" y="245"/>
                    <a:pt x="1100" y="237"/>
                  </a:cubicBezTo>
                  <a:cubicBezTo>
                    <a:pt x="1108" y="237"/>
                    <a:pt x="1115" y="222"/>
                    <a:pt x="1131" y="222"/>
                  </a:cubicBezTo>
                  <a:cubicBezTo>
                    <a:pt x="1154" y="230"/>
                    <a:pt x="1207" y="252"/>
                    <a:pt x="1230" y="252"/>
                  </a:cubicBezTo>
                  <a:lnTo>
                    <a:pt x="1230" y="252"/>
                  </a:lnTo>
                  <a:cubicBezTo>
                    <a:pt x="1238" y="314"/>
                    <a:pt x="1222" y="428"/>
                    <a:pt x="1207" y="443"/>
                  </a:cubicBezTo>
                  <a:cubicBezTo>
                    <a:pt x="1154" y="489"/>
                    <a:pt x="1092" y="566"/>
                    <a:pt x="1024" y="596"/>
                  </a:cubicBezTo>
                  <a:cubicBezTo>
                    <a:pt x="1001" y="619"/>
                    <a:pt x="963" y="657"/>
                    <a:pt x="932" y="650"/>
                  </a:cubicBezTo>
                  <a:cubicBezTo>
                    <a:pt x="825" y="611"/>
                    <a:pt x="978" y="589"/>
                    <a:pt x="856" y="566"/>
                  </a:cubicBezTo>
                  <a:cubicBezTo>
                    <a:pt x="817" y="566"/>
                    <a:pt x="810" y="566"/>
                    <a:pt x="779" y="550"/>
                  </a:cubicBezTo>
                  <a:cubicBezTo>
                    <a:pt x="741" y="520"/>
                    <a:pt x="794" y="489"/>
                    <a:pt x="733" y="474"/>
                  </a:cubicBezTo>
                  <a:cubicBezTo>
                    <a:pt x="711" y="474"/>
                    <a:pt x="634" y="443"/>
                    <a:pt x="627" y="451"/>
                  </a:cubicBezTo>
                  <a:lnTo>
                    <a:pt x="627" y="451"/>
                  </a:lnTo>
                  <a:cubicBezTo>
                    <a:pt x="581" y="451"/>
                    <a:pt x="550" y="489"/>
                    <a:pt x="527" y="451"/>
                  </a:cubicBezTo>
                  <a:cubicBezTo>
                    <a:pt x="489" y="390"/>
                    <a:pt x="474" y="459"/>
                    <a:pt x="466" y="497"/>
                  </a:cubicBezTo>
                  <a:cubicBezTo>
                    <a:pt x="443" y="642"/>
                    <a:pt x="359" y="504"/>
                    <a:pt x="290" y="543"/>
                  </a:cubicBezTo>
                  <a:cubicBezTo>
                    <a:pt x="214" y="581"/>
                    <a:pt x="229" y="589"/>
                    <a:pt x="138" y="589"/>
                  </a:cubicBezTo>
                  <a:cubicBezTo>
                    <a:pt x="107" y="589"/>
                    <a:pt x="77" y="619"/>
                    <a:pt x="61" y="611"/>
                  </a:cubicBezTo>
                  <a:cubicBezTo>
                    <a:pt x="54" y="604"/>
                    <a:pt x="8" y="535"/>
                    <a:pt x="0" y="527"/>
                  </a:cubicBezTo>
                  <a:cubicBezTo>
                    <a:pt x="0" y="497"/>
                    <a:pt x="31" y="489"/>
                    <a:pt x="23" y="443"/>
                  </a:cubicBezTo>
                  <a:cubicBezTo>
                    <a:pt x="15" y="405"/>
                    <a:pt x="23" y="390"/>
                    <a:pt x="31" y="344"/>
                  </a:cubicBezTo>
                  <a:cubicBezTo>
                    <a:pt x="38" y="306"/>
                    <a:pt x="38" y="275"/>
                    <a:pt x="31" y="2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2" name="Freeform 164"/>
            <p:cNvSpPr>
              <a:spLocks noChangeArrowheads="1"/>
            </p:cNvSpPr>
            <p:nvPr/>
          </p:nvSpPr>
          <p:spPr bwMode="auto">
            <a:xfrm>
              <a:off x="4349467" y="6232526"/>
              <a:ext cx="261921" cy="220663"/>
            </a:xfrm>
            <a:custGeom>
              <a:avLst/>
              <a:gdLst>
                <a:gd name="T0" fmla="*/ 68 w 726"/>
                <a:gd name="T1" fmla="*/ 466 h 612"/>
                <a:gd name="T2" fmla="*/ 68 w 726"/>
                <a:gd name="T3" fmla="*/ 466 h 612"/>
                <a:gd name="T4" fmla="*/ 175 w 726"/>
                <a:gd name="T5" fmla="*/ 497 h 612"/>
                <a:gd name="T6" fmla="*/ 191 w 726"/>
                <a:gd name="T7" fmla="*/ 482 h 612"/>
                <a:gd name="T8" fmla="*/ 267 w 726"/>
                <a:gd name="T9" fmla="*/ 512 h 612"/>
                <a:gd name="T10" fmla="*/ 297 w 726"/>
                <a:gd name="T11" fmla="*/ 512 h 612"/>
                <a:gd name="T12" fmla="*/ 343 w 726"/>
                <a:gd name="T13" fmla="*/ 543 h 612"/>
                <a:gd name="T14" fmla="*/ 381 w 726"/>
                <a:gd name="T15" fmla="*/ 604 h 612"/>
                <a:gd name="T16" fmla="*/ 435 w 726"/>
                <a:gd name="T17" fmla="*/ 550 h 612"/>
                <a:gd name="T18" fmla="*/ 511 w 726"/>
                <a:gd name="T19" fmla="*/ 520 h 612"/>
                <a:gd name="T20" fmla="*/ 557 w 726"/>
                <a:gd name="T21" fmla="*/ 543 h 612"/>
                <a:gd name="T22" fmla="*/ 557 w 726"/>
                <a:gd name="T23" fmla="*/ 543 h 612"/>
                <a:gd name="T24" fmla="*/ 572 w 726"/>
                <a:gd name="T25" fmla="*/ 489 h 612"/>
                <a:gd name="T26" fmla="*/ 641 w 726"/>
                <a:gd name="T27" fmla="*/ 550 h 612"/>
                <a:gd name="T28" fmla="*/ 695 w 726"/>
                <a:gd name="T29" fmla="*/ 520 h 612"/>
                <a:gd name="T30" fmla="*/ 672 w 726"/>
                <a:gd name="T31" fmla="*/ 497 h 612"/>
                <a:gd name="T32" fmla="*/ 695 w 726"/>
                <a:gd name="T33" fmla="*/ 466 h 612"/>
                <a:gd name="T34" fmla="*/ 687 w 726"/>
                <a:gd name="T35" fmla="*/ 436 h 612"/>
                <a:gd name="T36" fmla="*/ 718 w 726"/>
                <a:gd name="T37" fmla="*/ 421 h 612"/>
                <a:gd name="T38" fmla="*/ 679 w 726"/>
                <a:gd name="T39" fmla="*/ 329 h 612"/>
                <a:gd name="T40" fmla="*/ 679 w 726"/>
                <a:gd name="T41" fmla="*/ 275 h 612"/>
                <a:gd name="T42" fmla="*/ 725 w 726"/>
                <a:gd name="T43" fmla="*/ 222 h 612"/>
                <a:gd name="T44" fmla="*/ 710 w 726"/>
                <a:gd name="T45" fmla="*/ 176 h 612"/>
                <a:gd name="T46" fmla="*/ 710 w 726"/>
                <a:gd name="T47" fmla="*/ 176 h 612"/>
                <a:gd name="T48" fmla="*/ 672 w 726"/>
                <a:gd name="T49" fmla="*/ 161 h 612"/>
                <a:gd name="T50" fmla="*/ 603 w 726"/>
                <a:gd name="T51" fmla="*/ 184 h 612"/>
                <a:gd name="T52" fmla="*/ 565 w 726"/>
                <a:gd name="T53" fmla="*/ 153 h 612"/>
                <a:gd name="T54" fmla="*/ 534 w 726"/>
                <a:gd name="T55" fmla="*/ 153 h 612"/>
                <a:gd name="T56" fmla="*/ 534 w 726"/>
                <a:gd name="T57" fmla="*/ 123 h 612"/>
                <a:gd name="T58" fmla="*/ 550 w 726"/>
                <a:gd name="T59" fmla="*/ 100 h 612"/>
                <a:gd name="T60" fmla="*/ 496 w 726"/>
                <a:gd name="T61" fmla="*/ 84 h 612"/>
                <a:gd name="T62" fmla="*/ 420 w 726"/>
                <a:gd name="T63" fmla="*/ 16 h 612"/>
                <a:gd name="T64" fmla="*/ 389 w 726"/>
                <a:gd name="T65" fmla="*/ 16 h 612"/>
                <a:gd name="T66" fmla="*/ 381 w 726"/>
                <a:gd name="T67" fmla="*/ 0 h 612"/>
                <a:gd name="T68" fmla="*/ 297 w 726"/>
                <a:gd name="T69" fmla="*/ 23 h 612"/>
                <a:gd name="T70" fmla="*/ 297 w 726"/>
                <a:gd name="T71" fmla="*/ 23 h 612"/>
                <a:gd name="T72" fmla="*/ 259 w 726"/>
                <a:gd name="T73" fmla="*/ 100 h 612"/>
                <a:gd name="T74" fmla="*/ 267 w 726"/>
                <a:gd name="T75" fmla="*/ 130 h 612"/>
                <a:gd name="T76" fmla="*/ 168 w 726"/>
                <a:gd name="T77" fmla="*/ 138 h 612"/>
                <a:gd name="T78" fmla="*/ 145 w 726"/>
                <a:gd name="T79" fmla="*/ 123 h 612"/>
                <a:gd name="T80" fmla="*/ 122 w 726"/>
                <a:gd name="T81" fmla="*/ 146 h 612"/>
                <a:gd name="T82" fmla="*/ 61 w 726"/>
                <a:gd name="T83" fmla="*/ 138 h 612"/>
                <a:gd name="T84" fmla="*/ 22 w 726"/>
                <a:gd name="T85" fmla="*/ 123 h 612"/>
                <a:gd name="T86" fmla="*/ 0 w 726"/>
                <a:gd name="T87" fmla="*/ 130 h 612"/>
                <a:gd name="T88" fmla="*/ 0 w 726"/>
                <a:gd name="T89" fmla="*/ 130 h 612"/>
                <a:gd name="T90" fmla="*/ 53 w 726"/>
                <a:gd name="T91" fmla="*/ 275 h 612"/>
                <a:gd name="T92" fmla="*/ 61 w 726"/>
                <a:gd name="T93" fmla="*/ 359 h 612"/>
                <a:gd name="T94" fmla="*/ 45 w 726"/>
                <a:gd name="T95" fmla="*/ 413 h 612"/>
                <a:gd name="T96" fmla="*/ 68 w 726"/>
                <a:gd name="T97" fmla="*/ 46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6" h="612">
                  <a:moveTo>
                    <a:pt x="68" y="466"/>
                  </a:moveTo>
                  <a:lnTo>
                    <a:pt x="68" y="466"/>
                  </a:lnTo>
                  <a:cubicBezTo>
                    <a:pt x="106" y="482"/>
                    <a:pt x="145" y="497"/>
                    <a:pt x="175" y="497"/>
                  </a:cubicBezTo>
                  <a:cubicBezTo>
                    <a:pt x="183" y="497"/>
                    <a:pt x="183" y="474"/>
                    <a:pt x="191" y="482"/>
                  </a:cubicBezTo>
                  <a:cubicBezTo>
                    <a:pt x="221" y="482"/>
                    <a:pt x="244" y="505"/>
                    <a:pt x="267" y="512"/>
                  </a:cubicBezTo>
                  <a:cubicBezTo>
                    <a:pt x="275" y="512"/>
                    <a:pt x="290" y="512"/>
                    <a:pt x="297" y="512"/>
                  </a:cubicBezTo>
                  <a:cubicBezTo>
                    <a:pt x="320" y="520"/>
                    <a:pt x="336" y="527"/>
                    <a:pt x="343" y="543"/>
                  </a:cubicBezTo>
                  <a:cubicBezTo>
                    <a:pt x="366" y="558"/>
                    <a:pt x="358" y="604"/>
                    <a:pt x="381" y="604"/>
                  </a:cubicBezTo>
                  <a:cubicBezTo>
                    <a:pt x="404" y="611"/>
                    <a:pt x="412" y="566"/>
                    <a:pt x="435" y="550"/>
                  </a:cubicBezTo>
                  <a:cubicBezTo>
                    <a:pt x="458" y="535"/>
                    <a:pt x="488" y="527"/>
                    <a:pt x="511" y="520"/>
                  </a:cubicBezTo>
                  <a:cubicBezTo>
                    <a:pt x="534" y="520"/>
                    <a:pt x="542" y="535"/>
                    <a:pt x="557" y="543"/>
                  </a:cubicBezTo>
                  <a:lnTo>
                    <a:pt x="557" y="543"/>
                  </a:lnTo>
                  <a:cubicBezTo>
                    <a:pt x="557" y="543"/>
                    <a:pt x="572" y="497"/>
                    <a:pt x="572" y="489"/>
                  </a:cubicBezTo>
                  <a:lnTo>
                    <a:pt x="641" y="550"/>
                  </a:lnTo>
                  <a:cubicBezTo>
                    <a:pt x="664" y="543"/>
                    <a:pt x="687" y="543"/>
                    <a:pt x="695" y="520"/>
                  </a:cubicBezTo>
                  <a:cubicBezTo>
                    <a:pt x="702" y="512"/>
                    <a:pt x="672" y="505"/>
                    <a:pt x="672" y="497"/>
                  </a:cubicBezTo>
                  <a:cubicBezTo>
                    <a:pt x="672" y="482"/>
                    <a:pt x="687" y="482"/>
                    <a:pt x="695" y="466"/>
                  </a:cubicBezTo>
                  <a:cubicBezTo>
                    <a:pt x="695" y="459"/>
                    <a:pt x="679" y="444"/>
                    <a:pt x="687" y="436"/>
                  </a:cubicBezTo>
                  <a:cubicBezTo>
                    <a:pt x="695" y="428"/>
                    <a:pt x="710" y="428"/>
                    <a:pt x="718" y="421"/>
                  </a:cubicBezTo>
                  <a:cubicBezTo>
                    <a:pt x="718" y="421"/>
                    <a:pt x="679" y="336"/>
                    <a:pt x="679" y="329"/>
                  </a:cubicBezTo>
                  <a:cubicBezTo>
                    <a:pt x="679" y="321"/>
                    <a:pt x="679" y="275"/>
                    <a:pt x="679" y="275"/>
                  </a:cubicBezTo>
                  <a:cubicBezTo>
                    <a:pt x="695" y="260"/>
                    <a:pt x="718" y="245"/>
                    <a:pt x="725" y="222"/>
                  </a:cubicBezTo>
                  <a:cubicBezTo>
                    <a:pt x="725" y="207"/>
                    <a:pt x="718" y="191"/>
                    <a:pt x="710" y="176"/>
                  </a:cubicBezTo>
                  <a:lnTo>
                    <a:pt x="710" y="176"/>
                  </a:lnTo>
                  <a:cubicBezTo>
                    <a:pt x="695" y="169"/>
                    <a:pt x="687" y="161"/>
                    <a:pt x="672" y="161"/>
                  </a:cubicBezTo>
                  <a:cubicBezTo>
                    <a:pt x="649" y="161"/>
                    <a:pt x="626" y="184"/>
                    <a:pt x="603" y="184"/>
                  </a:cubicBezTo>
                  <a:cubicBezTo>
                    <a:pt x="588" y="176"/>
                    <a:pt x="580" y="161"/>
                    <a:pt x="565" y="153"/>
                  </a:cubicBezTo>
                  <a:cubicBezTo>
                    <a:pt x="557" y="153"/>
                    <a:pt x="542" y="161"/>
                    <a:pt x="534" y="153"/>
                  </a:cubicBezTo>
                  <a:cubicBezTo>
                    <a:pt x="527" y="146"/>
                    <a:pt x="527" y="130"/>
                    <a:pt x="534" y="123"/>
                  </a:cubicBezTo>
                  <a:cubicBezTo>
                    <a:pt x="534" y="115"/>
                    <a:pt x="557" y="107"/>
                    <a:pt x="550" y="100"/>
                  </a:cubicBezTo>
                  <a:cubicBezTo>
                    <a:pt x="534" y="84"/>
                    <a:pt x="511" y="92"/>
                    <a:pt x="496" y="84"/>
                  </a:cubicBezTo>
                  <a:cubicBezTo>
                    <a:pt x="466" y="61"/>
                    <a:pt x="450" y="31"/>
                    <a:pt x="420" y="16"/>
                  </a:cubicBezTo>
                  <a:cubicBezTo>
                    <a:pt x="412" y="8"/>
                    <a:pt x="397" y="23"/>
                    <a:pt x="389" y="16"/>
                  </a:cubicBezTo>
                  <a:cubicBezTo>
                    <a:pt x="381" y="16"/>
                    <a:pt x="389" y="0"/>
                    <a:pt x="381" y="0"/>
                  </a:cubicBezTo>
                  <a:cubicBezTo>
                    <a:pt x="351" y="0"/>
                    <a:pt x="328" y="16"/>
                    <a:pt x="297" y="23"/>
                  </a:cubicBezTo>
                  <a:lnTo>
                    <a:pt x="297" y="23"/>
                  </a:lnTo>
                  <a:cubicBezTo>
                    <a:pt x="282" y="46"/>
                    <a:pt x="267" y="69"/>
                    <a:pt x="259" y="100"/>
                  </a:cubicBezTo>
                  <a:cubicBezTo>
                    <a:pt x="259" y="107"/>
                    <a:pt x="275" y="123"/>
                    <a:pt x="267" y="130"/>
                  </a:cubicBezTo>
                  <a:cubicBezTo>
                    <a:pt x="236" y="146"/>
                    <a:pt x="198" y="146"/>
                    <a:pt x="168" y="138"/>
                  </a:cubicBezTo>
                  <a:cubicBezTo>
                    <a:pt x="152" y="138"/>
                    <a:pt x="152" y="115"/>
                    <a:pt x="145" y="123"/>
                  </a:cubicBezTo>
                  <a:cubicBezTo>
                    <a:pt x="129" y="123"/>
                    <a:pt x="129" y="138"/>
                    <a:pt x="122" y="146"/>
                  </a:cubicBezTo>
                  <a:cubicBezTo>
                    <a:pt x="99" y="146"/>
                    <a:pt x="76" y="146"/>
                    <a:pt x="61" y="138"/>
                  </a:cubicBezTo>
                  <a:cubicBezTo>
                    <a:pt x="45" y="130"/>
                    <a:pt x="38" y="123"/>
                    <a:pt x="22" y="123"/>
                  </a:cubicBezTo>
                  <a:cubicBezTo>
                    <a:pt x="15" y="115"/>
                    <a:pt x="7" y="123"/>
                    <a:pt x="0" y="130"/>
                  </a:cubicBezTo>
                  <a:lnTo>
                    <a:pt x="0" y="130"/>
                  </a:lnTo>
                  <a:cubicBezTo>
                    <a:pt x="15" y="176"/>
                    <a:pt x="38" y="230"/>
                    <a:pt x="53" y="275"/>
                  </a:cubicBezTo>
                  <a:cubicBezTo>
                    <a:pt x="61" y="306"/>
                    <a:pt x="61" y="336"/>
                    <a:pt x="61" y="359"/>
                  </a:cubicBezTo>
                  <a:cubicBezTo>
                    <a:pt x="61" y="382"/>
                    <a:pt x="45" y="398"/>
                    <a:pt x="45" y="413"/>
                  </a:cubicBezTo>
                  <a:cubicBezTo>
                    <a:pt x="53" y="436"/>
                    <a:pt x="61" y="451"/>
                    <a:pt x="68" y="4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3" name="Freeform 165"/>
            <p:cNvSpPr>
              <a:spLocks noChangeArrowheads="1"/>
            </p:cNvSpPr>
            <p:nvPr/>
          </p:nvSpPr>
          <p:spPr bwMode="auto">
            <a:xfrm>
              <a:off x="4066911" y="6210301"/>
              <a:ext cx="307955" cy="284163"/>
            </a:xfrm>
            <a:custGeom>
              <a:avLst/>
              <a:gdLst>
                <a:gd name="T0" fmla="*/ 787 w 856"/>
                <a:gd name="T1" fmla="*/ 191 h 788"/>
                <a:gd name="T2" fmla="*/ 787 w 856"/>
                <a:gd name="T3" fmla="*/ 191 h 788"/>
                <a:gd name="T4" fmla="*/ 840 w 856"/>
                <a:gd name="T5" fmla="*/ 336 h 788"/>
                <a:gd name="T6" fmla="*/ 848 w 856"/>
                <a:gd name="T7" fmla="*/ 420 h 788"/>
                <a:gd name="T8" fmla="*/ 832 w 856"/>
                <a:gd name="T9" fmla="*/ 474 h 788"/>
                <a:gd name="T10" fmla="*/ 855 w 856"/>
                <a:gd name="T11" fmla="*/ 527 h 788"/>
                <a:gd name="T12" fmla="*/ 855 w 856"/>
                <a:gd name="T13" fmla="*/ 527 h 788"/>
                <a:gd name="T14" fmla="*/ 825 w 856"/>
                <a:gd name="T15" fmla="*/ 558 h 788"/>
                <a:gd name="T16" fmla="*/ 794 w 856"/>
                <a:gd name="T17" fmla="*/ 527 h 788"/>
                <a:gd name="T18" fmla="*/ 726 w 856"/>
                <a:gd name="T19" fmla="*/ 550 h 788"/>
                <a:gd name="T20" fmla="*/ 703 w 856"/>
                <a:gd name="T21" fmla="*/ 588 h 788"/>
                <a:gd name="T22" fmla="*/ 680 w 856"/>
                <a:gd name="T23" fmla="*/ 596 h 788"/>
                <a:gd name="T24" fmla="*/ 618 w 856"/>
                <a:gd name="T25" fmla="*/ 649 h 788"/>
                <a:gd name="T26" fmla="*/ 588 w 856"/>
                <a:gd name="T27" fmla="*/ 634 h 788"/>
                <a:gd name="T28" fmla="*/ 504 w 856"/>
                <a:gd name="T29" fmla="*/ 688 h 788"/>
                <a:gd name="T30" fmla="*/ 466 w 856"/>
                <a:gd name="T31" fmla="*/ 695 h 788"/>
                <a:gd name="T32" fmla="*/ 382 w 856"/>
                <a:gd name="T33" fmla="*/ 787 h 788"/>
                <a:gd name="T34" fmla="*/ 382 w 856"/>
                <a:gd name="T35" fmla="*/ 787 h 788"/>
                <a:gd name="T36" fmla="*/ 282 w 856"/>
                <a:gd name="T37" fmla="*/ 703 h 788"/>
                <a:gd name="T38" fmla="*/ 206 w 856"/>
                <a:gd name="T39" fmla="*/ 734 h 788"/>
                <a:gd name="T40" fmla="*/ 122 w 856"/>
                <a:gd name="T41" fmla="*/ 649 h 788"/>
                <a:gd name="T42" fmla="*/ 69 w 856"/>
                <a:gd name="T43" fmla="*/ 527 h 788"/>
                <a:gd name="T44" fmla="*/ 38 w 856"/>
                <a:gd name="T45" fmla="*/ 420 h 788"/>
                <a:gd name="T46" fmla="*/ 30 w 856"/>
                <a:gd name="T47" fmla="*/ 390 h 788"/>
                <a:gd name="T48" fmla="*/ 30 w 856"/>
                <a:gd name="T49" fmla="*/ 390 h 788"/>
                <a:gd name="T50" fmla="*/ 115 w 856"/>
                <a:gd name="T51" fmla="*/ 321 h 788"/>
                <a:gd name="T52" fmla="*/ 145 w 856"/>
                <a:gd name="T53" fmla="*/ 245 h 788"/>
                <a:gd name="T54" fmla="*/ 160 w 856"/>
                <a:gd name="T55" fmla="*/ 145 h 788"/>
                <a:gd name="T56" fmla="*/ 252 w 856"/>
                <a:gd name="T57" fmla="*/ 153 h 788"/>
                <a:gd name="T58" fmla="*/ 282 w 856"/>
                <a:gd name="T59" fmla="*/ 176 h 788"/>
                <a:gd name="T60" fmla="*/ 313 w 856"/>
                <a:gd name="T61" fmla="*/ 161 h 788"/>
                <a:gd name="T62" fmla="*/ 305 w 856"/>
                <a:gd name="T63" fmla="*/ 99 h 788"/>
                <a:gd name="T64" fmla="*/ 313 w 856"/>
                <a:gd name="T65" fmla="*/ 69 h 788"/>
                <a:gd name="T66" fmla="*/ 359 w 856"/>
                <a:gd name="T67" fmla="*/ 46 h 788"/>
                <a:gd name="T68" fmla="*/ 374 w 856"/>
                <a:gd name="T69" fmla="*/ 0 h 788"/>
                <a:gd name="T70" fmla="*/ 435 w 856"/>
                <a:gd name="T71" fmla="*/ 31 h 788"/>
                <a:gd name="T72" fmla="*/ 481 w 856"/>
                <a:gd name="T73" fmla="*/ 16 h 788"/>
                <a:gd name="T74" fmla="*/ 519 w 856"/>
                <a:gd name="T75" fmla="*/ 8 h 788"/>
                <a:gd name="T76" fmla="*/ 519 w 856"/>
                <a:gd name="T77" fmla="*/ 8 h 788"/>
                <a:gd name="T78" fmla="*/ 580 w 856"/>
                <a:gd name="T79" fmla="*/ 84 h 788"/>
                <a:gd name="T80" fmla="*/ 618 w 856"/>
                <a:gd name="T81" fmla="*/ 130 h 788"/>
                <a:gd name="T82" fmla="*/ 649 w 856"/>
                <a:gd name="T83" fmla="*/ 122 h 788"/>
                <a:gd name="T84" fmla="*/ 649 w 856"/>
                <a:gd name="T85" fmla="*/ 161 h 788"/>
                <a:gd name="T86" fmla="*/ 664 w 856"/>
                <a:gd name="T87" fmla="*/ 214 h 788"/>
                <a:gd name="T88" fmla="*/ 710 w 856"/>
                <a:gd name="T89" fmla="*/ 237 h 788"/>
                <a:gd name="T90" fmla="*/ 748 w 856"/>
                <a:gd name="T91" fmla="*/ 230 h 788"/>
                <a:gd name="T92" fmla="*/ 787 w 856"/>
                <a:gd name="T93" fmla="*/ 19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788">
                  <a:moveTo>
                    <a:pt x="787" y="191"/>
                  </a:moveTo>
                  <a:lnTo>
                    <a:pt x="787" y="191"/>
                  </a:lnTo>
                  <a:cubicBezTo>
                    <a:pt x="802" y="237"/>
                    <a:pt x="825" y="291"/>
                    <a:pt x="840" y="336"/>
                  </a:cubicBezTo>
                  <a:cubicBezTo>
                    <a:pt x="848" y="367"/>
                    <a:pt x="848" y="397"/>
                    <a:pt x="848" y="420"/>
                  </a:cubicBezTo>
                  <a:cubicBezTo>
                    <a:pt x="848" y="443"/>
                    <a:pt x="832" y="459"/>
                    <a:pt x="832" y="474"/>
                  </a:cubicBezTo>
                  <a:cubicBezTo>
                    <a:pt x="840" y="497"/>
                    <a:pt x="848" y="512"/>
                    <a:pt x="855" y="527"/>
                  </a:cubicBezTo>
                  <a:lnTo>
                    <a:pt x="855" y="527"/>
                  </a:lnTo>
                  <a:cubicBezTo>
                    <a:pt x="848" y="535"/>
                    <a:pt x="840" y="558"/>
                    <a:pt x="825" y="558"/>
                  </a:cubicBezTo>
                  <a:cubicBezTo>
                    <a:pt x="809" y="558"/>
                    <a:pt x="809" y="535"/>
                    <a:pt x="794" y="527"/>
                  </a:cubicBezTo>
                  <a:cubicBezTo>
                    <a:pt x="771" y="527"/>
                    <a:pt x="748" y="535"/>
                    <a:pt x="726" y="550"/>
                  </a:cubicBezTo>
                  <a:cubicBezTo>
                    <a:pt x="710" y="558"/>
                    <a:pt x="710" y="581"/>
                    <a:pt x="703" y="588"/>
                  </a:cubicBezTo>
                  <a:cubicBezTo>
                    <a:pt x="695" y="596"/>
                    <a:pt x="687" y="588"/>
                    <a:pt x="680" y="596"/>
                  </a:cubicBezTo>
                  <a:cubicBezTo>
                    <a:pt x="680" y="596"/>
                    <a:pt x="626" y="649"/>
                    <a:pt x="618" y="649"/>
                  </a:cubicBezTo>
                  <a:lnTo>
                    <a:pt x="588" y="634"/>
                  </a:lnTo>
                  <a:cubicBezTo>
                    <a:pt x="557" y="657"/>
                    <a:pt x="534" y="680"/>
                    <a:pt x="504" y="688"/>
                  </a:cubicBezTo>
                  <a:cubicBezTo>
                    <a:pt x="496" y="695"/>
                    <a:pt x="481" y="688"/>
                    <a:pt x="466" y="695"/>
                  </a:cubicBezTo>
                  <a:cubicBezTo>
                    <a:pt x="443" y="711"/>
                    <a:pt x="405" y="764"/>
                    <a:pt x="382" y="787"/>
                  </a:cubicBezTo>
                  <a:lnTo>
                    <a:pt x="382" y="787"/>
                  </a:lnTo>
                  <a:cubicBezTo>
                    <a:pt x="374" y="749"/>
                    <a:pt x="336" y="749"/>
                    <a:pt x="282" y="703"/>
                  </a:cubicBezTo>
                  <a:cubicBezTo>
                    <a:pt x="252" y="726"/>
                    <a:pt x="267" y="779"/>
                    <a:pt x="206" y="734"/>
                  </a:cubicBezTo>
                  <a:cubicBezTo>
                    <a:pt x="176" y="711"/>
                    <a:pt x="145" y="672"/>
                    <a:pt x="122" y="649"/>
                  </a:cubicBezTo>
                  <a:cubicBezTo>
                    <a:pt x="99" y="596"/>
                    <a:pt x="115" y="558"/>
                    <a:pt x="69" y="527"/>
                  </a:cubicBezTo>
                  <a:cubicBezTo>
                    <a:pt x="0" y="482"/>
                    <a:pt x="53" y="474"/>
                    <a:pt x="38" y="420"/>
                  </a:cubicBezTo>
                  <a:cubicBezTo>
                    <a:pt x="30" y="390"/>
                    <a:pt x="30" y="390"/>
                    <a:pt x="30" y="390"/>
                  </a:cubicBezTo>
                  <a:lnTo>
                    <a:pt x="30" y="390"/>
                  </a:lnTo>
                  <a:cubicBezTo>
                    <a:pt x="46" y="367"/>
                    <a:pt x="99" y="344"/>
                    <a:pt x="115" y="321"/>
                  </a:cubicBezTo>
                  <a:cubicBezTo>
                    <a:pt x="130" y="298"/>
                    <a:pt x="137" y="268"/>
                    <a:pt x="145" y="245"/>
                  </a:cubicBezTo>
                  <a:cubicBezTo>
                    <a:pt x="153" y="207"/>
                    <a:pt x="137" y="161"/>
                    <a:pt x="160" y="145"/>
                  </a:cubicBezTo>
                  <a:cubicBezTo>
                    <a:pt x="183" y="122"/>
                    <a:pt x="221" y="145"/>
                    <a:pt x="252" y="153"/>
                  </a:cubicBezTo>
                  <a:cubicBezTo>
                    <a:pt x="267" y="161"/>
                    <a:pt x="267" y="176"/>
                    <a:pt x="282" y="176"/>
                  </a:cubicBezTo>
                  <a:cubicBezTo>
                    <a:pt x="290" y="176"/>
                    <a:pt x="313" y="176"/>
                    <a:pt x="313" y="161"/>
                  </a:cubicBezTo>
                  <a:cubicBezTo>
                    <a:pt x="321" y="145"/>
                    <a:pt x="305" y="122"/>
                    <a:pt x="305" y="99"/>
                  </a:cubicBezTo>
                  <a:cubicBezTo>
                    <a:pt x="305" y="92"/>
                    <a:pt x="305" y="77"/>
                    <a:pt x="313" y="69"/>
                  </a:cubicBezTo>
                  <a:cubicBezTo>
                    <a:pt x="328" y="54"/>
                    <a:pt x="344" y="61"/>
                    <a:pt x="359" y="46"/>
                  </a:cubicBezTo>
                  <a:cubicBezTo>
                    <a:pt x="366" y="38"/>
                    <a:pt x="359" y="8"/>
                    <a:pt x="374" y="0"/>
                  </a:cubicBezTo>
                  <a:cubicBezTo>
                    <a:pt x="397" y="0"/>
                    <a:pt x="412" y="31"/>
                    <a:pt x="435" y="31"/>
                  </a:cubicBezTo>
                  <a:cubicBezTo>
                    <a:pt x="451" y="31"/>
                    <a:pt x="466" y="23"/>
                    <a:pt x="481" y="16"/>
                  </a:cubicBezTo>
                  <a:cubicBezTo>
                    <a:pt x="496" y="16"/>
                    <a:pt x="504" y="8"/>
                    <a:pt x="519" y="8"/>
                  </a:cubicBezTo>
                  <a:lnTo>
                    <a:pt x="519" y="8"/>
                  </a:lnTo>
                  <a:cubicBezTo>
                    <a:pt x="542" y="31"/>
                    <a:pt x="557" y="61"/>
                    <a:pt x="580" y="84"/>
                  </a:cubicBezTo>
                  <a:cubicBezTo>
                    <a:pt x="588" y="99"/>
                    <a:pt x="603" y="115"/>
                    <a:pt x="618" y="130"/>
                  </a:cubicBezTo>
                  <a:cubicBezTo>
                    <a:pt x="626" y="130"/>
                    <a:pt x="641" y="115"/>
                    <a:pt x="649" y="122"/>
                  </a:cubicBezTo>
                  <a:cubicBezTo>
                    <a:pt x="657" y="130"/>
                    <a:pt x="649" y="153"/>
                    <a:pt x="649" y="161"/>
                  </a:cubicBezTo>
                  <a:cubicBezTo>
                    <a:pt x="657" y="184"/>
                    <a:pt x="649" y="199"/>
                    <a:pt x="664" y="214"/>
                  </a:cubicBezTo>
                  <a:cubicBezTo>
                    <a:pt x="672" y="230"/>
                    <a:pt x="695" y="237"/>
                    <a:pt x="710" y="237"/>
                  </a:cubicBezTo>
                  <a:cubicBezTo>
                    <a:pt x="726" y="245"/>
                    <a:pt x="741" y="237"/>
                    <a:pt x="748" y="230"/>
                  </a:cubicBezTo>
                  <a:cubicBezTo>
                    <a:pt x="764" y="222"/>
                    <a:pt x="771" y="207"/>
                    <a:pt x="787" y="19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4" name="Freeform 166"/>
            <p:cNvSpPr>
              <a:spLocks noChangeArrowheads="1"/>
            </p:cNvSpPr>
            <p:nvPr/>
          </p:nvSpPr>
          <p:spPr bwMode="auto">
            <a:xfrm>
              <a:off x="4243112" y="6083301"/>
              <a:ext cx="214298" cy="214313"/>
            </a:xfrm>
            <a:custGeom>
              <a:avLst/>
              <a:gdLst>
                <a:gd name="T0" fmla="*/ 30 w 596"/>
                <a:gd name="T1" fmla="*/ 359 h 597"/>
                <a:gd name="T2" fmla="*/ 30 w 596"/>
                <a:gd name="T3" fmla="*/ 359 h 597"/>
                <a:gd name="T4" fmla="*/ 91 w 596"/>
                <a:gd name="T5" fmla="*/ 435 h 597"/>
                <a:gd name="T6" fmla="*/ 129 w 596"/>
                <a:gd name="T7" fmla="*/ 481 h 597"/>
                <a:gd name="T8" fmla="*/ 160 w 596"/>
                <a:gd name="T9" fmla="*/ 473 h 597"/>
                <a:gd name="T10" fmla="*/ 160 w 596"/>
                <a:gd name="T11" fmla="*/ 512 h 597"/>
                <a:gd name="T12" fmla="*/ 175 w 596"/>
                <a:gd name="T13" fmla="*/ 565 h 597"/>
                <a:gd name="T14" fmla="*/ 221 w 596"/>
                <a:gd name="T15" fmla="*/ 588 h 597"/>
                <a:gd name="T16" fmla="*/ 259 w 596"/>
                <a:gd name="T17" fmla="*/ 581 h 597"/>
                <a:gd name="T18" fmla="*/ 298 w 596"/>
                <a:gd name="T19" fmla="*/ 542 h 597"/>
                <a:gd name="T20" fmla="*/ 298 w 596"/>
                <a:gd name="T21" fmla="*/ 542 h 597"/>
                <a:gd name="T22" fmla="*/ 320 w 596"/>
                <a:gd name="T23" fmla="*/ 535 h 597"/>
                <a:gd name="T24" fmla="*/ 359 w 596"/>
                <a:gd name="T25" fmla="*/ 550 h 597"/>
                <a:gd name="T26" fmla="*/ 420 w 596"/>
                <a:gd name="T27" fmla="*/ 558 h 597"/>
                <a:gd name="T28" fmla="*/ 443 w 596"/>
                <a:gd name="T29" fmla="*/ 535 h 597"/>
                <a:gd name="T30" fmla="*/ 466 w 596"/>
                <a:gd name="T31" fmla="*/ 550 h 597"/>
                <a:gd name="T32" fmla="*/ 565 w 596"/>
                <a:gd name="T33" fmla="*/ 542 h 597"/>
                <a:gd name="T34" fmla="*/ 557 w 596"/>
                <a:gd name="T35" fmla="*/ 512 h 597"/>
                <a:gd name="T36" fmla="*/ 595 w 596"/>
                <a:gd name="T37" fmla="*/ 435 h 597"/>
                <a:gd name="T38" fmla="*/ 595 w 596"/>
                <a:gd name="T39" fmla="*/ 435 h 597"/>
                <a:gd name="T40" fmla="*/ 550 w 596"/>
                <a:gd name="T41" fmla="*/ 367 h 597"/>
                <a:gd name="T42" fmla="*/ 527 w 596"/>
                <a:gd name="T43" fmla="*/ 306 h 597"/>
                <a:gd name="T44" fmla="*/ 550 w 596"/>
                <a:gd name="T45" fmla="*/ 267 h 597"/>
                <a:gd name="T46" fmla="*/ 496 w 596"/>
                <a:gd name="T47" fmla="*/ 206 h 597"/>
                <a:gd name="T48" fmla="*/ 489 w 596"/>
                <a:gd name="T49" fmla="*/ 107 h 597"/>
                <a:gd name="T50" fmla="*/ 443 w 596"/>
                <a:gd name="T51" fmla="*/ 53 h 597"/>
                <a:gd name="T52" fmla="*/ 443 w 596"/>
                <a:gd name="T53" fmla="*/ 53 h 597"/>
                <a:gd name="T54" fmla="*/ 412 w 596"/>
                <a:gd name="T55" fmla="*/ 8 h 597"/>
                <a:gd name="T56" fmla="*/ 252 w 596"/>
                <a:gd name="T57" fmla="*/ 69 h 597"/>
                <a:gd name="T58" fmla="*/ 252 w 596"/>
                <a:gd name="T59" fmla="*/ 69 h 597"/>
                <a:gd name="T60" fmla="*/ 68 w 596"/>
                <a:gd name="T61" fmla="*/ 145 h 597"/>
                <a:gd name="T62" fmla="*/ 68 w 596"/>
                <a:gd name="T63" fmla="*/ 145 h 597"/>
                <a:gd name="T64" fmla="*/ 7 w 596"/>
                <a:gd name="T65" fmla="*/ 229 h 597"/>
                <a:gd name="T66" fmla="*/ 30 w 596"/>
                <a:gd name="T67" fmla="*/ 359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6" h="597">
                  <a:moveTo>
                    <a:pt x="30" y="359"/>
                  </a:moveTo>
                  <a:lnTo>
                    <a:pt x="30" y="359"/>
                  </a:lnTo>
                  <a:cubicBezTo>
                    <a:pt x="53" y="382"/>
                    <a:pt x="68" y="412"/>
                    <a:pt x="91" y="435"/>
                  </a:cubicBezTo>
                  <a:cubicBezTo>
                    <a:pt x="99" y="450"/>
                    <a:pt x="114" y="466"/>
                    <a:pt x="129" y="481"/>
                  </a:cubicBezTo>
                  <a:cubicBezTo>
                    <a:pt x="137" y="481"/>
                    <a:pt x="152" y="466"/>
                    <a:pt x="160" y="473"/>
                  </a:cubicBezTo>
                  <a:cubicBezTo>
                    <a:pt x="168" y="481"/>
                    <a:pt x="160" y="504"/>
                    <a:pt x="160" y="512"/>
                  </a:cubicBezTo>
                  <a:cubicBezTo>
                    <a:pt x="168" y="535"/>
                    <a:pt x="160" y="550"/>
                    <a:pt x="175" y="565"/>
                  </a:cubicBezTo>
                  <a:cubicBezTo>
                    <a:pt x="183" y="581"/>
                    <a:pt x="206" y="588"/>
                    <a:pt x="221" y="588"/>
                  </a:cubicBezTo>
                  <a:cubicBezTo>
                    <a:pt x="237" y="596"/>
                    <a:pt x="252" y="588"/>
                    <a:pt x="259" y="581"/>
                  </a:cubicBezTo>
                  <a:cubicBezTo>
                    <a:pt x="275" y="573"/>
                    <a:pt x="282" y="558"/>
                    <a:pt x="298" y="542"/>
                  </a:cubicBezTo>
                  <a:lnTo>
                    <a:pt x="298" y="542"/>
                  </a:lnTo>
                  <a:cubicBezTo>
                    <a:pt x="305" y="535"/>
                    <a:pt x="313" y="527"/>
                    <a:pt x="320" y="535"/>
                  </a:cubicBezTo>
                  <a:cubicBezTo>
                    <a:pt x="336" y="535"/>
                    <a:pt x="343" y="542"/>
                    <a:pt x="359" y="550"/>
                  </a:cubicBezTo>
                  <a:cubicBezTo>
                    <a:pt x="374" y="558"/>
                    <a:pt x="397" y="558"/>
                    <a:pt x="420" y="558"/>
                  </a:cubicBezTo>
                  <a:cubicBezTo>
                    <a:pt x="427" y="550"/>
                    <a:pt x="427" y="535"/>
                    <a:pt x="443" y="535"/>
                  </a:cubicBezTo>
                  <a:cubicBezTo>
                    <a:pt x="450" y="527"/>
                    <a:pt x="450" y="550"/>
                    <a:pt x="466" y="550"/>
                  </a:cubicBezTo>
                  <a:cubicBezTo>
                    <a:pt x="496" y="558"/>
                    <a:pt x="534" y="558"/>
                    <a:pt x="565" y="542"/>
                  </a:cubicBezTo>
                  <a:cubicBezTo>
                    <a:pt x="573" y="535"/>
                    <a:pt x="557" y="519"/>
                    <a:pt x="557" y="512"/>
                  </a:cubicBezTo>
                  <a:cubicBezTo>
                    <a:pt x="565" y="481"/>
                    <a:pt x="580" y="458"/>
                    <a:pt x="595" y="435"/>
                  </a:cubicBezTo>
                  <a:lnTo>
                    <a:pt x="595" y="435"/>
                  </a:lnTo>
                  <a:cubicBezTo>
                    <a:pt x="580" y="412"/>
                    <a:pt x="565" y="389"/>
                    <a:pt x="550" y="367"/>
                  </a:cubicBezTo>
                  <a:cubicBezTo>
                    <a:pt x="542" y="351"/>
                    <a:pt x="527" y="328"/>
                    <a:pt x="527" y="306"/>
                  </a:cubicBezTo>
                  <a:cubicBezTo>
                    <a:pt x="527" y="290"/>
                    <a:pt x="557" y="283"/>
                    <a:pt x="550" y="267"/>
                  </a:cubicBezTo>
                  <a:cubicBezTo>
                    <a:pt x="542" y="237"/>
                    <a:pt x="504" y="229"/>
                    <a:pt x="496" y="206"/>
                  </a:cubicBezTo>
                  <a:cubicBezTo>
                    <a:pt x="489" y="176"/>
                    <a:pt x="504" y="137"/>
                    <a:pt x="489" y="107"/>
                  </a:cubicBezTo>
                  <a:cubicBezTo>
                    <a:pt x="481" y="84"/>
                    <a:pt x="458" y="69"/>
                    <a:pt x="443" y="53"/>
                  </a:cubicBezTo>
                  <a:lnTo>
                    <a:pt x="443" y="53"/>
                  </a:lnTo>
                  <a:cubicBezTo>
                    <a:pt x="427" y="38"/>
                    <a:pt x="427" y="0"/>
                    <a:pt x="412" y="8"/>
                  </a:cubicBezTo>
                  <a:cubicBezTo>
                    <a:pt x="359" y="8"/>
                    <a:pt x="305" y="46"/>
                    <a:pt x="252" y="69"/>
                  </a:cubicBezTo>
                  <a:lnTo>
                    <a:pt x="252" y="69"/>
                  </a:lnTo>
                  <a:cubicBezTo>
                    <a:pt x="68" y="145"/>
                    <a:pt x="68" y="145"/>
                    <a:pt x="68" y="145"/>
                  </a:cubicBezTo>
                  <a:lnTo>
                    <a:pt x="68" y="145"/>
                  </a:lnTo>
                  <a:cubicBezTo>
                    <a:pt x="45" y="176"/>
                    <a:pt x="15" y="198"/>
                    <a:pt x="7" y="229"/>
                  </a:cubicBezTo>
                  <a:cubicBezTo>
                    <a:pt x="0" y="275"/>
                    <a:pt x="23" y="313"/>
                    <a:pt x="30" y="35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5" name="Freeform 167"/>
            <p:cNvSpPr>
              <a:spLocks noChangeArrowheads="1"/>
            </p:cNvSpPr>
            <p:nvPr/>
          </p:nvSpPr>
          <p:spPr bwMode="auto">
            <a:xfrm>
              <a:off x="4536779" y="6180139"/>
              <a:ext cx="293669" cy="327025"/>
            </a:xfrm>
            <a:custGeom>
              <a:avLst/>
              <a:gdLst>
                <a:gd name="T0" fmla="*/ 191 w 818"/>
                <a:gd name="T1" fmla="*/ 321 h 910"/>
                <a:gd name="T2" fmla="*/ 191 w 818"/>
                <a:gd name="T3" fmla="*/ 321 h 910"/>
                <a:gd name="T4" fmla="*/ 206 w 818"/>
                <a:gd name="T5" fmla="*/ 367 h 910"/>
                <a:gd name="T6" fmla="*/ 160 w 818"/>
                <a:gd name="T7" fmla="*/ 420 h 910"/>
                <a:gd name="T8" fmla="*/ 160 w 818"/>
                <a:gd name="T9" fmla="*/ 474 h 910"/>
                <a:gd name="T10" fmla="*/ 199 w 818"/>
                <a:gd name="T11" fmla="*/ 566 h 910"/>
                <a:gd name="T12" fmla="*/ 168 w 818"/>
                <a:gd name="T13" fmla="*/ 581 h 910"/>
                <a:gd name="T14" fmla="*/ 176 w 818"/>
                <a:gd name="T15" fmla="*/ 611 h 910"/>
                <a:gd name="T16" fmla="*/ 153 w 818"/>
                <a:gd name="T17" fmla="*/ 642 h 910"/>
                <a:gd name="T18" fmla="*/ 176 w 818"/>
                <a:gd name="T19" fmla="*/ 665 h 910"/>
                <a:gd name="T20" fmla="*/ 122 w 818"/>
                <a:gd name="T21" fmla="*/ 695 h 910"/>
                <a:gd name="T22" fmla="*/ 53 w 818"/>
                <a:gd name="T23" fmla="*/ 634 h 910"/>
                <a:gd name="T24" fmla="*/ 38 w 818"/>
                <a:gd name="T25" fmla="*/ 688 h 910"/>
                <a:gd name="T26" fmla="*/ 38 w 818"/>
                <a:gd name="T27" fmla="*/ 688 h 910"/>
                <a:gd name="T28" fmla="*/ 8 w 818"/>
                <a:gd name="T29" fmla="*/ 718 h 910"/>
                <a:gd name="T30" fmla="*/ 15 w 818"/>
                <a:gd name="T31" fmla="*/ 733 h 910"/>
                <a:gd name="T32" fmla="*/ 76 w 818"/>
                <a:gd name="T33" fmla="*/ 894 h 910"/>
                <a:gd name="T34" fmla="*/ 114 w 818"/>
                <a:gd name="T35" fmla="*/ 848 h 910"/>
                <a:gd name="T36" fmla="*/ 145 w 818"/>
                <a:gd name="T37" fmla="*/ 848 h 910"/>
                <a:gd name="T38" fmla="*/ 176 w 818"/>
                <a:gd name="T39" fmla="*/ 833 h 910"/>
                <a:gd name="T40" fmla="*/ 275 w 818"/>
                <a:gd name="T41" fmla="*/ 863 h 910"/>
                <a:gd name="T42" fmla="*/ 275 w 818"/>
                <a:gd name="T43" fmla="*/ 863 h 910"/>
                <a:gd name="T44" fmla="*/ 267 w 818"/>
                <a:gd name="T45" fmla="*/ 818 h 910"/>
                <a:gd name="T46" fmla="*/ 351 w 818"/>
                <a:gd name="T47" fmla="*/ 703 h 910"/>
                <a:gd name="T48" fmla="*/ 603 w 818"/>
                <a:gd name="T49" fmla="*/ 703 h 910"/>
                <a:gd name="T50" fmla="*/ 657 w 818"/>
                <a:gd name="T51" fmla="*/ 695 h 910"/>
                <a:gd name="T52" fmla="*/ 664 w 818"/>
                <a:gd name="T53" fmla="*/ 650 h 910"/>
                <a:gd name="T54" fmla="*/ 817 w 818"/>
                <a:gd name="T55" fmla="*/ 466 h 910"/>
                <a:gd name="T56" fmla="*/ 779 w 818"/>
                <a:gd name="T57" fmla="*/ 329 h 910"/>
                <a:gd name="T58" fmla="*/ 626 w 818"/>
                <a:gd name="T59" fmla="*/ 352 h 910"/>
                <a:gd name="T60" fmla="*/ 634 w 818"/>
                <a:gd name="T61" fmla="*/ 291 h 910"/>
                <a:gd name="T62" fmla="*/ 657 w 818"/>
                <a:gd name="T63" fmla="*/ 145 h 910"/>
                <a:gd name="T64" fmla="*/ 649 w 818"/>
                <a:gd name="T65" fmla="*/ 92 h 910"/>
                <a:gd name="T66" fmla="*/ 649 w 818"/>
                <a:gd name="T67" fmla="*/ 92 h 910"/>
                <a:gd name="T68" fmla="*/ 550 w 818"/>
                <a:gd name="T69" fmla="*/ 122 h 910"/>
                <a:gd name="T70" fmla="*/ 535 w 818"/>
                <a:gd name="T71" fmla="*/ 77 h 910"/>
                <a:gd name="T72" fmla="*/ 443 w 818"/>
                <a:gd name="T73" fmla="*/ 77 h 910"/>
                <a:gd name="T74" fmla="*/ 412 w 818"/>
                <a:gd name="T75" fmla="*/ 39 h 910"/>
                <a:gd name="T76" fmla="*/ 389 w 818"/>
                <a:gd name="T77" fmla="*/ 0 h 910"/>
                <a:gd name="T78" fmla="*/ 389 w 818"/>
                <a:gd name="T79" fmla="*/ 0 h 910"/>
                <a:gd name="T80" fmla="*/ 313 w 818"/>
                <a:gd name="T81" fmla="*/ 39 h 910"/>
                <a:gd name="T82" fmla="*/ 313 w 818"/>
                <a:gd name="T83" fmla="*/ 39 h 910"/>
                <a:gd name="T84" fmla="*/ 260 w 818"/>
                <a:gd name="T85" fmla="*/ 92 h 910"/>
                <a:gd name="T86" fmla="*/ 244 w 818"/>
                <a:gd name="T87" fmla="*/ 130 h 910"/>
                <a:gd name="T88" fmla="*/ 237 w 818"/>
                <a:gd name="T89" fmla="*/ 161 h 910"/>
                <a:gd name="T90" fmla="*/ 221 w 818"/>
                <a:gd name="T91" fmla="*/ 176 h 910"/>
                <a:gd name="T92" fmla="*/ 206 w 818"/>
                <a:gd name="T93" fmla="*/ 222 h 910"/>
                <a:gd name="T94" fmla="*/ 206 w 818"/>
                <a:gd name="T95" fmla="*/ 252 h 910"/>
                <a:gd name="T96" fmla="*/ 214 w 818"/>
                <a:gd name="T97" fmla="*/ 275 h 910"/>
                <a:gd name="T98" fmla="*/ 191 w 818"/>
                <a:gd name="T99" fmla="*/ 321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8" h="910">
                  <a:moveTo>
                    <a:pt x="191" y="321"/>
                  </a:moveTo>
                  <a:lnTo>
                    <a:pt x="191" y="321"/>
                  </a:lnTo>
                  <a:cubicBezTo>
                    <a:pt x="199" y="336"/>
                    <a:pt x="206" y="352"/>
                    <a:pt x="206" y="367"/>
                  </a:cubicBezTo>
                  <a:cubicBezTo>
                    <a:pt x="199" y="390"/>
                    <a:pt x="176" y="405"/>
                    <a:pt x="160" y="420"/>
                  </a:cubicBezTo>
                  <a:cubicBezTo>
                    <a:pt x="160" y="420"/>
                    <a:pt x="160" y="466"/>
                    <a:pt x="160" y="474"/>
                  </a:cubicBezTo>
                  <a:cubicBezTo>
                    <a:pt x="160" y="481"/>
                    <a:pt x="199" y="566"/>
                    <a:pt x="199" y="566"/>
                  </a:cubicBezTo>
                  <a:cubicBezTo>
                    <a:pt x="191" y="573"/>
                    <a:pt x="176" y="573"/>
                    <a:pt x="168" y="581"/>
                  </a:cubicBezTo>
                  <a:cubicBezTo>
                    <a:pt x="160" y="589"/>
                    <a:pt x="176" y="604"/>
                    <a:pt x="176" y="611"/>
                  </a:cubicBezTo>
                  <a:cubicBezTo>
                    <a:pt x="168" y="627"/>
                    <a:pt x="153" y="627"/>
                    <a:pt x="153" y="642"/>
                  </a:cubicBezTo>
                  <a:cubicBezTo>
                    <a:pt x="153" y="650"/>
                    <a:pt x="183" y="657"/>
                    <a:pt x="176" y="665"/>
                  </a:cubicBezTo>
                  <a:cubicBezTo>
                    <a:pt x="168" y="688"/>
                    <a:pt x="145" y="688"/>
                    <a:pt x="122" y="695"/>
                  </a:cubicBezTo>
                  <a:lnTo>
                    <a:pt x="53" y="634"/>
                  </a:lnTo>
                  <a:cubicBezTo>
                    <a:pt x="53" y="642"/>
                    <a:pt x="38" y="688"/>
                    <a:pt x="38" y="688"/>
                  </a:cubicBezTo>
                  <a:lnTo>
                    <a:pt x="38" y="688"/>
                  </a:lnTo>
                  <a:cubicBezTo>
                    <a:pt x="31" y="695"/>
                    <a:pt x="15" y="703"/>
                    <a:pt x="8" y="718"/>
                  </a:cubicBezTo>
                  <a:cubicBezTo>
                    <a:pt x="0" y="726"/>
                    <a:pt x="15" y="726"/>
                    <a:pt x="15" y="733"/>
                  </a:cubicBezTo>
                  <a:cubicBezTo>
                    <a:pt x="38" y="787"/>
                    <a:pt x="38" y="856"/>
                    <a:pt x="76" y="894"/>
                  </a:cubicBezTo>
                  <a:cubicBezTo>
                    <a:pt x="92" y="909"/>
                    <a:pt x="99" y="856"/>
                    <a:pt x="114" y="848"/>
                  </a:cubicBezTo>
                  <a:cubicBezTo>
                    <a:pt x="122" y="841"/>
                    <a:pt x="137" y="856"/>
                    <a:pt x="145" y="848"/>
                  </a:cubicBezTo>
                  <a:cubicBezTo>
                    <a:pt x="153" y="848"/>
                    <a:pt x="160" y="833"/>
                    <a:pt x="176" y="833"/>
                  </a:cubicBezTo>
                  <a:cubicBezTo>
                    <a:pt x="199" y="841"/>
                    <a:pt x="252" y="863"/>
                    <a:pt x="275" y="863"/>
                  </a:cubicBezTo>
                  <a:lnTo>
                    <a:pt x="275" y="863"/>
                  </a:lnTo>
                  <a:cubicBezTo>
                    <a:pt x="275" y="841"/>
                    <a:pt x="275" y="825"/>
                    <a:pt x="267" y="818"/>
                  </a:cubicBezTo>
                  <a:cubicBezTo>
                    <a:pt x="221" y="764"/>
                    <a:pt x="298" y="718"/>
                    <a:pt x="351" y="703"/>
                  </a:cubicBezTo>
                  <a:cubicBezTo>
                    <a:pt x="397" y="695"/>
                    <a:pt x="581" y="627"/>
                    <a:pt x="603" y="703"/>
                  </a:cubicBezTo>
                  <a:cubicBezTo>
                    <a:pt x="619" y="772"/>
                    <a:pt x="642" y="726"/>
                    <a:pt x="657" y="695"/>
                  </a:cubicBezTo>
                  <a:cubicBezTo>
                    <a:pt x="664" y="688"/>
                    <a:pt x="664" y="650"/>
                    <a:pt x="664" y="650"/>
                  </a:cubicBezTo>
                  <a:cubicBezTo>
                    <a:pt x="687" y="726"/>
                    <a:pt x="810" y="512"/>
                    <a:pt x="817" y="466"/>
                  </a:cubicBezTo>
                  <a:cubicBezTo>
                    <a:pt x="817" y="413"/>
                    <a:pt x="817" y="367"/>
                    <a:pt x="779" y="329"/>
                  </a:cubicBezTo>
                  <a:cubicBezTo>
                    <a:pt x="733" y="275"/>
                    <a:pt x="672" y="344"/>
                    <a:pt x="626" y="352"/>
                  </a:cubicBezTo>
                  <a:cubicBezTo>
                    <a:pt x="573" y="367"/>
                    <a:pt x="611" y="306"/>
                    <a:pt x="634" y="291"/>
                  </a:cubicBezTo>
                  <a:cubicBezTo>
                    <a:pt x="657" y="268"/>
                    <a:pt x="657" y="183"/>
                    <a:pt x="657" y="145"/>
                  </a:cubicBezTo>
                  <a:cubicBezTo>
                    <a:pt x="657" y="138"/>
                    <a:pt x="649" y="115"/>
                    <a:pt x="649" y="92"/>
                  </a:cubicBezTo>
                  <a:lnTo>
                    <a:pt x="649" y="92"/>
                  </a:lnTo>
                  <a:cubicBezTo>
                    <a:pt x="634" y="100"/>
                    <a:pt x="565" y="130"/>
                    <a:pt x="550" y="122"/>
                  </a:cubicBezTo>
                  <a:cubicBezTo>
                    <a:pt x="535" y="115"/>
                    <a:pt x="550" y="84"/>
                    <a:pt x="535" y="77"/>
                  </a:cubicBezTo>
                  <a:cubicBezTo>
                    <a:pt x="504" y="69"/>
                    <a:pt x="473" y="92"/>
                    <a:pt x="443" y="77"/>
                  </a:cubicBezTo>
                  <a:cubicBezTo>
                    <a:pt x="428" y="69"/>
                    <a:pt x="420" y="54"/>
                    <a:pt x="412" y="39"/>
                  </a:cubicBezTo>
                  <a:cubicBezTo>
                    <a:pt x="405" y="23"/>
                    <a:pt x="397" y="8"/>
                    <a:pt x="389" y="0"/>
                  </a:cubicBezTo>
                  <a:lnTo>
                    <a:pt x="389" y="0"/>
                  </a:lnTo>
                  <a:cubicBezTo>
                    <a:pt x="313" y="39"/>
                    <a:pt x="313" y="39"/>
                    <a:pt x="313" y="39"/>
                  </a:cubicBezTo>
                  <a:lnTo>
                    <a:pt x="313" y="39"/>
                  </a:lnTo>
                  <a:cubicBezTo>
                    <a:pt x="298" y="54"/>
                    <a:pt x="275" y="69"/>
                    <a:pt x="260" y="92"/>
                  </a:cubicBezTo>
                  <a:cubicBezTo>
                    <a:pt x="252" y="100"/>
                    <a:pt x="252" y="115"/>
                    <a:pt x="244" y="130"/>
                  </a:cubicBezTo>
                  <a:cubicBezTo>
                    <a:pt x="244" y="138"/>
                    <a:pt x="244" y="153"/>
                    <a:pt x="237" y="161"/>
                  </a:cubicBezTo>
                  <a:cubicBezTo>
                    <a:pt x="237" y="168"/>
                    <a:pt x="229" y="168"/>
                    <a:pt x="221" y="176"/>
                  </a:cubicBezTo>
                  <a:cubicBezTo>
                    <a:pt x="214" y="191"/>
                    <a:pt x="206" y="206"/>
                    <a:pt x="206" y="222"/>
                  </a:cubicBezTo>
                  <a:cubicBezTo>
                    <a:pt x="199" y="229"/>
                    <a:pt x="199" y="245"/>
                    <a:pt x="206" y="252"/>
                  </a:cubicBezTo>
                  <a:cubicBezTo>
                    <a:pt x="206" y="260"/>
                    <a:pt x="214" y="268"/>
                    <a:pt x="214" y="275"/>
                  </a:cubicBezTo>
                  <a:cubicBezTo>
                    <a:pt x="206" y="291"/>
                    <a:pt x="199" y="306"/>
                    <a:pt x="191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6" name="Freeform 168"/>
            <p:cNvSpPr>
              <a:spLocks noChangeArrowheads="1"/>
            </p:cNvSpPr>
            <p:nvPr/>
          </p:nvSpPr>
          <p:spPr bwMode="auto">
            <a:xfrm>
              <a:off x="4401851" y="6049963"/>
              <a:ext cx="247634" cy="247650"/>
            </a:xfrm>
            <a:custGeom>
              <a:avLst/>
              <a:gdLst>
                <a:gd name="T0" fmla="*/ 0 w 688"/>
                <a:gd name="T1" fmla="*/ 145 h 689"/>
                <a:gd name="T2" fmla="*/ 0 w 688"/>
                <a:gd name="T3" fmla="*/ 145 h 689"/>
                <a:gd name="T4" fmla="*/ 46 w 688"/>
                <a:gd name="T5" fmla="*/ 199 h 689"/>
                <a:gd name="T6" fmla="*/ 53 w 688"/>
                <a:gd name="T7" fmla="*/ 298 h 689"/>
                <a:gd name="T8" fmla="*/ 107 w 688"/>
                <a:gd name="T9" fmla="*/ 359 h 689"/>
                <a:gd name="T10" fmla="*/ 84 w 688"/>
                <a:gd name="T11" fmla="*/ 398 h 689"/>
                <a:gd name="T12" fmla="*/ 107 w 688"/>
                <a:gd name="T13" fmla="*/ 459 h 689"/>
                <a:gd name="T14" fmla="*/ 152 w 688"/>
                <a:gd name="T15" fmla="*/ 527 h 689"/>
                <a:gd name="T16" fmla="*/ 152 w 688"/>
                <a:gd name="T17" fmla="*/ 527 h 689"/>
                <a:gd name="T18" fmla="*/ 236 w 688"/>
                <a:gd name="T19" fmla="*/ 504 h 689"/>
                <a:gd name="T20" fmla="*/ 244 w 688"/>
                <a:gd name="T21" fmla="*/ 520 h 689"/>
                <a:gd name="T22" fmla="*/ 275 w 688"/>
                <a:gd name="T23" fmla="*/ 520 h 689"/>
                <a:gd name="T24" fmla="*/ 351 w 688"/>
                <a:gd name="T25" fmla="*/ 588 h 689"/>
                <a:gd name="T26" fmla="*/ 405 w 688"/>
                <a:gd name="T27" fmla="*/ 604 h 689"/>
                <a:gd name="T28" fmla="*/ 389 w 688"/>
                <a:gd name="T29" fmla="*/ 627 h 689"/>
                <a:gd name="T30" fmla="*/ 389 w 688"/>
                <a:gd name="T31" fmla="*/ 657 h 689"/>
                <a:gd name="T32" fmla="*/ 420 w 688"/>
                <a:gd name="T33" fmla="*/ 657 h 689"/>
                <a:gd name="T34" fmla="*/ 458 w 688"/>
                <a:gd name="T35" fmla="*/ 688 h 689"/>
                <a:gd name="T36" fmla="*/ 527 w 688"/>
                <a:gd name="T37" fmla="*/ 665 h 689"/>
                <a:gd name="T38" fmla="*/ 565 w 688"/>
                <a:gd name="T39" fmla="*/ 680 h 689"/>
                <a:gd name="T40" fmla="*/ 565 w 688"/>
                <a:gd name="T41" fmla="*/ 680 h 689"/>
                <a:gd name="T42" fmla="*/ 588 w 688"/>
                <a:gd name="T43" fmla="*/ 634 h 689"/>
                <a:gd name="T44" fmla="*/ 580 w 688"/>
                <a:gd name="T45" fmla="*/ 611 h 689"/>
                <a:gd name="T46" fmla="*/ 580 w 688"/>
                <a:gd name="T47" fmla="*/ 581 h 689"/>
                <a:gd name="T48" fmla="*/ 595 w 688"/>
                <a:gd name="T49" fmla="*/ 535 h 689"/>
                <a:gd name="T50" fmla="*/ 611 w 688"/>
                <a:gd name="T51" fmla="*/ 520 h 689"/>
                <a:gd name="T52" fmla="*/ 618 w 688"/>
                <a:gd name="T53" fmla="*/ 489 h 689"/>
                <a:gd name="T54" fmla="*/ 634 w 688"/>
                <a:gd name="T55" fmla="*/ 451 h 689"/>
                <a:gd name="T56" fmla="*/ 687 w 688"/>
                <a:gd name="T57" fmla="*/ 398 h 689"/>
                <a:gd name="T58" fmla="*/ 687 w 688"/>
                <a:gd name="T59" fmla="*/ 398 h 689"/>
                <a:gd name="T60" fmla="*/ 664 w 688"/>
                <a:gd name="T61" fmla="*/ 390 h 689"/>
                <a:gd name="T62" fmla="*/ 657 w 688"/>
                <a:gd name="T63" fmla="*/ 352 h 689"/>
                <a:gd name="T64" fmla="*/ 641 w 688"/>
                <a:gd name="T65" fmla="*/ 344 h 689"/>
                <a:gd name="T66" fmla="*/ 649 w 688"/>
                <a:gd name="T67" fmla="*/ 321 h 689"/>
                <a:gd name="T68" fmla="*/ 618 w 688"/>
                <a:gd name="T69" fmla="*/ 298 h 689"/>
                <a:gd name="T70" fmla="*/ 611 w 688"/>
                <a:gd name="T71" fmla="*/ 245 h 689"/>
                <a:gd name="T72" fmla="*/ 557 w 688"/>
                <a:gd name="T73" fmla="*/ 206 h 689"/>
                <a:gd name="T74" fmla="*/ 557 w 688"/>
                <a:gd name="T75" fmla="*/ 206 h 689"/>
                <a:gd name="T76" fmla="*/ 527 w 688"/>
                <a:gd name="T77" fmla="*/ 252 h 689"/>
                <a:gd name="T78" fmla="*/ 496 w 688"/>
                <a:gd name="T79" fmla="*/ 229 h 689"/>
                <a:gd name="T80" fmla="*/ 481 w 688"/>
                <a:gd name="T81" fmla="*/ 168 h 689"/>
                <a:gd name="T82" fmla="*/ 427 w 688"/>
                <a:gd name="T83" fmla="*/ 130 h 689"/>
                <a:gd name="T84" fmla="*/ 412 w 688"/>
                <a:gd name="T85" fmla="*/ 46 h 689"/>
                <a:gd name="T86" fmla="*/ 412 w 688"/>
                <a:gd name="T87" fmla="*/ 46 h 689"/>
                <a:gd name="T88" fmla="*/ 336 w 688"/>
                <a:gd name="T89" fmla="*/ 0 h 689"/>
                <a:gd name="T90" fmla="*/ 252 w 688"/>
                <a:gd name="T91" fmla="*/ 23 h 689"/>
                <a:gd name="T92" fmla="*/ 259 w 688"/>
                <a:gd name="T93" fmla="*/ 38 h 689"/>
                <a:gd name="T94" fmla="*/ 137 w 688"/>
                <a:gd name="T95" fmla="*/ 69 h 689"/>
                <a:gd name="T96" fmla="*/ 107 w 688"/>
                <a:gd name="T97" fmla="*/ 107 h 689"/>
                <a:gd name="T98" fmla="*/ 61 w 688"/>
                <a:gd name="T99" fmla="*/ 84 h 689"/>
                <a:gd name="T100" fmla="*/ 30 w 688"/>
                <a:gd name="T101" fmla="*/ 92 h 689"/>
                <a:gd name="T102" fmla="*/ 38 w 688"/>
                <a:gd name="T103" fmla="*/ 130 h 689"/>
                <a:gd name="T104" fmla="*/ 0 w 688"/>
                <a:gd name="T105" fmla="*/ 145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8" h="689">
                  <a:moveTo>
                    <a:pt x="0" y="145"/>
                  </a:moveTo>
                  <a:lnTo>
                    <a:pt x="0" y="145"/>
                  </a:lnTo>
                  <a:cubicBezTo>
                    <a:pt x="15" y="161"/>
                    <a:pt x="38" y="176"/>
                    <a:pt x="46" y="199"/>
                  </a:cubicBezTo>
                  <a:cubicBezTo>
                    <a:pt x="61" y="229"/>
                    <a:pt x="46" y="268"/>
                    <a:pt x="53" y="298"/>
                  </a:cubicBezTo>
                  <a:cubicBezTo>
                    <a:pt x="61" y="321"/>
                    <a:pt x="99" y="329"/>
                    <a:pt x="107" y="359"/>
                  </a:cubicBezTo>
                  <a:cubicBezTo>
                    <a:pt x="114" y="375"/>
                    <a:pt x="84" y="382"/>
                    <a:pt x="84" y="398"/>
                  </a:cubicBezTo>
                  <a:cubicBezTo>
                    <a:pt x="84" y="420"/>
                    <a:pt x="99" y="443"/>
                    <a:pt x="107" y="459"/>
                  </a:cubicBezTo>
                  <a:cubicBezTo>
                    <a:pt x="122" y="481"/>
                    <a:pt x="137" y="504"/>
                    <a:pt x="152" y="527"/>
                  </a:cubicBezTo>
                  <a:lnTo>
                    <a:pt x="152" y="527"/>
                  </a:lnTo>
                  <a:cubicBezTo>
                    <a:pt x="183" y="520"/>
                    <a:pt x="206" y="504"/>
                    <a:pt x="236" y="504"/>
                  </a:cubicBezTo>
                  <a:cubicBezTo>
                    <a:pt x="244" y="504"/>
                    <a:pt x="236" y="520"/>
                    <a:pt x="244" y="520"/>
                  </a:cubicBezTo>
                  <a:cubicBezTo>
                    <a:pt x="252" y="527"/>
                    <a:pt x="267" y="512"/>
                    <a:pt x="275" y="520"/>
                  </a:cubicBezTo>
                  <a:cubicBezTo>
                    <a:pt x="305" y="535"/>
                    <a:pt x="321" y="565"/>
                    <a:pt x="351" y="588"/>
                  </a:cubicBezTo>
                  <a:cubicBezTo>
                    <a:pt x="366" y="596"/>
                    <a:pt x="389" y="588"/>
                    <a:pt x="405" y="604"/>
                  </a:cubicBezTo>
                  <a:cubicBezTo>
                    <a:pt x="412" y="611"/>
                    <a:pt x="389" y="619"/>
                    <a:pt x="389" y="627"/>
                  </a:cubicBezTo>
                  <a:cubicBezTo>
                    <a:pt x="382" y="634"/>
                    <a:pt x="382" y="650"/>
                    <a:pt x="389" y="657"/>
                  </a:cubicBezTo>
                  <a:cubicBezTo>
                    <a:pt x="397" y="665"/>
                    <a:pt x="412" y="657"/>
                    <a:pt x="420" y="657"/>
                  </a:cubicBezTo>
                  <a:cubicBezTo>
                    <a:pt x="435" y="665"/>
                    <a:pt x="443" y="680"/>
                    <a:pt x="458" y="688"/>
                  </a:cubicBezTo>
                  <a:cubicBezTo>
                    <a:pt x="481" y="688"/>
                    <a:pt x="504" y="665"/>
                    <a:pt x="527" y="665"/>
                  </a:cubicBezTo>
                  <a:cubicBezTo>
                    <a:pt x="542" y="665"/>
                    <a:pt x="550" y="673"/>
                    <a:pt x="565" y="680"/>
                  </a:cubicBezTo>
                  <a:lnTo>
                    <a:pt x="565" y="680"/>
                  </a:lnTo>
                  <a:cubicBezTo>
                    <a:pt x="573" y="665"/>
                    <a:pt x="580" y="650"/>
                    <a:pt x="588" y="634"/>
                  </a:cubicBezTo>
                  <a:cubicBezTo>
                    <a:pt x="588" y="627"/>
                    <a:pt x="580" y="619"/>
                    <a:pt x="580" y="611"/>
                  </a:cubicBezTo>
                  <a:cubicBezTo>
                    <a:pt x="573" y="604"/>
                    <a:pt x="573" y="588"/>
                    <a:pt x="580" y="581"/>
                  </a:cubicBezTo>
                  <a:cubicBezTo>
                    <a:pt x="580" y="565"/>
                    <a:pt x="588" y="550"/>
                    <a:pt x="595" y="535"/>
                  </a:cubicBezTo>
                  <a:cubicBezTo>
                    <a:pt x="603" y="527"/>
                    <a:pt x="611" y="527"/>
                    <a:pt x="611" y="520"/>
                  </a:cubicBezTo>
                  <a:cubicBezTo>
                    <a:pt x="618" y="512"/>
                    <a:pt x="618" y="497"/>
                    <a:pt x="618" y="489"/>
                  </a:cubicBezTo>
                  <a:cubicBezTo>
                    <a:pt x="626" y="474"/>
                    <a:pt x="626" y="459"/>
                    <a:pt x="634" y="451"/>
                  </a:cubicBezTo>
                  <a:cubicBezTo>
                    <a:pt x="649" y="428"/>
                    <a:pt x="672" y="413"/>
                    <a:pt x="687" y="398"/>
                  </a:cubicBezTo>
                  <a:lnTo>
                    <a:pt x="687" y="398"/>
                  </a:lnTo>
                  <a:cubicBezTo>
                    <a:pt x="680" y="398"/>
                    <a:pt x="672" y="398"/>
                    <a:pt x="664" y="390"/>
                  </a:cubicBezTo>
                  <a:cubicBezTo>
                    <a:pt x="664" y="375"/>
                    <a:pt x="664" y="359"/>
                    <a:pt x="657" y="352"/>
                  </a:cubicBezTo>
                  <a:cubicBezTo>
                    <a:pt x="657" y="344"/>
                    <a:pt x="641" y="352"/>
                    <a:pt x="641" y="344"/>
                  </a:cubicBezTo>
                  <a:cubicBezTo>
                    <a:pt x="641" y="336"/>
                    <a:pt x="649" y="329"/>
                    <a:pt x="649" y="321"/>
                  </a:cubicBezTo>
                  <a:cubicBezTo>
                    <a:pt x="641" y="313"/>
                    <a:pt x="618" y="306"/>
                    <a:pt x="618" y="298"/>
                  </a:cubicBezTo>
                  <a:cubicBezTo>
                    <a:pt x="611" y="283"/>
                    <a:pt x="618" y="260"/>
                    <a:pt x="611" y="245"/>
                  </a:cubicBezTo>
                  <a:cubicBezTo>
                    <a:pt x="595" y="222"/>
                    <a:pt x="573" y="222"/>
                    <a:pt x="557" y="206"/>
                  </a:cubicBezTo>
                  <a:lnTo>
                    <a:pt x="557" y="206"/>
                  </a:lnTo>
                  <a:cubicBezTo>
                    <a:pt x="550" y="222"/>
                    <a:pt x="550" y="245"/>
                    <a:pt x="527" y="252"/>
                  </a:cubicBezTo>
                  <a:cubicBezTo>
                    <a:pt x="519" y="260"/>
                    <a:pt x="504" y="237"/>
                    <a:pt x="496" y="229"/>
                  </a:cubicBezTo>
                  <a:cubicBezTo>
                    <a:pt x="488" y="206"/>
                    <a:pt x="488" y="184"/>
                    <a:pt x="481" y="168"/>
                  </a:cubicBezTo>
                  <a:cubicBezTo>
                    <a:pt x="466" y="145"/>
                    <a:pt x="435" y="145"/>
                    <a:pt x="427" y="130"/>
                  </a:cubicBezTo>
                  <a:cubicBezTo>
                    <a:pt x="412" y="107"/>
                    <a:pt x="412" y="77"/>
                    <a:pt x="412" y="46"/>
                  </a:cubicBezTo>
                  <a:lnTo>
                    <a:pt x="412" y="46"/>
                  </a:lnTo>
                  <a:cubicBezTo>
                    <a:pt x="382" y="31"/>
                    <a:pt x="366" y="8"/>
                    <a:pt x="336" y="0"/>
                  </a:cubicBezTo>
                  <a:cubicBezTo>
                    <a:pt x="305" y="0"/>
                    <a:pt x="282" y="8"/>
                    <a:pt x="252" y="23"/>
                  </a:cubicBezTo>
                  <a:cubicBezTo>
                    <a:pt x="244" y="23"/>
                    <a:pt x="267" y="38"/>
                    <a:pt x="259" y="38"/>
                  </a:cubicBezTo>
                  <a:cubicBezTo>
                    <a:pt x="221" y="61"/>
                    <a:pt x="175" y="54"/>
                    <a:pt x="137" y="69"/>
                  </a:cubicBezTo>
                  <a:cubicBezTo>
                    <a:pt x="122" y="77"/>
                    <a:pt x="122" y="100"/>
                    <a:pt x="107" y="107"/>
                  </a:cubicBezTo>
                  <a:cubicBezTo>
                    <a:pt x="91" y="107"/>
                    <a:pt x="76" y="84"/>
                    <a:pt x="61" y="84"/>
                  </a:cubicBezTo>
                  <a:cubicBezTo>
                    <a:pt x="53" y="84"/>
                    <a:pt x="30" y="84"/>
                    <a:pt x="30" y="92"/>
                  </a:cubicBezTo>
                  <a:cubicBezTo>
                    <a:pt x="23" y="100"/>
                    <a:pt x="46" y="115"/>
                    <a:pt x="38" y="130"/>
                  </a:cubicBezTo>
                  <a:cubicBezTo>
                    <a:pt x="30" y="138"/>
                    <a:pt x="15" y="138"/>
                    <a:pt x="0" y="14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7" name="Freeform 169"/>
            <p:cNvSpPr>
              <a:spLocks noChangeArrowheads="1"/>
            </p:cNvSpPr>
            <p:nvPr/>
          </p:nvSpPr>
          <p:spPr bwMode="auto">
            <a:xfrm>
              <a:off x="4671709" y="6003925"/>
              <a:ext cx="231760" cy="357188"/>
            </a:xfrm>
            <a:custGeom>
              <a:avLst/>
              <a:gdLst>
                <a:gd name="T0" fmla="*/ 275 w 643"/>
                <a:gd name="T1" fmla="*/ 581 h 994"/>
                <a:gd name="T2" fmla="*/ 275 w 643"/>
                <a:gd name="T3" fmla="*/ 581 h 994"/>
                <a:gd name="T4" fmla="*/ 176 w 643"/>
                <a:gd name="T5" fmla="*/ 611 h 994"/>
                <a:gd name="T6" fmla="*/ 161 w 643"/>
                <a:gd name="T7" fmla="*/ 566 h 994"/>
                <a:gd name="T8" fmla="*/ 69 w 643"/>
                <a:gd name="T9" fmla="*/ 566 h 994"/>
                <a:gd name="T10" fmla="*/ 38 w 643"/>
                <a:gd name="T11" fmla="*/ 528 h 994"/>
                <a:gd name="T12" fmla="*/ 15 w 643"/>
                <a:gd name="T13" fmla="*/ 489 h 994"/>
                <a:gd name="T14" fmla="*/ 15 w 643"/>
                <a:gd name="T15" fmla="*/ 489 h 994"/>
                <a:gd name="T16" fmla="*/ 0 w 643"/>
                <a:gd name="T17" fmla="*/ 459 h 994"/>
                <a:gd name="T18" fmla="*/ 8 w 643"/>
                <a:gd name="T19" fmla="*/ 413 h 994"/>
                <a:gd name="T20" fmla="*/ 61 w 643"/>
                <a:gd name="T21" fmla="*/ 329 h 994"/>
                <a:gd name="T22" fmla="*/ 61 w 643"/>
                <a:gd name="T23" fmla="*/ 291 h 994"/>
                <a:gd name="T24" fmla="*/ 115 w 643"/>
                <a:gd name="T25" fmla="*/ 237 h 994"/>
                <a:gd name="T26" fmla="*/ 99 w 643"/>
                <a:gd name="T27" fmla="*/ 214 h 994"/>
                <a:gd name="T28" fmla="*/ 92 w 643"/>
                <a:gd name="T29" fmla="*/ 153 h 994"/>
                <a:gd name="T30" fmla="*/ 92 w 643"/>
                <a:gd name="T31" fmla="*/ 153 h 994"/>
                <a:gd name="T32" fmla="*/ 130 w 643"/>
                <a:gd name="T33" fmla="*/ 130 h 994"/>
                <a:gd name="T34" fmla="*/ 161 w 643"/>
                <a:gd name="T35" fmla="*/ 107 h 994"/>
                <a:gd name="T36" fmla="*/ 222 w 643"/>
                <a:gd name="T37" fmla="*/ 138 h 994"/>
                <a:gd name="T38" fmla="*/ 245 w 643"/>
                <a:gd name="T39" fmla="*/ 123 h 994"/>
                <a:gd name="T40" fmla="*/ 268 w 643"/>
                <a:gd name="T41" fmla="*/ 138 h 994"/>
                <a:gd name="T42" fmla="*/ 329 w 643"/>
                <a:gd name="T43" fmla="*/ 107 h 994"/>
                <a:gd name="T44" fmla="*/ 336 w 643"/>
                <a:gd name="T45" fmla="*/ 54 h 994"/>
                <a:gd name="T46" fmla="*/ 367 w 643"/>
                <a:gd name="T47" fmla="*/ 46 h 994"/>
                <a:gd name="T48" fmla="*/ 390 w 643"/>
                <a:gd name="T49" fmla="*/ 0 h 994"/>
                <a:gd name="T50" fmla="*/ 390 w 643"/>
                <a:gd name="T51" fmla="*/ 0 h 994"/>
                <a:gd name="T52" fmla="*/ 451 w 643"/>
                <a:gd name="T53" fmla="*/ 153 h 994"/>
                <a:gd name="T54" fmla="*/ 543 w 643"/>
                <a:gd name="T55" fmla="*/ 321 h 994"/>
                <a:gd name="T56" fmla="*/ 558 w 643"/>
                <a:gd name="T57" fmla="*/ 634 h 994"/>
                <a:gd name="T58" fmla="*/ 573 w 643"/>
                <a:gd name="T59" fmla="*/ 734 h 994"/>
                <a:gd name="T60" fmla="*/ 520 w 643"/>
                <a:gd name="T61" fmla="*/ 917 h 994"/>
                <a:gd name="T62" fmla="*/ 428 w 643"/>
                <a:gd name="T63" fmla="*/ 795 h 994"/>
                <a:gd name="T64" fmla="*/ 459 w 643"/>
                <a:gd name="T65" fmla="*/ 619 h 994"/>
                <a:gd name="T66" fmla="*/ 275 w 643"/>
                <a:gd name="T67" fmla="*/ 298 h 994"/>
                <a:gd name="T68" fmla="*/ 191 w 643"/>
                <a:gd name="T69" fmla="*/ 336 h 994"/>
                <a:gd name="T70" fmla="*/ 229 w 643"/>
                <a:gd name="T71" fmla="*/ 413 h 994"/>
                <a:gd name="T72" fmla="*/ 275 w 643"/>
                <a:gd name="T73" fmla="*/ 581 h 9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3" h="994">
                  <a:moveTo>
                    <a:pt x="275" y="581"/>
                  </a:moveTo>
                  <a:lnTo>
                    <a:pt x="275" y="581"/>
                  </a:lnTo>
                  <a:cubicBezTo>
                    <a:pt x="260" y="589"/>
                    <a:pt x="191" y="619"/>
                    <a:pt x="176" y="611"/>
                  </a:cubicBezTo>
                  <a:cubicBezTo>
                    <a:pt x="161" y="604"/>
                    <a:pt x="176" y="573"/>
                    <a:pt x="161" y="566"/>
                  </a:cubicBezTo>
                  <a:cubicBezTo>
                    <a:pt x="130" y="558"/>
                    <a:pt x="99" y="581"/>
                    <a:pt x="69" y="566"/>
                  </a:cubicBezTo>
                  <a:cubicBezTo>
                    <a:pt x="54" y="558"/>
                    <a:pt x="46" y="543"/>
                    <a:pt x="38" y="528"/>
                  </a:cubicBezTo>
                  <a:cubicBezTo>
                    <a:pt x="31" y="512"/>
                    <a:pt x="23" y="497"/>
                    <a:pt x="15" y="489"/>
                  </a:cubicBezTo>
                  <a:lnTo>
                    <a:pt x="15" y="489"/>
                  </a:lnTo>
                  <a:cubicBezTo>
                    <a:pt x="15" y="474"/>
                    <a:pt x="8" y="466"/>
                    <a:pt x="0" y="459"/>
                  </a:cubicBezTo>
                  <a:cubicBezTo>
                    <a:pt x="0" y="443"/>
                    <a:pt x="0" y="420"/>
                    <a:pt x="8" y="413"/>
                  </a:cubicBezTo>
                  <a:cubicBezTo>
                    <a:pt x="23" y="382"/>
                    <a:pt x="46" y="359"/>
                    <a:pt x="61" y="329"/>
                  </a:cubicBezTo>
                  <a:cubicBezTo>
                    <a:pt x="69" y="321"/>
                    <a:pt x="54" y="306"/>
                    <a:pt x="61" y="291"/>
                  </a:cubicBezTo>
                  <a:cubicBezTo>
                    <a:pt x="69" y="268"/>
                    <a:pt x="99" y="260"/>
                    <a:pt x="115" y="237"/>
                  </a:cubicBezTo>
                  <a:cubicBezTo>
                    <a:pt x="115" y="230"/>
                    <a:pt x="99" y="222"/>
                    <a:pt x="99" y="214"/>
                  </a:cubicBezTo>
                  <a:cubicBezTo>
                    <a:pt x="92" y="191"/>
                    <a:pt x="92" y="176"/>
                    <a:pt x="92" y="153"/>
                  </a:cubicBezTo>
                  <a:lnTo>
                    <a:pt x="92" y="153"/>
                  </a:lnTo>
                  <a:cubicBezTo>
                    <a:pt x="107" y="146"/>
                    <a:pt x="115" y="138"/>
                    <a:pt x="130" y="130"/>
                  </a:cubicBezTo>
                  <a:cubicBezTo>
                    <a:pt x="138" y="123"/>
                    <a:pt x="145" y="107"/>
                    <a:pt x="161" y="107"/>
                  </a:cubicBezTo>
                  <a:cubicBezTo>
                    <a:pt x="184" y="115"/>
                    <a:pt x="199" y="130"/>
                    <a:pt x="222" y="138"/>
                  </a:cubicBezTo>
                  <a:cubicBezTo>
                    <a:pt x="229" y="138"/>
                    <a:pt x="237" y="123"/>
                    <a:pt x="245" y="123"/>
                  </a:cubicBezTo>
                  <a:cubicBezTo>
                    <a:pt x="252" y="123"/>
                    <a:pt x="260" y="146"/>
                    <a:pt x="268" y="138"/>
                  </a:cubicBezTo>
                  <a:cubicBezTo>
                    <a:pt x="290" y="138"/>
                    <a:pt x="313" y="123"/>
                    <a:pt x="329" y="107"/>
                  </a:cubicBezTo>
                  <a:cubicBezTo>
                    <a:pt x="336" y="92"/>
                    <a:pt x="329" y="69"/>
                    <a:pt x="336" y="54"/>
                  </a:cubicBezTo>
                  <a:cubicBezTo>
                    <a:pt x="344" y="46"/>
                    <a:pt x="359" y="54"/>
                    <a:pt x="367" y="46"/>
                  </a:cubicBezTo>
                  <a:cubicBezTo>
                    <a:pt x="382" y="31"/>
                    <a:pt x="382" y="23"/>
                    <a:pt x="390" y="0"/>
                  </a:cubicBezTo>
                  <a:lnTo>
                    <a:pt x="390" y="0"/>
                  </a:lnTo>
                  <a:cubicBezTo>
                    <a:pt x="451" y="31"/>
                    <a:pt x="428" y="92"/>
                    <a:pt x="451" y="153"/>
                  </a:cubicBezTo>
                  <a:cubicBezTo>
                    <a:pt x="474" y="214"/>
                    <a:pt x="527" y="253"/>
                    <a:pt x="543" y="321"/>
                  </a:cubicBezTo>
                  <a:cubicBezTo>
                    <a:pt x="565" y="436"/>
                    <a:pt x="642" y="535"/>
                    <a:pt x="558" y="634"/>
                  </a:cubicBezTo>
                  <a:cubicBezTo>
                    <a:pt x="527" y="665"/>
                    <a:pt x="573" y="695"/>
                    <a:pt x="573" y="734"/>
                  </a:cubicBezTo>
                  <a:cubicBezTo>
                    <a:pt x="573" y="764"/>
                    <a:pt x="527" y="879"/>
                    <a:pt x="520" y="917"/>
                  </a:cubicBezTo>
                  <a:cubicBezTo>
                    <a:pt x="497" y="993"/>
                    <a:pt x="459" y="833"/>
                    <a:pt x="428" y="795"/>
                  </a:cubicBezTo>
                  <a:cubicBezTo>
                    <a:pt x="390" y="749"/>
                    <a:pt x="459" y="680"/>
                    <a:pt x="459" y="619"/>
                  </a:cubicBezTo>
                  <a:cubicBezTo>
                    <a:pt x="459" y="451"/>
                    <a:pt x="405" y="375"/>
                    <a:pt x="275" y="298"/>
                  </a:cubicBezTo>
                  <a:cubicBezTo>
                    <a:pt x="214" y="260"/>
                    <a:pt x="237" y="291"/>
                    <a:pt x="191" y="336"/>
                  </a:cubicBezTo>
                  <a:cubicBezTo>
                    <a:pt x="145" y="390"/>
                    <a:pt x="176" y="375"/>
                    <a:pt x="229" y="413"/>
                  </a:cubicBezTo>
                  <a:cubicBezTo>
                    <a:pt x="252" y="436"/>
                    <a:pt x="268" y="520"/>
                    <a:pt x="275" y="58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8" name="Freeform 170"/>
            <p:cNvSpPr>
              <a:spLocks noChangeArrowheads="1"/>
            </p:cNvSpPr>
            <p:nvPr/>
          </p:nvSpPr>
          <p:spPr bwMode="auto">
            <a:xfrm>
              <a:off x="4600276" y="6059489"/>
              <a:ext cx="112706" cy="134937"/>
            </a:xfrm>
            <a:custGeom>
              <a:avLst/>
              <a:gdLst>
                <a:gd name="T0" fmla="*/ 236 w 314"/>
                <a:gd name="T1" fmla="*/ 0 h 376"/>
                <a:gd name="T2" fmla="*/ 236 w 314"/>
                <a:gd name="T3" fmla="*/ 0 h 376"/>
                <a:gd name="T4" fmla="*/ 290 w 314"/>
                <a:gd name="T5" fmla="*/ 0 h 376"/>
                <a:gd name="T6" fmla="*/ 290 w 314"/>
                <a:gd name="T7" fmla="*/ 0 h 376"/>
                <a:gd name="T8" fmla="*/ 297 w 314"/>
                <a:gd name="T9" fmla="*/ 61 h 376"/>
                <a:gd name="T10" fmla="*/ 313 w 314"/>
                <a:gd name="T11" fmla="*/ 84 h 376"/>
                <a:gd name="T12" fmla="*/ 259 w 314"/>
                <a:gd name="T13" fmla="*/ 138 h 376"/>
                <a:gd name="T14" fmla="*/ 259 w 314"/>
                <a:gd name="T15" fmla="*/ 176 h 376"/>
                <a:gd name="T16" fmla="*/ 206 w 314"/>
                <a:gd name="T17" fmla="*/ 260 h 376"/>
                <a:gd name="T18" fmla="*/ 198 w 314"/>
                <a:gd name="T19" fmla="*/ 306 h 376"/>
                <a:gd name="T20" fmla="*/ 213 w 314"/>
                <a:gd name="T21" fmla="*/ 336 h 376"/>
                <a:gd name="T22" fmla="*/ 213 w 314"/>
                <a:gd name="T23" fmla="*/ 336 h 376"/>
                <a:gd name="T24" fmla="*/ 137 w 314"/>
                <a:gd name="T25" fmla="*/ 375 h 376"/>
                <a:gd name="T26" fmla="*/ 137 w 314"/>
                <a:gd name="T27" fmla="*/ 375 h 376"/>
                <a:gd name="T28" fmla="*/ 114 w 314"/>
                <a:gd name="T29" fmla="*/ 367 h 376"/>
                <a:gd name="T30" fmla="*/ 107 w 314"/>
                <a:gd name="T31" fmla="*/ 329 h 376"/>
                <a:gd name="T32" fmla="*/ 91 w 314"/>
                <a:gd name="T33" fmla="*/ 321 h 376"/>
                <a:gd name="T34" fmla="*/ 99 w 314"/>
                <a:gd name="T35" fmla="*/ 298 h 376"/>
                <a:gd name="T36" fmla="*/ 68 w 314"/>
                <a:gd name="T37" fmla="*/ 275 h 376"/>
                <a:gd name="T38" fmla="*/ 61 w 314"/>
                <a:gd name="T39" fmla="*/ 222 h 376"/>
                <a:gd name="T40" fmla="*/ 7 w 314"/>
                <a:gd name="T41" fmla="*/ 183 h 376"/>
                <a:gd name="T42" fmla="*/ 7 w 314"/>
                <a:gd name="T43" fmla="*/ 183 h 376"/>
                <a:gd name="T44" fmla="*/ 0 w 314"/>
                <a:gd name="T45" fmla="*/ 161 h 376"/>
                <a:gd name="T46" fmla="*/ 68 w 314"/>
                <a:gd name="T47" fmla="*/ 130 h 376"/>
                <a:gd name="T48" fmla="*/ 91 w 314"/>
                <a:gd name="T49" fmla="*/ 100 h 376"/>
                <a:gd name="T50" fmla="*/ 152 w 314"/>
                <a:gd name="T51" fmla="*/ 92 h 376"/>
                <a:gd name="T52" fmla="*/ 183 w 314"/>
                <a:gd name="T53" fmla="*/ 61 h 376"/>
                <a:gd name="T54" fmla="*/ 213 w 314"/>
                <a:gd name="T55" fmla="*/ 61 h 376"/>
                <a:gd name="T56" fmla="*/ 236 w 314"/>
                <a:gd name="T57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4" h="376">
                  <a:moveTo>
                    <a:pt x="236" y="0"/>
                  </a:moveTo>
                  <a:lnTo>
                    <a:pt x="236" y="0"/>
                  </a:lnTo>
                  <a:cubicBezTo>
                    <a:pt x="290" y="0"/>
                    <a:pt x="290" y="0"/>
                    <a:pt x="290" y="0"/>
                  </a:cubicBezTo>
                  <a:lnTo>
                    <a:pt x="290" y="0"/>
                  </a:lnTo>
                  <a:cubicBezTo>
                    <a:pt x="290" y="23"/>
                    <a:pt x="290" y="38"/>
                    <a:pt x="297" y="61"/>
                  </a:cubicBezTo>
                  <a:cubicBezTo>
                    <a:pt x="297" y="69"/>
                    <a:pt x="313" y="77"/>
                    <a:pt x="313" y="84"/>
                  </a:cubicBezTo>
                  <a:cubicBezTo>
                    <a:pt x="297" y="107"/>
                    <a:pt x="267" y="115"/>
                    <a:pt x="259" y="138"/>
                  </a:cubicBezTo>
                  <a:cubicBezTo>
                    <a:pt x="252" y="153"/>
                    <a:pt x="267" y="168"/>
                    <a:pt x="259" y="176"/>
                  </a:cubicBezTo>
                  <a:cubicBezTo>
                    <a:pt x="244" y="206"/>
                    <a:pt x="221" y="229"/>
                    <a:pt x="206" y="260"/>
                  </a:cubicBezTo>
                  <a:cubicBezTo>
                    <a:pt x="198" y="267"/>
                    <a:pt x="198" y="290"/>
                    <a:pt x="198" y="306"/>
                  </a:cubicBezTo>
                  <a:cubicBezTo>
                    <a:pt x="206" y="313"/>
                    <a:pt x="213" y="321"/>
                    <a:pt x="213" y="336"/>
                  </a:cubicBezTo>
                  <a:lnTo>
                    <a:pt x="213" y="336"/>
                  </a:lnTo>
                  <a:cubicBezTo>
                    <a:pt x="137" y="375"/>
                    <a:pt x="137" y="375"/>
                    <a:pt x="137" y="375"/>
                  </a:cubicBezTo>
                  <a:lnTo>
                    <a:pt x="137" y="375"/>
                  </a:lnTo>
                  <a:cubicBezTo>
                    <a:pt x="130" y="375"/>
                    <a:pt x="122" y="375"/>
                    <a:pt x="114" y="367"/>
                  </a:cubicBezTo>
                  <a:cubicBezTo>
                    <a:pt x="114" y="352"/>
                    <a:pt x="114" y="336"/>
                    <a:pt x="107" y="329"/>
                  </a:cubicBezTo>
                  <a:cubicBezTo>
                    <a:pt x="107" y="321"/>
                    <a:pt x="91" y="329"/>
                    <a:pt x="91" y="321"/>
                  </a:cubicBezTo>
                  <a:cubicBezTo>
                    <a:pt x="91" y="313"/>
                    <a:pt x="99" y="306"/>
                    <a:pt x="99" y="298"/>
                  </a:cubicBezTo>
                  <a:cubicBezTo>
                    <a:pt x="91" y="290"/>
                    <a:pt x="68" y="283"/>
                    <a:pt x="68" y="275"/>
                  </a:cubicBezTo>
                  <a:cubicBezTo>
                    <a:pt x="61" y="260"/>
                    <a:pt x="68" y="237"/>
                    <a:pt x="61" y="222"/>
                  </a:cubicBezTo>
                  <a:cubicBezTo>
                    <a:pt x="45" y="199"/>
                    <a:pt x="23" y="199"/>
                    <a:pt x="7" y="183"/>
                  </a:cubicBezTo>
                  <a:lnTo>
                    <a:pt x="7" y="183"/>
                  </a:lnTo>
                  <a:cubicBezTo>
                    <a:pt x="7" y="176"/>
                    <a:pt x="0" y="168"/>
                    <a:pt x="0" y="161"/>
                  </a:cubicBezTo>
                  <a:cubicBezTo>
                    <a:pt x="23" y="145"/>
                    <a:pt x="53" y="145"/>
                    <a:pt x="68" y="130"/>
                  </a:cubicBezTo>
                  <a:cubicBezTo>
                    <a:pt x="84" y="122"/>
                    <a:pt x="76" y="100"/>
                    <a:pt x="91" y="100"/>
                  </a:cubicBezTo>
                  <a:cubicBezTo>
                    <a:pt x="114" y="84"/>
                    <a:pt x="137" y="100"/>
                    <a:pt x="152" y="92"/>
                  </a:cubicBezTo>
                  <a:cubicBezTo>
                    <a:pt x="168" y="92"/>
                    <a:pt x="168" y="69"/>
                    <a:pt x="183" y="61"/>
                  </a:cubicBezTo>
                  <a:cubicBezTo>
                    <a:pt x="191" y="61"/>
                    <a:pt x="206" y="69"/>
                    <a:pt x="213" y="61"/>
                  </a:cubicBezTo>
                  <a:cubicBezTo>
                    <a:pt x="229" y="46"/>
                    <a:pt x="229" y="23"/>
                    <a:pt x="23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9" name="Freeform 171"/>
            <p:cNvSpPr>
              <a:spLocks noChangeArrowheads="1"/>
            </p:cNvSpPr>
            <p:nvPr/>
          </p:nvSpPr>
          <p:spPr bwMode="auto">
            <a:xfrm>
              <a:off x="4657422" y="5995988"/>
              <a:ext cx="153978" cy="63500"/>
            </a:xfrm>
            <a:custGeom>
              <a:avLst/>
              <a:gdLst>
                <a:gd name="T0" fmla="*/ 76 w 429"/>
                <a:gd name="T1" fmla="*/ 175 h 176"/>
                <a:gd name="T2" fmla="*/ 76 w 429"/>
                <a:gd name="T3" fmla="*/ 175 h 176"/>
                <a:gd name="T4" fmla="*/ 130 w 429"/>
                <a:gd name="T5" fmla="*/ 175 h 176"/>
                <a:gd name="T6" fmla="*/ 130 w 429"/>
                <a:gd name="T7" fmla="*/ 175 h 176"/>
                <a:gd name="T8" fmla="*/ 168 w 429"/>
                <a:gd name="T9" fmla="*/ 152 h 176"/>
                <a:gd name="T10" fmla="*/ 199 w 429"/>
                <a:gd name="T11" fmla="*/ 129 h 176"/>
                <a:gd name="T12" fmla="*/ 260 w 429"/>
                <a:gd name="T13" fmla="*/ 160 h 176"/>
                <a:gd name="T14" fmla="*/ 283 w 429"/>
                <a:gd name="T15" fmla="*/ 145 h 176"/>
                <a:gd name="T16" fmla="*/ 306 w 429"/>
                <a:gd name="T17" fmla="*/ 160 h 176"/>
                <a:gd name="T18" fmla="*/ 367 w 429"/>
                <a:gd name="T19" fmla="*/ 129 h 176"/>
                <a:gd name="T20" fmla="*/ 374 w 429"/>
                <a:gd name="T21" fmla="*/ 76 h 176"/>
                <a:gd name="T22" fmla="*/ 405 w 429"/>
                <a:gd name="T23" fmla="*/ 68 h 176"/>
                <a:gd name="T24" fmla="*/ 428 w 429"/>
                <a:gd name="T25" fmla="*/ 22 h 176"/>
                <a:gd name="T26" fmla="*/ 428 w 429"/>
                <a:gd name="T27" fmla="*/ 22 h 176"/>
                <a:gd name="T28" fmla="*/ 389 w 429"/>
                <a:gd name="T29" fmla="*/ 15 h 176"/>
                <a:gd name="T30" fmla="*/ 122 w 429"/>
                <a:gd name="T31" fmla="*/ 38 h 176"/>
                <a:gd name="T32" fmla="*/ 0 w 429"/>
                <a:gd name="T33" fmla="*/ 122 h 176"/>
                <a:gd name="T34" fmla="*/ 0 w 429"/>
                <a:gd name="T35" fmla="*/ 122 h 176"/>
                <a:gd name="T36" fmla="*/ 0 w 429"/>
                <a:gd name="T37" fmla="*/ 152 h 176"/>
                <a:gd name="T38" fmla="*/ 31 w 429"/>
                <a:gd name="T39" fmla="*/ 175 h 176"/>
                <a:gd name="T40" fmla="*/ 61 w 429"/>
                <a:gd name="T41" fmla="*/ 168 h 176"/>
                <a:gd name="T42" fmla="*/ 76 w 429"/>
                <a:gd name="T43" fmla="*/ 17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9" h="176">
                  <a:moveTo>
                    <a:pt x="76" y="175"/>
                  </a:moveTo>
                  <a:lnTo>
                    <a:pt x="76" y="175"/>
                  </a:lnTo>
                  <a:cubicBezTo>
                    <a:pt x="130" y="175"/>
                    <a:pt x="130" y="175"/>
                    <a:pt x="130" y="175"/>
                  </a:cubicBezTo>
                  <a:lnTo>
                    <a:pt x="130" y="175"/>
                  </a:lnTo>
                  <a:cubicBezTo>
                    <a:pt x="145" y="168"/>
                    <a:pt x="153" y="160"/>
                    <a:pt x="168" y="152"/>
                  </a:cubicBezTo>
                  <a:cubicBezTo>
                    <a:pt x="176" y="145"/>
                    <a:pt x="183" y="129"/>
                    <a:pt x="199" y="129"/>
                  </a:cubicBezTo>
                  <a:cubicBezTo>
                    <a:pt x="222" y="137"/>
                    <a:pt x="237" y="152"/>
                    <a:pt x="260" y="160"/>
                  </a:cubicBezTo>
                  <a:cubicBezTo>
                    <a:pt x="267" y="160"/>
                    <a:pt x="275" y="145"/>
                    <a:pt x="283" y="145"/>
                  </a:cubicBezTo>
                  <a:cubicBezTo>
                    <a:pt x="290" y="145"/>
                    <a:pt x="298" y="168"/>
                    <a:pt x="306" y="160"/>
                  </a:cubicBezTo>
                  <a:cubicBezTo>
                    <a:pt x="328" y="160"/>
                    <a:pt x="351" y="145"/>
                    <a:pt x="367" y="129"/>
                  </a:cubicBezTo>
                  <a:cubicBezTo>
                    <a:pt x="374" y="114"/>
                    <a:pt x="367" y="91"/>
                    <a:pt x="374" y="76"/>
                  </a:cubicBezTo>
                  <a:cubicBezTo>
                    <a:pt x="382" y="68"/>
                    <a:pt x="397" y="76"/>
                    <a:pt x="405" y="68"/>
                  </a:cubicBezTo>
                  <a:cubicBezTo>
                    <a:pt x="420" y="53"/>
                    <a:pt x="420" y="45"/>
                    <a:pt x="428" y="22"/>
                  </a:cubicBezTo>
                  <a:lnTo>
                    <a:pt x="428" y="22"/>
                  </a:lnTo>
                  <a:cubicBezTo>
                    <a:pt x="420" y="22"/>
                    <a:pt x="405" y="15"/>
                    <a:pt x="389" y="15"/>
                  </a:cubicBezTo>
                  <a:cubicBezTo>
                    <a:pt x="313" y="0"/>
                    <a:pt x="191" y="7"/>
                    <a:pt x="122" y="38"/>
                  </a:cubicBezTo>
                  <a:cubicBezTo>
                    <a:pt x="99" y="53"/>
                    <a:pt x="46" y="91"/>
                    <a:pt x="0" y="122"/>
                  </a:cubicBezTo>
                  <a:lnTo>
                    <a:pt x="0" y="122"/>
                  </a:lnTo>
                  <a:cubicBezTo>
                    <a:pt x="0" y="137"/>
                    <a:pt x="0" y="145"/>
                    <a:pt x="0" y="152"/>
                  </a:cubicBezTo>
                  <a:cubicBezTo>
                    <a:pt x="8" y="168"/>
                    <a:pt x="15" y="175"/>
                    <a:pt x="31" y="175"/>
                  </a:cubicBezTo>
                  <a:cubicBezTo>
                    <a:pt x="38" y="175"/>
                    <a:pt x="53" y="168"/>
                    <a:pt x="61" y="168"/>
                  </a:cubicBezTo>
                  <a:cubicBezTo>
                    <a:pt x="69" y="168"/>
                    <a:pt x="69" y="175"/>
                    <a:pt x="76" y="17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0" name="Freeform 172"/>
            <p:cNvSpPr>
              <a:spLocks noChangeArrowheads="1"/>
            </p:cNvSpPr>
            <p:nvPr/>
          </p:nvSpPr>
          <p:spPr bwMode="auto">
            <a:xfrm>
              <a:off x="4551067" y="6007101"/>
              <a:ext cx="134928" cy="138113"/>
            </a:xfrm>
            <a:custGeom>
              <a:avLst/>
              <a:gdLst>
                <a:gd name="T0" fmla="*/ 298 w 375"/>
                <a:gd name="T1" fmla="*/ 92 h 383"/>
                <a:gd name="T2" fmla="*/ 298 w 375"/>
                <a:gd name="T3" fmla="*/ 92 h 383"/>
                <a:gd name="T4" fmla="*/ 298 w 375"/>
                <a:gd name="T5" fmla="*/ 122 h 383"/>
                <a:gd name="T6" fmla="*/ 329 w 375"/>
                <a:gd name="T7" fmla="*/ 145 h 383"/>
                <a:gd name="T8" fmla="*/ 359 w 375"/>
                <a:gd name="T9" fmla="*/ 138 h 383"/>
                <a:gd name="T10" fmla="*/ 374 w 375"/>
                <a:gd name="T11" fmla="*/ 145 h 383"/>
                <a:gd name="T12" fmla="*/ 374 w 375"/>
                <a:gd name="T13" fmla="*/ 145 h 383"/>
                <a:gd name="T14" fmla="*/ 351 w 375"/>
                <a:gd name="T15" fmla="*/ 206 h 383"/>
                <a:gd name="T16" fmla="*/ 321 w 375"/>
                <a:gd name="T17" fmla="*/ 206 h 383"/>
                <a:gd name="T18" fmla="*/ 290 w 375"/>
                <a:gd name="T19" fmla="*/ 237 h 383"/>
                <a:gd name="T20" fmla="*/ 229 w 375"/>
                <a:gd name="T21" fmla="*/ 245 h 383"/>
                <a:gd name="T22" fmla="*/ 206 w 375"/>
                <a:gd name="T23" fmla="*/ 275 h 383"/>
                <a:gd name="T24" fmla="*/ 138 w 375"/>
                <a:gd name="T25" fmla="*/ 306 h 383"/>
                <a:gd name="T26" fmla="*/ 145 w 375"/>
                <a:gd name="T27" fmla="*/ 328 h 383"/>
                <a:gd name="T28" fmla="*/ 145 w 375"/>
                <a:gd name="T29" fmla="*/ 328 h 383"/>
                <a:gd name="T30" fmla="*/ 115 w 375"/>
                <a:gd name="T31" fmla="*/ 374 h 383"/>
                <a:gd name="T32" fmla="*/ 84 w 375"/>
                <a:gd name="T33" fmla="*/ 351 h 383"/>
                <a:gd name="T34" fmla="*/ 69 w 375"/>
                <a:gd name="T35" fmla="*/ 290 h 383"/>
                <a:gd name="T36" fmla="*/ 15 w 375"/>
                <a:gd name="T37" fmla="*/ 252 h 383"/>
                <a:gd name="T38" fmla="*/ 0 w 375"/>
                <a:gd name="T39" fmla="*/ 168 h 383"/>
                <a:gd name="T40" fmla="*/ 0 w 375"/>
                <a:gd name="T41" fmla="*/ 168 h 383"/>
                <a:gd name="T42" fmla="*/ 54 w 375"/>
                <a:gd name="T43" fmla="*/ 153 h 383"/>
                <a:gd name="T44" fmla="*/ 38 w 375"/>
                <a:gd name="T45" fmla="*/ 107 h 383"/>
                <a:gd name="T46" fmla="*/ 84 w 375"/>
                <a:gd name="T47" fmla="*/ 31 h 383"/>
                <a:gd name="T48" fmla="*/ 84 w 375"/>
                <a:gd name="T49" fmla="*/ 31 h 383"/>
                <a:gd name="T50" fmla="*/ 122 w 375"/>
                <a:gd name="T51" fmla="*/ 61 h 383"/>
                <a:gd name="T52" fmla="*/ 145 w 375"/>
                <a:gd name="T53" fmla="*/ 46 h 383"/>
                <a:gd name="T54" fmla="*/ 145 w 375"/>
                <a:gd name="T55" fmla="*/ 8 h 383"/>
                <a:gd name="T56" fmla="*/ 206 w 375"/>
                <a:gd name="T57" fmla="*/ 61 h 383"/>
                <a:gd name="T58" fmla="*/ 206 w 375"/>
                <a:gd name="T59" fmla="*/ 61 h 383"/>
                <a:gd name="T60" fmla="*/ 191 w 375"/>
                <a:gd name="T61" fmla="*/ 160 h 383"/>
                <a:gd name="T62" fmla="*/ 298 w 375"/>
                <a:gd name="T63" fmla="*/ 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5" h="383">
                  <a:moveTo>
                    <a:pt x="298" y="92"/>
                  </a:moveTo>
                  <a:lnTo>
                    <a:pt x="298" y="92"/>
                  </a:lnTo>
                  <a:cubicBezTo>
                    <a:pt x="298" y="107"/>
                    <a:pt x="298" y="115"/>
                    <a:pt x="298" y="122"/>
                  </a:cubicBezTo>
                  <a:cubicBezTo>
                    <a:pt x="306" y="138"/>
                    <a:pt x="313" y="145"/>
                    <a:pt x="329" y="145"/>
                  </a:cubicBezTo>
                  <a:cubicBezTo>
                    <a:pt x="336" y="145"/>
                    <a:pt x="351" y="138"/>
                    <a:pt x="359" y="138"/>
                  </a:cubicBezTo>
                  <a:cubicBezTo>
                    <a:pt x="367" y="138"/>
                    <a:pt x="367" y="145"/>
                    <a:pt x="374" y="145"/>
                  </a:cubicBezTo>
                  <a:lnTo>
                    <a:pt x="374" y="145"/>
                  </a:lnTo>
                  <a:cubicBezTo>
                    <a:pt x="367" y="168"/>
                    <a:pt x="367" y="191"/>
                    <a:pt x="351" y="206"/>
                  </a:cubicBezTo>
                  <a:cubicBezTo>
                    <a:pt x="344" y="214"/>
                    <a:pt x="329" y="206"/>
                    <a:pt x="321" y="206"/>
                  </a:cubicBezTo>
                  <a:cubicBezTo>
                    <a:pt x="306" y="214"/>
                    <a:pt x="306" y="237"/>
                    <a:pt x="290" y="237"/>
                  </a:cubicBezTo>
                  <a:cubicBezTo>
                    <a:pt x="275" y="245"/>
                    <a:pt x="252" y="229"/>
                    <a:pt x="229" y="245"/>
                  </a:cubicBezTo>
                  <a:cubicBezTo>
                    <a:pt x="214" y="245"/>
                    <a:pt x="222" y="267"/>
                    <a:pt x="206" y="275"/>
                  </a:cubicBezTo>
                  <a:cubicBezTo>
                    <a:pt x="191" y="290"/>
                    <a:pt x="161" y="290"/>
                    <a:pt x="138" y="306"/>
                  </a:cubicBezTo>
                  <a:cubicBezTo>
                    <a:pt x="138" y="313"/>
                    <a:pt x="145" y="321"/>
                    <a:pt x="145" y="328"/>
                  </a:cubicBezTo>
                  <a:lnTo>
                    <a:pt x="145" y="328"/>
                  </a:lnTo>
                  <a:cubicBezTo>
                    <a:pt x="138" y="344"/>
                    <a:pt x="138" y="367"/>
                    <a:pt x="115" y="374"/>
                  </a:cubicBezTo>
                  <a:cubicBezTo>
                    <a:pt x="107" y="382"/>
                    <a:pt x="92" y="359"/>
                    <a:pt x="84" y="351"/>
                  </a:cubicBezTo>
                  <a:cubicBezTo>
                    <a:pt x="76" y="328"/>
                    <a:pt x="76" y="306"/>
                    <a:pt x="69" y="290"/>
                  </a:cubicBezTo>
                  <a:cubicBezTo>
                    <a:pt x="54" y="267"/>
                    <a:pt x="23" y="267"/>
                    <a:pt x="15" y="252"/>
                  </a:cubicBezTo>
                  <a:cubicBezTo>
                    <a:pt x="0" y="229"/>
                    <a:pt x="0" y="199"/>
                    <a:pt x="0" y="168"/>
                  </a:cubicBezTo>
                  <a:lnTo>
                    <a:pt x="0" y="168"/>
                  </a:lnTo>
                  <a:cubicBezTo>
                    <a:pt x="15" y="168"/>
                    <a:pt x="38" y="168"/>
                    <a:pt x="54" y="153"/>
                  </a:cubicBezTo>
                  <a:cubicBezTo>
                    <a:pt x="61" y="138"/>
                    <a:pt x="38" y="122"/>
                    <a:pt x="38" y="107"/>
                  </a:cubicBezTo>
                  <a:cubicBezTo>
                    <a:pt x="46" y="76"/>
                    <a:pt x="69" y="53"/>
                    <a:pt x="84" y="31"/>
                  </a:cubicBezTo>
                  <a:lnTo>
                    <a:pt x="84" y="31"/>
                  </a:lnTo>
                  <a:cubicBezTo>
                    <a:pt x="99" y="38"/>
                    <a:pt x="107" y="53"/>
                    <a:pt x="122" y="61"/>
                  </a:cubicBezTo>
                  <a:cubicBezTo>
                    <a:pt x="130" y="61"/>
                    <a:pt x="138" y="53"/>
                    <a:pt x="145" y="46"/>
                  </a:cubicBezTo>
                  <a:cubicBezTo>
                    <a:pt x="153" y="31"/>
                    <a:pt x="138" y="0"/>
                    <a:pt x="145" y="8"/>
                  </a:cubicBezTo>
                  <a:cubicBezTo>
                    <a:pt x="176" y="15"/>
                    <a:pt x="183" y="38"/>
                    <a:pt x="206" y="61"/>
                  </a:cubicBezTo>
                  <a:lnTo>
                    <a:pt x="206" y="61"/>
                  </a:lnTo>
                  <a:cubicBezTo>
                    <a:pt x="199" y="84"/>
                    <a:pt x="191" y="122"/>
                    <a:pt x="191" y="160"/>
                  </a:cubicBezTo>
                  <a:cubicBezTo>
                    <a:pt x="206" y="160"/>
                    <a:pt x="252" y="130"/>
                    <a:pt x="298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1" name="Freeform 173"/>
            <p:cNvSpPr>
              <a:spLocks noChangeArrowheads="1"/>
            </p:cNvSpPr>
            <p:nvPr/>
          </p:nvSpPr>
          <p:spPr bwMode="auto">
            <a:xfrm>
              <a:off x="4292321" y="5861050"/>
              <a:ext cx="288906" cy="247650"/>
            </a:xfrm>
            <a:custGeom>
              <a:avLst/>
              <a:gdLst>
                <a:gd name="T0" fmla="*/ 306 w 803"/>
                <a:gd name="T1" fmla="*/ 672 h 689"/>
                <a:gd name="T2" fmla="*/ 306 w 803"/>
                <a:gd name="T3" fmla="*/ 672 h 689"/>
                <a:gd name="T4" fmla="*/ 344 w 803"/>
                <a:gd name="T5" fmla="*/ 657 h 689"/>
                <a:gd name="T6" fmla="*/ 336 w 803"/>
                <a:gd name="T7" fmla="*/ 619 h 689"/>
                <a:gd name="T8" fmla="*/ 367 w 803"/>
                <a:gd name="T9" fmla="*/ 611 h 689"/>
                <a:gd name="T10" fmla="*/ 413 w 803"/>
                <a:gd name="T11" fmla="*/ 634 h 689"/>
                <a:gd name="T12" fmla="*/ 443 w 803"/>
                <a:gd name="T13" fmla="*/ 596 h 689"/>
                <a:gd name="T14" fmla="*/ 565 w 803"/>
                <a:gd name="T15" fmla="*/ 565 h 689"/>
                <a:gd name="T16" fmla="*/ 558 w 803"/>
                <a:gd name="T17" fmla="*/ 550 h 689"/>
                <a:gd name="T18" fmla="*/ 642 w 803"/>
                <a:gd name="T19" fmla="*/ 527 h 689"/>
                <a:gd name="T20" fmla="*/ 718 w 803"/>
                <a:gd name="T21" fmla="*/ 573 h 689"/>
                <a:gd name="T22" fmla="*/ 718 w 803"/>
                <a:gd name="T23" fmla="*/ 573 h 689"/>
                <a:gd name="T24" fmla="*/ 772 w 803"/>
                <a:gd name="T25" fmla="*/ 558 h 689"/>
                <a:gd name="T26" fmla="*/ 756 w 803"/>
                <a:gd name="T27" fmla="*/ 512 h 689"/>
                <a:gd name="T28" fmla="*/ 802 w 803"/>
                <a:gd name="T29" fmla="*/ 436 h 689"/>
                <a:gd name="T30" fmla="*/ 802 w 803"/>
                <a:gd name="T31" fmla="*/ 436 h 689"/>
                <a:gd name="T32" fmla="*/ 787 w 803"/>
                <a:gd name="T33" fmla="*/ 413 h 689"/>
                <a:gd name="T34" fmla="*/ 695 w 803"/>
                <a:gd name="T35" fmla="*/ 405 h 689"/>
                <a:gd name="T36" fmla="*/ 672 w 803"/>
                <a:gd name="T37" fmla="*/ 352 h 689"/>
                <a:gd name="T38" fmla="*/ 718 w 803"/>
                <a:gd name="T39" fmla="*/ 260 h 689"/>
                <a:gd name="T40" fmla="*/ 665 w 803"/>
                <a:gd name="T41" fmla="*/ 153 h 689"/>
                <a:gd name="T42" fmla="*/ 649 w 803"/>
                <a:gd name="T43" fmla="*/ 99 h 689"/>
                <a:gd name="T44" fmla="*/ 627 w 803"/>
                <a:gd name="T45" fmla="*/ 61 h 689"/>
                <a:gd name="T46" fmla="*/ 627 w 803"/>
                <a:gd name="T47" fmla="*/ 61 h 689"/>
                <a:gd name="T48" fmla="*/ 604 w 803"/>
                <a:gd name="T49" fmla="*/ 16 h 689"/>
                <a:gd name="T50" fmla="*/ 558 w 803"/>
                <a:gd name="T51" fmla="*/ 8 h 689"/>
                <a:gd name="T52" fmla="*/ 489 w 803"/>
                <a:gd name="T53" fmla="*/ 23 h 689"/>
                <a:gd name="T54" fmla="*/ 428 w 803"/>
                <a:gd name="T55" fmla="*/ 69 h 689"/>
                <a:gd name="T56" fmla="*/ 367 w 803"/>
                <a:gd name="T57" fmla="*/ 54 h 689"/>
                <a:gd name="T58" fmla="*/ 375 w 803"/>
                <a:gd name="T59" fmla="*/ 69 h 689"/>
                <a:gd name="T60" fmla="*/ 298 w 803"/>
                <a:gd name="T61" fmla="*/ 69 h 689"/>
                <a:gd name="T62" fmla="*/ 237 w 803"/>
                <a:gd name="T63" fmla="*/ 46 h 689"/>
                <a:gd name="T64" fmla="*/ 191 w 803"/>
                <a:gd name="T65" fmla="*/ 99 h 689"/>
                <a:gd name="T66" fmla="*/ 130 w 803"/>
                <a:gd name="T67" fmla="*/ 92 h 689"/>
                <a:gd name="T68" fmla="*/ 31 w 803"/>
                <a:gd name="T69" fmla="*/ 92 h 689"/>
                <a:gd name="T70" fmla="*/ 31 w 803"/>
                <a:gd name="T71" fmla="*/ 92 h 689"/>
                <a:gd name="T72" fmla="*/ 46 w 803"/>
                <a:gd name="T73" fmla="*/ 153 h 689"/>
                <a:gd name="T74" fmla="*/ 38 w 803"/>
                <a:gd name="T75" fmla="*/ 206 h 689"/>
                <a:gd name="T76" fmla="*/ 0 w 803"/>
                <a:gd name="T77" fmla="*/ 283 h 689"/>
                <a:gd name="T78" fmla="*/ 0 w 803"/>
                <a:gd name="T79" fmla="*/ 283 h 689"/>
                <a:gd name="T80" fmla="*/ 38 w 803"/>
                <a:gd name="T81" fmla="*/ 359 h 689"/>
                <a:gd name="T82" fmla="*/ 145 w 803"/>
                <a:gd name="T83" fmla="*/ 458 h 689"/>
                <a:gd name="T84" fmla="*/ 115 w 803"/>
                <a:gd name="T85" fmla="*/ 688 h 689"/>
                <a:gd name="T86" fmla="*/ 115 w 803"/>
                <a:gd name="T87" fmla="*/ 688 h 689"/>
                <a:gd name="T88" fmla="*/ 275 w 803"/>
                <a:gd name="T89" fmla="*/ 627 h 689"/>
                <a:gd name="T90" fmla="*/ 306 w 803"/>
                <a:gd name="T91" fmla="*/ 67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3" h="689">
                  <a:moveTo>
                    <a:pt x="306" y="672"/>
                  </a:moveTo>
                  <a:lnTo>
                    <a:pt x="306" y="672"/>
                  </a:lnTo>
                  <a:cubicBezTo>
                    <a:pt x="321" y="665"/>
                    <a:pt x="336" y="665"/>
                    <a:pt x="344" y="657"/>
                  </a:cubicBezTo>
                  <a:cubicBezTo>
                    <a:pt x="352" y="642"/>
                    <a:pt x="329" y="627"/>
                    <a:pt x="336" y="619"/>
                  </a:cubicBezTo>
                  <a:cubicBezTo>
                    <a:pt x="336" y="611"/>
                    <a:pt x="359" y="611"/>
                    <a:pt x="367" y="611"/>
                  </a:cubicBezTo>
                  <a:cubicBezTo>
                    <a:pt x="382" y="611"/>
                    <a:pt x="397" y="634"/>
                    <a:pt x="413" y="634"/>
                  </a:cubicBezTo>
                  <a:cubicBezTo>
                    <a:pt x="428" y="627"/>
                    <a:pt x="428" y="604"/>
                    <a:pt x="443" y="596"/>
                  </a:cubicBezTo>
                  <a:cubicBezTo>
                    <a:pt x="481" y="581"/>
                    <a:pt x="527" y="588"/>
                    <a:pt x="565" y="565"/>
                  </a:cubicBezTo>
                  <a:cubicBezTo>
                    <a:pt x="573" y="565"/>
                    <a:pt x="550" y="550"/>
                    <a:pt x="558" y="550"/>
                  </a:cubicBezTo>
                  <a:cubicBezTo>
                    <a:pt x="588" y="535"/>
                    <a:pt x="611" y="527"/>
                    <a:pt x="642" y="527"/>
                  </a:cubicBezTo>
                  <a:cubicBezTo>
                    <a:pt x="672" y="535"/>
                    <a:pt x="688" y="558"/>
                    <a:pt x="718" y="573"/>
                  </a:cubicBezTo>
                  <a:lnTo>
                    <a:pt x="718" y="573"/>
                  </a:lnTo>
                  <a:cubicBezTo>
                    <a:pt x="733" y="573"/>
                    <a:pt x="756" y="573"/>
                    <a:pt x="772" y="558"/>
                  </a:cubicBezTo>
                  <a:cubicBezTo>
                    <a:pt x="779" y="543"/>
                    <a:pt x="756" y="527"/>
                    <a:pt x="756" y="512"/>
                  </a:cubicBezTo>
                  <a:cubicBezTo>
                    <a:pt x="764" y="481"/>
                    <a:pt x="787" y="458"/>
                    <a:pt x="802" y="436"/>
                  </a:cubicBezTo>
                  <a:lnTo>
                    <a:pt x="802" y="436"/>
                  </a:lnTo>
                  <a:cubicBezTo>
                    <a:pt x="794" y="428"/>
                    <a:pt x="794" y="420"/>
                    <a:pt x="787" y="413"/>
                  </a:cubicBezTo>
                  <a:cubicBezTo>
                    <a:pt x="756" y="405"/>
                    <a:pt x="718" y="428"/>
                    <a:pt x="695" y="405"/>
                  </a:cubicBezTo>
                  <a:cubicBezTo>
                    <a:pt x="672" y="397"/>
                    <a:pt x="672" y="367"/>
                    <a:pt x="672" y="352"/>
                  </a:cubicBezTo>
                  <a:cubicBezTo>
                    <a:pt x="680" y="321"/>
                    <a:pt x="726" y="298"/>
                    <a:pt x="718" y="260"/>
                  </a:cubicBezTo>
                  <a:cubicBezTo>
                    <a:pt x="718" y="222"/>
                    <a:pt x="680" y="191"/>
                    <a:pt x="665" y="153"/>
                  </a:cubicBezTo>
                  <a:cubicBezTo>
                    <a:pt x="657" y="138"/>
                    <a:pt x="657" y="115"/>
                    <a:pt x="649" y="99"/>
                  </a:cubicBezTo>
                  <a:cubicBezTo>
                    <a:pt x="642" y="84"/>
                    <a:pt x="634" y="77"/>
                    <a:pt x="627" y="61"/>
                  </a:cubicBezTo>
                  <a:lnTo>
                    <a:pt x="627" y="61"/>
                  </a:lnTo>
                  <a:cubicBezTo>
                    <a:pt x="619" y="46"/>
                    <a:pt x="619" y="23"/>
                    <a:pt x="604" y="16"/>
                  </a:cubicBezTo>
                  <a:cubicBezTo>
                    <a:pt x="588" y="0"/>
                    <a:pt x="573" y="8"/>
                    <a:pt x="558" y="8"/>
                  </a:cubicBezTo>
                  <a:cubicBezTo>
                    <a:pt x="535" y="16"/>
                    <a:pt x="512" y="16"/>
                    <a:pt x="489" y="23"/>
                  </a:cubicBezTo>
                  <a:lnTo>
                    <a:pt x="428" y="69"/>
                  </a:lnTo>
                  <a:cubicBezTo>
                    <a:pt x="420" y="69"/>
                    <a:pt x="367" y="54"/>
                    <a:pt x="367" y="54"/>
                  </a:cubicBezTo>
                  <a:cubicBezTo>
                    <a:pt x="367" y="61"/>
                    <a:pt x="382" y="69"/>
                    <a:pt x="375" y="69"/>
                  </a:cubicBezTo>
                  <a:cubicBezTo>
                    <a:pt x="352" y="77"/>
                    <a:pt x="329" y="69"/>
                    <a:pt x="298" y="69"/>
                  </a:cubicBezTo>
                  <a:cubicBezTo>
                    <a:pt x="283" y="61"/>
                    <a:pt x="260" y="39"/>
                    <a:pt x="237" y="46"/>
                  </a:cubicBezTo>
                  <a:cubicBezTo>
                    <a:pt x="214" y="54"/>
                    <a:pt x="214" y="92"/>
                    <a:pt x="191" y="99"/>
                  </a:cubicBezTo>
                  <a:cubicBezTo>
                    <a:pt x="168" y="107"/>
                    <a:pt x="153" y="92"/>
                    <a:pt x="130" y="92"/>
                  </a:cubicBezTo>
                  <a:cubicBezTo>
                    <a:pt x="100" y="84"/>
                    <a:pt x="61" y="92"/>
                    <a:pt x="31" y="92"/>
                  </a:cubicBezTo>
                  <a:lnTo>
                    <a:pt x="31" y="92"/>
                  </a:lnTo>
                  <a:cubicBezTo>
                    <a:pt x="38" y="115"/>
                    <a:pt x="46" y="138"/>
                    <a:pt x="46" y="153"/>
                  </a:cubicBezTo>
                  <a:cubicBezTo>
                    <a:pt x="46" y="168"/>
                    <a:pt x="38" y="191"/>
                    <a:pt x="38" y="206"/>
                  </a:cubicBezTo>
                  <a:cubicBezTo>
                    <a:pt x="23" y="229"/>
                    <a:pt x="15" y="260"/>
                    <a:pt x="0" y="283"/>
                  </a:cubicBezTo>
                  <a:lnTo>
                    <a:pt x="0" y="283"/>
                  </a:lnTo>
                  <a:cubicBezTo>
                    <a:pt x="15" y="306"/>
                    <a:pt x="23" y="336"/>
                    <a:pt x="38" y="359"/>
                  </a:cubicBezTo>
                  <a:cubicBezTo>
                    <a:pt x="69" y="397"/>
                    <a:pt x="130" y="413"/>
                    <a:pt x="145" y="458"/>
                  </a:cubicBezTo>
                  <a:cubicBezTo>
                    <a:pt x="161" y="535"/>
                    <a:pt x="122" y="611"/>
                    <a:pt x="115" y="688"/>
                  </a:cubicBezTo>
                  <a:lnTo>
                    <a:pt x="115" y="688"/>
                  </a:lnTo>
                  <a:cubicBezTo>
                    <a:pt x="168" y="665"/>
                    <a:pt x="222" y="627"/>
                    <a:pt x="275" y="627"/>
                  </a:cubicBezTo>
                  <a:cubicBezTo>
                    <a:pt x="290" y="619"/>
                    <a:pt x="290" y="657"/>
                    <a:pt x="306" y="67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2" name="Freeform 174"/>
            <p:cNvSpPr>
              <a:spLocks noChangeArrowheads="1"/>
            </p:cNvSpPr>
            <p:nvPr/>
          </p:nvSpPr>
          <p:spPr bwMode="auto">
            <a:xfrm>
              <a:off x="4517731" y="5875339"/>
              <a:ext cx="130167" cy="153987"/>
            </a:xfrm>
            <a:custGeom>
              <a:avLst/>
              <a:gdLst>
                <a:gd name="T0" fmla="*/ 297 w 360"/>
                <a:gd name="T1" fmla="*/ 427 h 428"/>
                <a:gd name="T2" fmla="*/ 297 w 360"/>
                <a:gd name="T3" fmla="*/ 427 h 428"/>
                <a:gd name="T4" fmla="*/ 236 w 360"/>
                <a:gd name="T5" fmla="*/ 374 h 428"/>
                <a:gd name="T6" fmla="*/ 236 w 360"/>
                <a:gd name="T7" fmla="*/ 412 h 428"/>
                <a:gd name="T8" fmla="*/ 213 w 360"/>
                <a:gd name="T9" fmla="*/ 427 h 428"/>
                <a:gd name="T10" fmla="*/ 175 w 360"/>
                <a:gd name="T11" fmla="*/ 397 h 428"/>
                <a:gd name="T12" fmla="*/ 175 w 360"/>
                <a:gd name="T13" fmla="*/ 397 h 428"/>
                <a:gd name="T14" fmla="*/ 160 w 360"/>
                <a:gd name="T15" fmla="*/ 374 h 428"/>
                <a:gd name="T16" fmla="*/ 68 w 360"/>
                <a:gd name="T17" fmla="*/ 366 h 428"/>
                <a:gd name="T18" fmla="*/ 45 w 360"/>
                <a:gd name="T19" fmla="*/ 313 h 428"/>
                <a:gd name="T20" fmla="*/ 91 w 360"/>
                <a:gd name="T21" fmla="*/ 221 h 428"/>
                <a:gd name="T22" fmla="*/ 38 w 360"/>
                <a:gd name="T23" fmla="*/ 114 h 428"/>
                <a:gd name="T24" fmla="*/ 22 w 360"/>
                <a:gd name="T25" fmla="*/ 60 h 428"/>
                <a:gd name="T26" fmla="*/ 0 w 360"/>
                <a:gd name="T27" fmla="*/ 22 h 428"/>
                <a:gd name="T28" fmla="*/ 0 w 360"/>
                <a:gd name="T29" fmla="*/ 22 h 428"/>
                <a:gd name="T30" fmla="*/ 61 w 360"/>
                <a:gd name="T31" fmla="*/ 15 h 428"/>
                <a:gd name="T32" fmla="*/ 76 w 360"/>
                <a:gd name="T33" fmla="*/ 22 h 428"/>
                <a:gd name="T34" fmla="*/ 91 w 360"/>
                <a:gd name="T35" fmla="*/ 7 h 428"/>
                <a:gd name="T36" fmla="*/ 137 w 360"/>
                <a:gd name="T37" fmla="*/ 0 h 428"/>
                <a:gd name="T38" fmla="*/ 137 w 360"/>
                <a:gd name="T39" fmla="*/ 0 h 428"/>
                <a:gd name="T40" fmla="*/ 145 w 360"/>
                <a:gd name="T41" fmla="*/ 38 h 428"/>
                <a:gd name="T42" fmla="*/ 175 w 360"/>
                <a:gd name="T43" fmla="*/ 68 h 428"/>
                <a:gd name="T44" fmla="*/ 198 w 360"/>
                <a:gd name="T45" fmla="*/ 45 h 428"/>
                <a:gd name="T46" fmla="*/ 206 w 360"/>
                <a:gd name="T47" fmla="*/ 76 h 428"/>
                <a:gd name="T48" fmla="*/ 236 w 360"/>
                <a:gd name="T49" fmla="*/ 53 h 428"/>
                <a:gd name="T50" fmla="*/ 259 w 360"/>
                <a:gd name="T51" fmla="*/ 68 h 428"/>
                <a:gd name="T52" fmla="*/ 297 w 360"/>
                <a:gd name="T53" fmla="*/ 53 h 428"/>
                <a:gd name="T54" fmla="*/ 336 w 360"/>
                <a:gd name="T55" fmla="*/ 76 h 428"/>
                <a:gd name="T56" fmla="*/ 336 w 360"/>
                <a:gd name="T57" fmla="*/ 76 h 428"/>
                <a:gd name="T58" fmla="*/ 305 w 360"/>
                <a:gd name="T59" fmla="*/ 99 h 428"/>
                <a:gd name="T60" fmla="*/ 305 w 360"/>
                <a:gd name="T61" fmla="*/ 122 h 428"/>
                <a:gd name="T62" fmla="*/ 320 w 360"/>
                <a:gd name="T63" fmla="*/ 144 h 428"/>
                <a:gd name="T64" fmla="*/ 297 w 360"/>
                <a:gd name="T65" fmla="*/ 229 h 428"/>
                <a:gd name="T66" fmla="*/ 320 w 360"/>
                <a:gd name="T67" fmla="*/ 244 h 428"/>
                <a:gd name="T68" fmla="*/ 359 w 360"/>
                <a:gd name="T69" fmla="*/ 320 h 428"/>
                <a:gd name="T70" fmla="*/ 359 w 360"/>
                <a:gd name="T71" fmla="*/ 320 h 428"/>
                <a:gd name="T72" fmla="*/ 297 w 360"/>
                <a:gd name="T73" fmla="*/ 42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428">
                  <a:moveTo>
                    <a:pt x="297" y="427"/>
                  </a:moveTo>
                  <a:lnTo>
                    <a:pt x="297" y="427"/>
                  </a:lnTo>
                  <a:cubicBezTo>
                    <a:pt x="274" y="404"/>
                    <a:pt x="267" y="381"/>
                    <a:pt x="236" y="374"/>
                  </a:cubicBezTo>
                  <a:cubicBezTo>
                    <a:pt x="229" y="366"/>
                    <a:pt x="244" y="397"/>
                    <a:pt x="236" y="412"/>
                  </a:cubicBezTo>
                  <a:cubicBezTo>
                    <a:pt x="229" y="419"/>
                    <a:pt x="221" y="427"/>
                    <a:pt x="213" y="427"/>
                  </a:cubicBezTo>
                  <a:cubicBezTo>
                    <a:pt x="198" y="419"/>
                    <a:pt x="190" y="404"/>
                    <a:pt x="175" y="397"/>
                  </a:cubicBezTo>
                  <a:lnTo>
                    <a:pt x="175" y="397"/>
                  </a:lnTo>
                  <a:cubicBezTo>
                    <a:pt x="167" y="389"/>
                    <a:pt x="167" y="381"/>
                    <a:pt x="160" y="374"/>
                  </a:cubicBezTo>
                  <a:cubicBezTo>
                    <a:pt x="129" y="366"/>
                    <a:pt x="91" y="389"/>
                    <a:pt x="68" y="366"/>
                  </a:cubicBezTo>
                  <a:cubicBezTo>
                    <a:pt x="45" y="358"/>
                    <a:pt x="45" y="328"/>
                    <a:pt x="45" y="313"/>
                  </a:cubicBezTo>
                  <a:cubicBezTo>
                    <a:pt x="53" y="282"/>
                    <a:pt x="99" y="259"/>
                    <a:pt x="91" y="221"/>
                  </a:cubicBezTo>
                  <a:cubicBezTo>
                    <a:pt x="91" y="183"/>
                    <a:pt x="53" y="152"/>
                    <a:pt x="38" y="114"/>
                  </a:cubicBezTo>
                  <a:cubicBezTo>
                    <a:pt x="30" y="99"/>
                    <a:pt x="30" y="76"/>
                    <a:pt x="22" y="60"/>
                  </a:cubicBezTo>
                  <a:cubicBezTo>
                    <a:pt x="15" y="45"/>
                    <a:pt x="7" y="38"/>
                    <a:pt x="0" y="22"/>
                  </a:cubicBezTo>
                  <a:lnTo>
                    <a:pt x="0" y="22"/>
                  </a:lnTo>
                  <a:cubicBezTo>
                    <a:pt x="22" y="15"/>
                    <a:pt x="38" y="7"/>
                    <a:pt x="61" y="15"/>
                  </a:cubicBezTo>
                  <a:cubicBezTo>
                    <a:pt x="68" y="15"/>
                    <a:pt x="68" y="30"/>
                    <a:pt x="76" y="22"/>
                  </a:cubicBezTo>
                  <a:cubicBezTo>
                    <a:pt x="84" y="22"/>
                    <a:pt x="84" y="7"/>
                    <a:pt x="91" y="7"/>
                  </a:cubicBezTo>
                  <a:cubicBezTo>
                    <a:pt x="106" y="0"/>
                    <a:pt x="122" y="0"/>
                    <a:pt x="137" y="0"/>
                  </a:cubicBezTo>
                  <a:lnTo>
                    <a:pt x="137" y="0"/>
                  </a:lnTo>
                  <a:cubicBezTo>
                    <a:pt x="137" y="7"/>
                    <a:pt x="137" y="22"/>
                    <a:pt x="145" y="38"/>
                  </a:cubicBezTo>
                  <a:cubicBezTo>
                    <a:pt x="152" y="53"/>
                    <a:pt x="160" y="68"/>
                    <a:pt x="175" y="68"/>
                  </a:cubicBezTo>
                  <a:cubicBezTo>
                    <a:pt x="183" y="68"/>
                    <a:pt x="190" y="53"/>
                    <a:pt x="198" y="45"/>
                  </a:cubicBezTo>
                  <a:cubicBezTo>
                    <a:pt x="198" y="45"/>
                    <a:pt x="198" y="76"/>
                    <a:pt x="206" y="76"/>
                  </a:cubicBezTo>
                  <a:cubicBezTo>
                    <a:pt x="206" y="68"/>
                    <a:pt x="236" y="53"/>
                    <a:pt x="236" y="53"/>
                  </a:cubicBezTo>
                  <a:cubicBezTo>
                    <a:pt x="244" y="60"/>
                    <a:pt x="252" y="68"/>
                    <a:pt x="259" y="68"/>
                  </a:cubicBezTo>
                  <a:cubicBezTo>
                    <a:pt x="274" y="68"/>
                    <a:pt x="290" y="45"/>
                    <a:pt x="297" y="53"/>
                  </a:cubicBezTo>
                  <a:cubicBezTo>
                    <a:pt x="313" y="53"/>
                    <a:pt x="320" y="68"/>
                    <a:pt x="336" y="76"/>
                  </a:cubicBezTo>
                  <a:lnTo>
                    <a:pt x="336" y="76"/>
                  </a:lnTo>
                  <a:cubicBezTo>
                    <a:pt x="320" y="83"/>
                    <a:pt x="313" y="91"/>
                    <a:pt x="305" y="99"/>
                  </a:cubicBezTo>
                  <a:cubicBezTo>
                    <a:pt x="297" y="106"/>
                    <a:pt x="305" y="114"/>
                    <a:pt x="305" y="122"/>
                  </a:cubicBezTo>
                  <a:cubicBezTo>
                    <a:pt x="305" y="129"/>
                    <a:pt x="320" y="137"/>
                    <a:pt x="320" y="144"/>
                  </a:cubicBezTo>
                  <a:cubicBezTo>
                    <a:pt x="313" y="175"/>
                    <a:pt x="297" y="198"/>
                    <a:pt x="297" y="229"/>
                  </a:cubicBezTo>
                  <a:cubicBezTo>
                    <a:pt x="297" y="236"/>
                    <a:pt x="320" y="236"/>
                    <a:pt x="320" y="244"/>
                  </a:cubicBezTo>
                  <a:cubicBezTo>
                    <a:pt x="336" y="267"/>
                    <a:pt x="343" y="297"/>
                    <a:pt x="359" y="320"/>
                  </a:cubicBezTo>
                  <a:lnTo>
                    <a:pt x="359" y="320"/>
                  </a:lnTo>
                  <a:cubicBezTo>
                    <a:pt x="328" y="351"/>
                    <a:pt x="305" y="381"/>
                    <a:pt x="297" y="42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3" name="Freeform 175"/>
            <p:cNvSpPr>
              <a:spLocks noChangeArrowheads="1"/>
            </p:cNvSpPr>
            <p:nvPr/>
          </p:nvSpPr>
          <p:spPr bwMode="auto">
            <a:xfrm>
              <a:off x="3998653" y="5929314"/>
              <a:ext cx="352402" cy="206375"/>
            </a:xfrm>
            <a:custGeom>
              <a:avLst/>
              <a:gdLst>
                <a:gd name="T0" fmla="*/ 817 w 979"/>
                <a:gd name="T1" fmla="*/ 92 h 574"/>
                <a:gd name="T2" fmla="*/ 817 w 979"/>
                <a:gd name="T3" fmla="*/ 92 h 574"/>
                <a:gd name="T4" fmla="*/ 855 w 979"/>
                <a:gd name="T5" fmla="*/ 168 h 574"/>
                <a:gd name="T6" fmla="*/ 962 w 979"/>
                <a:gd name="T7" fmla="*/ 267 h 574"/>
                <a:gd name="T8" fmla="*/ 932 w 979"/>
                <a:gd name="T9" fmla="*/ 497 h 574"/>
                <a:gd name="T10" fmla="*/ 932 w 979"/>
                <a:gd name="T11" fmla="*/ 497 h 574"/>
                <a:gd name="T12" fmla="*/ 748 w 979"/>
                <a:gd name="T13" fmla="*/ 573 h 574"/>
                <a:gd name="T14" fmla="*/ 748 w 979"/>
                <a:gd name="T15" fmla="*/ 573 h 574"/>
                <a:gd name="T16" fmla="*/ 642 w 979"/>
                <a:gd name="T17" fmla="*/ 504 h 574"/>
                <a:gd name="T18" fmla="*/ 603 w 979"/>
                <a:gd name="T19" fmla="*/ 489 h 574"/>
                <a:gd name="T20" fmla="*/ 596 w 979"/>
                <a:gd name="T21" fmla="*/ 512 h 574"/>
                <a:gd name="T22" fmla="*/ 550 w 979"/>
                <a:gd name="T23" fmla="*/ 512 h 574"/>
                <a:gd name="T24" fmla="*/ 512 w 979"/>
                <a:gd name="T25" fmla="*/ 497 h 574"/>
                <a:gd name="T26" fmla="*/ 481 w 979"/>
                <a:gd name="T27" fmla="*/ 542 h 574"/>
                <a:gd name="T28" fmla="*/ 443 w 979"/>
                <a:gd name="T29" fmla="*/ 481 h 574"/>
                <a:gd name="T30" fmla="*/ 374 w 979"/>
                <a:gd name="T31" fmla="*/ 497 h 574"/>
                <a:gd name="T32" fmla="*/ 344 w 979"/>
                <a:gd name="T33" fmla="*/ 489 h 574"/>
                <a:gd name="T34" fmla="*/ 313 w 979"/>
                <a:gd name="T35" fmla="*/ 466 h 574"/>
                <a:gd name="T36" fmla="*/ 237 w 979"/>
                <a:gd name="T37" fmla="*/ 489 h 574"/>
                <a:gd name="T38" fmla="*/ 175 w 979"/>
                <a:gd name="T39" fmla="*/ 497 h 574"/>
                <a:gd name="T40" fmla="*/ 107 w 979"/>
                <a:gd name="T41" fmla="*/ 481 h 574"/>
                <a:gd name="T42" fmla="*/ 76 w 979"/>
                <a:gd name="T43" fmla="*/ 466 h 574"/>
                <a:gd name="T44" fmla="*/ 76 w 979"/>
                <a:gd name="T45" fmla="*/ 466 h 574"/>
                <a:gd name="T46" fmla="*/ 99 w 979"/>
                <a:gd name="T47" fmla="*/ 390 h 574"/>
                <a:gd name="T48" fmla="*/ 38 w 979"/>
                <a:gd name="T49" fmla="*/ 275 h 574"/>
                <a:gd name="T50" fmla="*/ 69 w 979"/>
                <a:gd name="T51" fmla="*/ 237 h 574"/>
                <a:gd name="T52" fmla="*/ 23 w 979"/>
                <a:gd name="T53" fmla="*/ 191 h 574"/>
                <a:gd name="T54" fmla="*/ 31 w 979"/>
                <a:gd name="T55" fmla="*/ 122 h 574"/>
                <a:gd name="T56" fmla="*/ 15 w 979"/>
                <a:gd name="T57" fmla="*/ 46 h 574"/>
                <a:gd name="T58" fmla="*/ 69 w 979"/>
                <a:gd name="T59" fmla="*/ 15 h 574"/>
                <a:gd name="T60" fmla="*/ 69 w 979"/>
                <a:gd name="T61" fmla="*/ 15 h 574"/>
                <a:gd name="T62" fmla="*/ 145 w 979"/>
                <a:gd name="T63" fmla="*/ 54 h 574"/>
                <a:gd name="T64" fmla="*/ 214 w 979"/>
                <a:gd name="T65" fmla="*/ 61 h 574"/>
                <a:gd name="T66" fmla="*/ 306 w 979"/>
                <a:gd name="T67" fmla="*/ 8 h 574"/>
                <a:gd name="T68" fmla="*/ 374 w 979"/>
                <a:gd name="T69" fmla="*/ 46 h 574"/>
                <a:gd name="T70" fmla="*/ 382 w 979"/>
                <a:gd name="T71" fmla="*/ 8 h 574"/>
                <a:gd name="T72" fmla="*/ 405 w 979"/>
                <a:gd name="T73" fmla="*/ 8 h 574"/>
                <a:gd name="T74" fmla="*/ 466 w 979"/>
                <a:gd name="T75" fmla="*/ 107 h 574"/>
                <a:gd name="T76" fmla="*/ 527 w 979"/>
                <a:gd name="T77" fmla="*/ 145 h 574"/>
                <a:gd name="T78" fmla="*/ 588 w 979"/>
                <a:gd name="T79" fmla="*/ 115 h 574"/>
                <a:gd name="T80" fmla="*/ 664 w 979"/>
                <a:gd name="T81" fmla="*/ 77 h 574"/>
                <a:gd name="T82" fmla="*/ 710 w 979"/>
                <a:gd name="T83" fmla="*/ 92 h 574"/>
                <a:gd name="T84" fmla="*/ 733 w 979"/>
                <a:gd name="T85" fmla="*/ 77 h 574"/>
                <a:gd name="T86" fmla="*/ 817 w 979"/>
                <a:gd name="T87" fmla="*/ 92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79" h="574">
                  <a:moveTo>
                    <a:pt x="817" y="92"/>
                  </a:moveTo>
                  <a:lnTo>
                    <a:pt x="817" y="92"/>
                  </a:lnTo>
                  <a:cubicBezTo>
                    <a:pt x="832" y="115"/>
                    <a:pt x="840" y="145"/>
                    <a:pt x="855" y="168"/>
                  </a:cubicBezTo>
                  <a:cubicBezTo>
                    <a:pt x="886" y="206"/>
                    <a:pt x="947" y="222"/>
                    <a:pt x="962" y="267"/>
                  </a:cubicBezTo>
                  <a:cubicBezTo>
                    <a:pt x="978" y="344"/>
                    <a:pt x="939" y="420"/>
                    <a:pt x="932" y="497"/>
                  </a:cubicBezTo>
                  <a:lnTo>
                    <a:pt x="932" y="497"/>
                  </a:lnTo>
                  <a:cubicBezTo>
                    <a:pt x="748" y="573"/>
                    <a:pt x="748" y="573"/>
                    <a:pt x="748" y="573"/>
                  </a:cubicBezTo>
                  <a:lnTo>
                    <a:pt x="748" y="573"/>
                  </a:lnTo>
                  <a:cubicBezTo>
                    <a:pt x="718" y="550"/>
                    <a:pt x="680" y="520"/>
                    <a:pt x="642" y="504"/>
                  </a:cubicBezTo>
                  <a:cubicBezTo>
                    <a:pt x="626" y="497"/>
                    <a:pt x="611" y="489"/>
                    <a:pt x="603" y="489"/>
                  </a:cubicBezTo>
                  <a:cubicBezTo>
                    <a:pt x="596" y="497"/>
                    <a:pt x="603" y="504"/>
                    <a:pt x="596" y="512"/>
                  </a:cubicBezTo>
                  <a:cubicBezTo>
                    <a:pt x="580" y="512"/>
                    <a:pt x="565" y="512"/>
                    <a:pt x="550" y="512"/>
                  </a:cubicBezTo>
                  <a:cubicBezTo>
                    <a:pt x="535" y="512"/>
                    <a:pt x="527" y="489"/>
                    <a:pt x="512" y="497"/>
                  </a:cubicBezTo>
                  <a:cubicBezTo>
                    <a:pt x="496" y="504"/>
                    <a:pt x="504" y="542"/>
                    <a:pt x="481" y="542"/>
                  </a:cubicBezTo>
                  <a:cubicBezTo>
                    <a:pt x="458" y="535"/>
                    <a:pt x="466" y="489"/>
                    <a:pt x="443" y="481"/>
                  </a:cubicBezTo>
                  <a:cubicBezTo>
                    <a:pt x="420" y="474"/>
                    <a:pt x="397" y="497"/>
                    <a:pt x="374" y="497"/>
                  </a:cubicBezTo>
                  <a:cubicBezTo>
                    <a:pt x="367" y="497"/>
                    <a:pt x="351" y="497"/>
                    <a:pt x="344" y="489"/>
                  </a:cubicBezTo>
                  <a:cubicBezTo>
                    <a:pt x="328" y="481"/>
                    <a:pt x="328" y="466"/>
                    <a:pt x="313" y="466"/>
                  </a:cubicBezTo>
                  <a:cubicBezTo>
                    <a:pt x="290" y="466"/>
                    <a:pt x="260" y="481"/>
                    <a:pt x="237" y="489"/>
                  </a:cubicBezTo>
                  <a:cubicBezTo>
                    <a:pt x="214" y="497"/>
                    <a:pt x="198" y="504"/>
                    <a:pt x="175" y="497"/>
                  </a:cubicBezTo>
                  <a:cubicBezTo>
                    <a:pt x="153" y="497"/>
                    <a:pt x="130" y="489"/>
                    <a:pt x="107" y="481"/>
                  </a:cubicBezTo>
                  <a:cubicBezTo>
                    <a:pt x="99" y="481"/>
                    <a:pt x="92" y="474"/>
                    <a:pt x="76" y="466"/>
                  </a:cubicBezTo>
                  <a:lnTo>
                    <a:pt x="76" y="466"/>
                  </a:lnTo>
                  <a:cubicBezTo>
                    <a:pt x="84" y="443"/>
                    <a:pt x="107" y="420"/>
                    <a:pt x="99" y="390"/>
                  </a:cubicBezTo>
                  <a:cubicBezTo>
                    <a:pt x="92" y="352"/>
                    <a:pt x="53" y="313"/>
                    <a:pt x="38" y="275"/>
                  </a:cubicBezTo>
                  <a:cubicBezTo>
                    <a:pt x="38" y="260"/>
                    <a:pt x="69" y="252"/>
                    <a:pt x="69" y="237"/>
                  </a:cubicBezTo>
                  <a:cubicBezTo>
                    <a:pt x="61" y="222"/>
                    <a:pt x="31" y="214"/>
                    <a:pt x="23" y="191"/>
                  </a:cubicBezTo>
                  <a:cubicBezTo>
                    <a:pt x="15" y="168"/>
                    <a:pt x="31" y="145"/>
                    <a:pt x="31" y="122"/>
                  </a:cubicBezTo>
                  <a:cubicBezTo>
                    <a:pt x="23" y="100"/>
                    <a:pt x="0" y="69"/>
                    <a:pt x="15" y="46"/>
                  </a:cubicBezTo>
                  <a:cubicBezTo>
                    <a:pt x="23" y="31"/>
                    <a:pt x="46" y="23"/>
                    <a:pt x="69" y="15"/>
                  </a:cubicBezTo>
                  <a:lnTo>
                    <a:pt x="69" y="15"/>
                  </a:lnTo>
                  <a:cubicBezTo>
                    <a:pt x="92" y="31"/>
                    <a:pt x="122" y="46"/>
                    <a:pt x="145" y="54"/>
                  </a:cubicBezTo>
                  <a:cubicBezTo>
                    <a:pt x="168" y="61"/>
                    <a:pt x="191" y="69"/>
                    <a:pt x="214" y="61"/>
                  </a:cubicBezTo>
                  <a:cubicBezTo>
                    <a:pt x="244" y="54"/>
                    <a:pt x="267" y="8"/>
                    <a:pt x="306" y="8"/>
                  </a:cubicBezTo>
                  <a:cubicBezTo>
                    <a:pt x="328" y="0"/>
                    <a:pt x="344" y="46"/>
                    <a:pt x="374" y="46"/>
                  </a:cubicBezTo>
                  <a:cubicBezTo>
                    <a:pt x="382" y="46"/>
                    <a:pt x="374" y="15"/>
                    <a:pt x="382" y="8"/>
                  </a:cubicBezTo>
                  <a:cubicBezTo>
                    <a:pt x="382" y="0"/>
                    <a:pt x="397" y="0"/>
                    <a:pt x="405" y="8"/>
                  </a:cubicBezTo>
                  <a:cubicBezTo>
                    <a:pt x="428" y="38"/>
                    <a:pt x="443" y="77"/>
                    <a:pt x="466" y="107"/>
                  </a:cubicBezTo>
                  <a:cubicBezTo>
                    <a:pt x="481" y="122"/>
                    <a:pt x="504" y="145"/>
                    <a:pt x="527" y="145"/>
                  </a:cubicBezTo>
                  <a:cubicBezTo>
                    <a:pt x="550" y="145"/>
                    <a:pt x="573" y="130"/>
                    <a:pt x="588" y="115"/>
                  </a:cubicBezTo>
                  <a:cubicBezTo>
                    <a:pt x="619" y="107"/>
                    <a:pt x="642" y="84"/>
                    <a:pt x="664" y="77"/>
                  </a:cubicBezTo>
                  <a:cubicBezTo>
                    <a:pt x="680" y="77"/>
                    <a:pt x="695" y="92"/>
                    <a:pt x="710" y="92"/>
                  </a:cubicBezTo>
                  <a:cubicBezTo>
                    <a:pt x="718" y="92"/>
                    <a:pt x="725" y="77"/>
                    <a:pt x="733" y="77"/>
                  </a:cubicBezTo>
                  <a:cubicBezTo>
                    <a:pt x="764" y="77"/>
                    <a:pt x="794" y="84"/>
                    <a:pt x="817" y="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4" name="Freeform 176"/>
            <p:cNvSpPr>
              <a:spLocks noChangeArrowheads="1"/>
            </p:cNvSpPr>
            <p:nvPr/>
          </p:nvSpPr>
          <p:spPr bwMode="auto">
            <a:xfrm>
              <a:off x="4022463" y="5729288"/>
              <a:ext cx="292081" cy="252412"/>
            </a:xfrm>
            <a:custGeom>
              <a:avLst/>
              <a:gdLst>
                <a:gd name="T0" fmla="*/ 0 w 810"/>
                <a:gd name="T1" fmla="*/ 572 h 703"/>
                <a:gd name="T2" fmla="*/ 0 w 810"/>
                <a:gd name="T3" fmla="*/ 572 h 703"/>
                <a:gd name="T4" fmla="*/ 76 w 810"/>
                <a:gd name="T5" fmla="*/ 611 h 703"/>
                <a:gd name="T6" fmla="*/ 145 w 810"/>
                <a:gd name="T7" fmla="*/ 618 h 703"/>
                <a:gd name="T8" fmla="*/ 237 w 810"/>
                <a:gd name="T9" fmla="*/ 565 h 703"/>
                <a:gd name="T10" fmla="*/ 305 w 810"/>
                <a:gd name="T11" fmla="*/ 603 h 703"/>
                <a:gd name="T12" fmla="*/ 313 w 810"/>
                <a:gd name="T13" fmla="*/ 565 h 703"/>
                <a:gd name="T14" fmla="*/ 336 w 810"/>
                <a:gd name="T15" fmla="*/ 565 h 703"/>
                <a:gd name="T16" fmla="*/ 397 w 810"/>
                <a:gd name="T17" fmla="*/ 664 h 703"/>
                <a:gd name="T18" fmla="*/ 458 w 810"/>
                <a:gd name="T19" fmla="*/ 702 h 703"/>
                <a:gd name="T20" fmla="*/ 519 w 810"/>
                <a:gd name="T21" fmla="*/ 672 h 703"/>
                <a:gd name="T22" fmla="*/ 595 w 810"/>
                <a:gd name="T23" fmla="*/ 634 h 703"/>
                <a:gd name="T24" fmla="*/ 641 w 810"/>
                <a:gd name="T25" fmla="*/ 649 h 703"/>
                <a:gd name="T26" fmla="*/ 664 w 810"/>
                <a:gd name="T27" fmla="*/ 634 h 703"/>
                <a:gd name="T28" fmla="*/ 748 w 810"/>
                <a:gd name="T29" fmla="*/ 649 h 703"/>
                <a:gd name="T30" fmla="*/ 748 w 810"/>
                <a:gd name="T31" fmla="*/ 649 h 703"/>
                <a:gd name="T32" fmla="*/ 786 w 810"/>
                <a:gd name="T33" fmla="*/ 572 h 703"/>
                <a:gd name="T34" fmla="*/ 794 w 810"/>
                <a:gd name="T35" fmla="*/ 519 h 703"/>
                <a:gd name="T36" fmla="*/ 779 w 810"/>
                <a:gd name="T37" fmla="*/ 458 h 703"/>
                <a:gd name="T38" fmla="*/ 779 w 810"/>
                <a:gd name="T39" fmla="*/ 458 h 703"/>
                <a:gd name="T40" fmla="*/ 794 w 810"/>
                <a:gd name="T41" fmla="*/ 374 h 703"/>
                <a:gd name="T42" fmla="*/ 809 w 810"/>
                <a:gd name="T43" fmla="*/ 343 h 703"/>
                <a:gd name="T44" fmla="*/ 779 w 810"/>
                <a:gd name="T45" fmla="*/ 236 h 703"/>
                <a:gd name="T46" fmla="*/ 740 w 810"/>
                <a:gd name="T47" fmla="*/ 168 h 703"/>
                <a:gd name="T48" fmla="*/ 740 w 810"/>
                <a:gd name="T49" fmla="*/ 84 h 703"/>
                <a:gd name="T50" fmla="*/ 740 w 810"/>
                <a:gd name="T51" fmla="*/ 84 h 703"/>
                <a:gd name="T52" fmla="*/ 687 w 810"/>
                <a:gd name="T53" fmla="*/ 0 h 703"/>
                <a:gd name="T54" fmla="*/ 687 w 810"/>
                <a:gd name="T55" fmla="*/ 0 h 703"/>
                <a:gd name="T56" fmla="*/ 656 w 810"/>
                <a:gd name="T57" fmla="*/ 39 h 703"/>
                <a:gd name="T58" fmla="*/ 595 w 810"/>
                <a:gd name="T59" fmla="*/ 46 h 703"/>
                <a:gd name="T60" fmla="*/ 557 w 810"/>
                <a:gd name="T61" fmla="*/ 31 h 703"/>
                <a:gd name="T62" fmla="*/ 527 w 810"/>
                <a:gd name="T63" fmla="*/ 39 h 703"/>
                <a:gd name="T64" fmla="*/ 504 w 810"/>
                <a:gd name="T65" fmla="*/ 77 h 703"/>
                <a:gd name="T66" fmla="*/ 458 w 810"/>
                <a:gd name="T67" fmla="*/ 91 h 703"/>
                <a:gd name="T68" fmla="*/ 420 w 810"/>
                <a:gd name="T69" fmla="*/ 54 h 703"/>
                <a:gd name="T70" fmla="*/ 313 w 810"/>
                <a:gd name="T71" fmla="*/ 91 h 703"/>
                <a:gd name="T72" fmla="*/ 313 w 810"/>
                <a:gd name="T73" fmla="*/ 91 h 703"/>
                <a:gd name="T74" fmla="*/ 336 w 810"/>
                <a:gd name="T75" fmla="*/ 137 h 703"/>
                <a:gd name="T76" fmla="*/ 336 w 810"/>
                <a:gd name="T77" fmla="*/ 206 h 703"/>
                <a:gd name="T78" fmla="*/ 305 w 810"/>
                <a:gd name="T79" fmla="*/ 213 h 703"/>
                <a:gd name="T80" fmla="*/ 275 w 810"/>
                <a:gd name="T81" fmla="*/ 290 h 703"/>
                <a:gd name="T82" fmla="*/ 175 w 810"/>
                <a:gd name="T83" fmla="*/ 252 h 703"/>
                <a:gd name="T84" fmla="*/ 145 w 810"/>
                <a:gd name="T85" fmla="*/ 259 h 703"/>
                <a:gd name="T86" fmla="*/ 145 w 810"/>
                <a:gd name="T87" fmla="*/ 313 h 703"/>
                <a:gd name="T88" fmla="*/ 106 w 810"/>
                <a:gd name="T89" fmla="*/ 359 h 703"/>
                <a:gd name="T90" fmla="*/ 106 w 810"/>
                <a:gd name="T91" fmla="*/ 359 h 703"/>
                <a:gd name="T92" fmla="*/ 84 w 810"/>
                <a:gd name="T93" fmla="*/ 412 h 703"/>
                <a:gd name="T94" fmla="*/ 122 w 810"/>
                <a:gd name="T95" fmla="*/ 458 h 703"/>
                <a:gd name="T96" fmla="*/ 99 w 810"/>
                <a:gd name="T97" fmla="*/ 488 h 703"/>
                <a:gd name="T98" fmla="*/ 61 w 810"/>
                <a:gd name="T99" fmla="*/ 488 h 703"/>
                <a:gd name="T100" fmla="*/ 61 w 810"/>
                <a:gd name="T101" fmla="*/ 488 h 703"/>
                <a:gd name="T102" fmla="*/ 53 w 810"/>
                <a:gd name="T103" fmla="*/ 549 h 703"/>
                <a:gd name="T104" fmla="*/ 0 w 810"/>
                <a:gd name="T105" fmla="*/ 572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10" h="703">
                  <a:moveTo>
                    <a:pt x="0" y="572"/>
                  </a:moveTo>
                  <a:lnTo>
                    <a:pt x="0" y="572"/>
                  </a:lnTo>
                  <a:cubicBezTo>
                    <a:pt x="23" y="588"/>
                    <a:pt x="53" y="603"/>
                    <a:pt x="76" y="611"/>
                  </a:cubicBezTo>
                  <a:cubicBezTo>
                    <a:pt x="99" y="618"/>
                    <a:pt x="122" y="626"/>
                    <a:pt x="145" y="618"/>
                  </a:cubicBezTo>
                  <a:cubicBezTo>
                    <a:pt x="175" y="611"/>
                    <a:pt x="198" y="565"/>
                    <a:pt x="237" y="565"/>
                  </a:cubicBezTo>
                  <a:cubicBezTo>
                    <a:pt x="259" y="557"/>
                    <a:pt x="275" y="603"/>
                    <a:pt x="305" y="603"/>
                  </a:cubicBezTo>
                  <a:cubicBezTo>
                    <a:pt x="313" y="603"/>
                    <a:pt x="305" y="572"/>
                    <a:pt x="313" y="565"/>
                  </a:cubicBezTo>
                  <a:cubicBezTo>
                    <a:pt x="313" y="557"/>
                    <a:pt x="328" y="557"/>
                    <a:pt x="336" y="565"/>
                  </a:cubicBezTo>
                  <a:cubicBezTo>
                    <a:pt x="359" y="595"/>
                    <a:pt x="374" y="634"/>
                    <a:pt x="397" y="664"/>
                  </a:cubicBezTo>
                  <a:cubicBezTo>
                    <a:pt x="412" y="679"/>
                    <a:pt x="435" y="702"/>
                    <a:pt x="458" y="702"/>
                  </a:cubicBezTo>
                  <a:cubicBezTo>
                    <a:pt x="481" y="702"/>
                    <a:pt x="504" y="687"/>
                    <a:pt x="519" y="672"/>
                  </a:cubicBezTo>
                  <a:cubicBezTo>
                    <a:pt x="550" y="664"/>
                    <a:pt x="573" y="641"/>
                    <a:pt x="595" y="634"/>
                  </a:cubicBezTo>
                  <a:cubicBezTo>
                    <a:pt x="611" y="634"/>
                    <a:pt x="626" y="649"/>
                    <a:pt x="641" y="649"/>
                  </a:cubicBezTo>
                  <a:cubicBezTo>
                    <a:pt x="649" y="649"/>
                    <a:pt x="656" y="634"/>
                    <a:pt x="664" y="634"/>
                  </a:cubicBezTo>
                  <a:cubicBezTo>
                    <a:pt x="695" y="634"/>
                    <a:pt x="725" y="641"/>
                    <a:pt x="748" y="649"/>
                  </a:cubicBezTo>
                  <a:lnTo>
                    <a:pt x="748" y="649"/>
                  </a:lnTo>
                  <a:cubicBezTo>
                    <a:pt x="763" y="626"/>
                    <a:pt x="771" y="595"/>
                    <a:pt x="786" y="572"/>
                  </a:cubicBezTo>
                  <a:cubicBezTo>
                    <a:pt x="786" y="557"/>
                    <a:pt x="794" y="534"/>
                    <a:pt x="794" y="519"/>
                  </a:cubicBezTo>
                  <a:cubicBezTo>
                    <a:pt x="794" y="504"/>
                    <a:pt x="786" y="481"/>
                    <a:pt x="779" y="458"/>
                  </a:cubicBezTo>
                  <a:lnTo>
                    <a:pt x="779" y="458"/>
                  </a:lnTo>
                  <a:cubicBezTo>
                    <a:pt x="786" y="435"/>
                    <a:pt x="786" y="405"/>
                    <a:pt x="794" y="374"/>
                  </a:cubicBezTo>
                  <a:cubicBezTo>
                    <a:pt x="794" y="366"/>
                    <a:pt x="809" y="359"/>
                    <a:pt x="809" y="343"/>
                  </a:cubicBezTo>
                  <a:cubicBezTo>
                    <a:pt x="802" y="305"/>
                    <a:pt x="786" y="267"/>
                    <a:pt x="779" y="236"/>
                  </a:cubicBezTo>
                  <a:cubicBezTo>
                    <a:pt x="763" y="206"/>
                    <a:pt x="748" y="191"/>
                    <a:pt x="740" y="168"/>
                  </a:cubicBezTo>
                  <a:cubicBezTo>
                    <a:pt x="733" y="137"/>
                    <a:pt x="740" y="114"/>
                    <a:pt x="740" y="84"/>
                  </a:cubicBezTo>
                  <a:lnTo>
                    <a:pt x="740" y="84"/>
                  </a:lnTo>
                  <a:cubicBezTo>
                    <a:pt x="687" y="0"/>
                    <a:pt x="687" y="0"/>
                    <a:pt x="687" y="0"/>
                  </a:cubicBezTo>
                  <a:lnTo>
                    <a:pt x="687" y="0"/>
                  </a:lnTo>
                  <a:cubicBezTo>
                    <a:pt x="679" y="16"/>
                    <a:pt x="672" y="31"/>
                    <a:pt x="656" y="39"/>
                  </a:cubicBezTo>
                  <a:cubicBezTo>
                    <a:pt x="641" y="46"/>
                    <a:pt x="618" y="46"/>
                    <a:pt x="595" y="46"/>
                  </a:cubicBezTo>
                  <a:cubicBezTo>
                    <a:pt x="580" y="46"/>
                    <a:pt x="573" y="39"/>
                    <a:pt x="557" y="31"/>
                  </a:cubicBezTo>
                  <a:cubicBezTo>
                    <a:pt x="542" y="31"/>
                    <a:pt x="534" y="31"/>
                    <a:pt x="527" y="39"/>
                  </a:cubicBezTo>
                  <a:cubicBezTo>
                    <a:pt x="511" y="46"/>
                    <a:pt x="511" y="69"/>
                    <a:pt x="504" y="77"/>
                  </a:cubicBezTo>
                  <a:cubicBezTo>
                    <a:pt x="488" y="84"/>
                    <a:pt x="473" y="91"/>
                    <a:pt x="458" y="91"/>
                  </a:cubicBezTo>
                  <a:cubicBezTo>
                    <a:pt x="443" y="84"/>
                    <a:pt x="435" y="54"/>
                    <a:pt x="420" y="54"/>
                  </a:cubicBezTo>
                  <a:cubicBezTo>
                    <a:pt x="381" y="54"/>
                    <a:pt x="343" y="77"/>
                    <a:pt x="313" y="91"/>
                  </a:cubicBezTo>
                  <a:lnTo>
                    <a:pt x="313" y="91"/>
                  </a:lnTo>
                  <a:cubicBezTo>
                    <a:pt x="320" y="107"/>
                    <a:pt x="328" y="122"/>
                    <a:pt x="336" y="137"/>
                  </a:cubicBezTo>
                  <a:cubicBezTo>
                    <a:pt x="343" y="160"/>
                    <a:pt x="343" y="183"/>
                    <a:pt x="336" y="206"/>
                  </a:cubicBezTo>
                  <a:cubicBezTo>
                    <a:pt x="328" y="221"/>
                    <a:pt x="305" y="206"/>
                    <a:pt x="305" y="213"/>
                  </a:cubicBezTo>
                  <a:cubicBezTo>
                    <a:pt x="282" y="236"/>
                    <a:pt x="298" y="282"/>
                    <a:pt x="275" y="290"/>
                  </a:cubicBezTo>
                  <a:cubicBezTo>
                    <a:pt x="237" y="297"/>
                    <a:pt x="206" y="259"/>
                    <a:pt x="175" y="252"/>
                  </a:cubicBezTo>
                  <a:cubicBezTo>
                    <a:pt x="160" y="252"/>
                    <a:pt x="152" y="252"/>
                    <a:pt x="145" y="259"/>
                  </a:cubicBezTo>
                  <a:cubicBezTo>
                    <a:pt x="137" y="274"/>
                    <a:pt x="152" y="297"/>
                    <a:pt x="145" y="313"/>
                  </a:cubicBezTo>
                  <a:cubicBezTo>
                    <a:pt x="137" y="336"/>
                    <a:pt x="122" y="343"/>
                    <a:pt x="106" y="359"/>
                  </a:cubicBezTo>
                  <a:lnTo>
                    <a:pt x="106" y="359"/>
                  </a:lnTo>
                  <a:cubicBezTo>
                    <a:pt x="99" y="374"/>
                    <a:pt x="84" y="389"/>
                    <a:pt x="84" y="412"/>
                  </a:cubicBezTo>
                  <a:cubicBezTo>
                    <a:pt x="84" y="427"/>
                    <a:pt x="114" y="435"/>
                    <a:pt x="122" y="458"/>
                  </a:cubicBezTo>
                  <a:cubicBezTo>
                    <a:pt x="122" y="465"/>
                    <a:pt x="114" y="481"/>
                    <a:pt x="99" y="488"/>
                  </a:cubicBezTo>
                  <a:cubicBezTo>
                    <a:pt x="91" y="488"/>
                    <a:pt x="76" y="488"/>
                    <a:pt x="61" y="488"/>
                  </a:cubicBezTo>
                  <a:lnTo>
                    <a:pt x="61" y="488"/>
                  </a:lnTo>
                  <a:cubicBezTo>
                    <a:pt x="53" y="511"/>
                    <a:pt x="61" y="534"/>
                    <a:pt x="53" y="549"/>
                  </a:cubicBezTo>
                  <a:cubicBezTo>
                    <a:pt x="38" y="565"/>
                    <a:pt x="15" y="565"/>
                    <a:pt x="0" y="57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5" name="Freeform 177"/>
            <p:cNvSpPr>
              <a:spLocks noChangeArrowheads="1"/>
            </p:cNvSpPr>
            <p:nvPr/>
          </p:nvSpPr>
          <p:spPr bwMode="auto">
            <a:xfrm>
              <a:off x="4285972" y="5641976"/>
              <a:ext cx="315892" cy="258763"/>
            </a:xfrm>
            <a:custGeom>
              <a:avLst/>
              <a:gdLst>
                <a:gd name="T0" fmla="*/ 642 w 879"/>
                <a:gd name="T1" fmla="*/ 671 h 718"/>
                <a:gd name="T2" fmla="*/ 642 w 879"/>
                <a:gd name="T3" fmla="*/ 671 h 718"/>
                <a:gd name="T4" fmla="*/ 703 w 879"/>
                <a:gd name="T5" fmla="*/ 664 h 718"/>
                <a:gd name="T6" fmla="*/ 718 w 879"/>
                <a:gd name="T7" fmla="*/ 671 h 718"/>
                <a:gd name="T8" fmla="*/ 733 w 879"/>
                <a:gd name="T9" fmla="*/ 656 h 718"/>
                <a:gd name="T10" fmla="*/ 779 w 879"/>
                <a:gd name="T11" fmla="*/ 649 h 718"/>
                <a:gd name="T12" fmla="*/ 779 w 879"/>
                <a:gd name="T13" fmla="*/ 649 h 718"/>
                <a:gd name="T14" fmla="*/ 756 w 879"/>
                <a:gd name="T15" fmla="*/ 580 h 718"/>
                <a:gd name="T16" fmla="*/ 855 w 879"/>
                <a:gd name="T17" fmla="*/ 572 h 718"/>
                <a:gd name="T18" fmla="*/ 878 w 879"/>
                <a:gd name="T19" fmla="*/ 557 h 718"/>
                <a:gd name="T20" fmla="*/ 848 w 879"/>
                <a:gd name="T21" fmla="*/ 496 h 718"/>
                <a:gd name="T22" fmla="*/ 817 w 879"/>
                <a:gd name="T23" fmla="*/ 496 h 718"/>
                <a:gd name="T24" fmla="*/ 802 w 879"/>
                <a:gd name="T25" fmla="*/ 480 h 718"/>
                <a:gd name="T26" fmla="*/ 764 w 879"/>
                <a:gd name="T27" fmla="*/ 480 h 718"/>
                <a:gd name="T28" fmla="*/ 733 w 879"/>
                <a:gd name="T29" fmla="*/ 389 h 718"/>
                <a:gd name="T30" fmla="*/ 726 w 879"/>
                <a:gd name="T31" fmla="*/ 381 h 718"/>
                <a:gd name="T32" fmla="*/ 741 w 879"/>
                <a:gd name="T33" fmla="*/ 343 h 718"/>
                <a:gd name="T34" fmla="*/ 756 w 879"/>
                <a:gd name="T35" fmla="*/ 267 h 718"/>
                <a:gd name="T36" fmla="*/ 733 w 879"/>
                <a:gd name="T37" fmla="*/ 244 h 718"/>
                <a:gd name="T38" fmla="*/ 642 w 879"/>
                <a:gd name="T39" fmla="*/ 145 h 718"/>
                <a:gd name="T40" fmla="*/ 642 w 879"/>
                <a:gd name="T41" fmla="*/ 145 h 718"/>
                <a:gd name="T42" fmla="*/ 580 w 879"/>
                <a:gd name="T43" fmla="*/ 122 h 718"/>
                <a:gd name="T44" fmla="*/ 542 w 879"/>
                <a:gd name="T45" fmla="*/ 8 h 718"/>
                <a:gd name="T46" fmla="*/ 504 w 879"/>
                <a:gd name="T47" fmla="*/ 8 h 718"/>
                <a:gd name="T48" fmla="*/ 504 w 879"/>
                <a:gd name="T49" fmla="*/ 8 h 718"/>
                <a:gd name="T50" fmla="*/ 405 w 879"/>
                <a:gd name="T51" fmla="*/ 61 h 718"/>
                <a:gd name="T52" fmla="*/ 351 w 879"/>
                <a:gd name="T53" fmla="*/ 84 h 718"/>
                <a:gd name="T54" fmla="*/ 290 w 879"/>
                <a:gd name="T55" fmla="*/ 77 h 718"/>
                <a:gd name="T56" fmla="*/ 290 w 879"/>
                <a:gd name="T57" fmla="*/ 153 h 718"/>
                <a:gd name="T58" fmla="*/ 252 w 879"/>
                <a:gd name="T59" fmla="*/ 145 h 718"/>
                <a:gd name="T60" fmla="*/ 229 w 879"/>
                <a:gd name="T61" fmla="*/ 168 h 718"/>
                <a:gd name="T62" fmla="*/ 183 w 879"/>
                <a:gd name="T63" fmla="*/ 161 h 718"/>
                <a:gd name="T64" fmla="*/ 145 w 879"/>
                <a:gd name="T65" fmla="*/ 191 h 718"/>
                <a:gd name="T66" fmla="*/ 92 w 879"/>
                <a:gd name="T67" fmla="*/ 206 h 718"/>
                <a:gd name="T68" fmla="*/ 153 w 879"/>
                <a:gd name="T69" fmla="*/ 267 h 718"/>
                <a:gd name="T70" fmla="*/ 130 w 879"/>
                <a:gd name="T71" fmla="*/ 283 h 718"/>
                <a:gd name="T72" fmla="*/ 130 w 879"/>
                <a:gd name="T73" fmla="*/ 335 h 718"/>
                <a:gd name="T74" fmla="*/ 53 w 879"/>
                <a:gd name="T75" fmla="*/ 321 h 718"/>
                <a:gd name="T76" fmla="*/ 7 w 879"/>
                <a:gd name="T77" fmla="*/ 328 h 718"/>
                <a:gd name="T78" fmla="*/ 7 w 879"/>
                <a:gd name="T79" fmla="*/ 328 h 718"/>
                <a:gd name="T80" fmla="*/ 7 w 879"/>
                <a:gd name="T81" fmla="*/ 412 h 718"/>
                <a:gd name="T82" fmla="*/ 46 w 879"/>
                <a:gd name="T83" fmla="*/ 480 h 718"/>
                <a:gd name="T84" fmla="*/ 76 w 879"/>
                <a:gd name="T85" fmla="*/ 587 h 718"/>
                <a:gd name="T86" fmla="*/ 61 w 879"/>
                <a:gd name="T87" fmla="*/ 618 h 718"/>
                <a:gd name="T88" fmla="*/ 46 w 879"/>
                <a:gd name="T89" fmla="*/ 702 h 718"/>
                <a:gd name="T90" fmla="*/ 46 w 879"/>
                <a:gd name="T91" fmla="*/ 702 h 718"/>
                <a:gd name="T92" fmla="*/ 145 w 879"/>
                <a:gd name="T93" fmla="*/ 702 h 718"/>
                <a:gd name="T94" fmla="*/ 206 w 879"/>
                <a:gd name="T95" fmla="*/ 709 h 718"/>
                <a:gd name="T96" fmla="*/ 252 w 879"/>
                <a:gd name="T97" fmla="*/ 656 h 718"/>
                <a:gd name="T98" fmla="*/ 313 w 879"/>
                <a:gd name="T99" fmla="*/ 679 h 718"/>
                <a:gd name="T100" fmla="*/ 390 w 879"/>
                <a:gd name="T101" fmla="*/ 679 h 718"/>
                <a:gd name="T102" fmla="*/ 382 w 879"/>
                <a:gd name="T103" fmla="*/ 664 h 718"/>
                <a:gd name="T104" fmla="*/ 443 w 879"/>
                <a:gd name="T105" fmla="*/ 679 h 718"/>
                <a:gd name="T106" fmla="*/ 504 w 879"/>
                <a:gd name="T107" fmla="*/ 633 h 718"/>
                <a:gd name="T108" fmla="*/ 573 w 879"/>
                <a:gd name="T109" fmla="*/ 618 h 718"/>
                <a:gd name="T110" fmla="*/ 619 w 879"/>
                <a:gd name="T111" fmla="*/ 626 h 718"/>
                <a:gd name="T112" fmla="*/ 642 w 879"/>
                <a:gd name="T113" fmla="*/ 67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79" h="718">
                  <a:moveTo>
                    <a:pt x="642" y="671"/>
                  </a:moveTo>
                  <a:lnTo>
                    <a:pt x="642" y="671"/>
                  </a:lnTo>
                  <a:cubicBezTo>
                    <a:pt x="664" y="664"/>
                    <a:pt x="680" y="656"/>
                    <a:pt x="703" y="664"/>
                  </a:cubicBezTo>
                  <a:cubicBezTo>
                    <a:pt x="710" y="664"/>
                    <a:pt x="710" y="679"/>
                    <a:pt x="718" y="671"/>
                  </a:cubicBezTo>
                  <a:cubicBezTo>
                    <a:pt x="726" y="671"/>
                    <a:pt x="726" y="656"/>
                    <a:pt x="733" y="656"/>
                  </a:cubicBezTo>
                  <a:cubicBezTo>
                    <a:pt x="748" y="649"/>
                    <a:pt x="764" y="649"/>
                    <a:pt x="779" y="649"/>
                  </a:cubicBezTo>
                  <a:lnTo>
                    <a:pt x="779" y="649"/>
                  </a:lnTo>
                  <a:cubicBezTo>
                    <a:pt x="771" y="626"/>
                    <a:pt x="741" y="595"/>
                    <a:pt x="756" y="580"/>
                  </a:cubicBezTo>
                  <a:cubicBezTo>
                    <a:pt x="787" y="557"/>
                    <a:pt x="825" y="580"/>
                    <a:pt x="855" y="572"/>
                  </a:cubicBezTo>
                  <a:cubicBezTo>
                    <a:pt x="871" y="572"/>
                    <a:pt x="878" y="564"/>
                    <a:pt x="878" y="557"/>
                  </a:cubicBezTo>
                  <a:cubicBezTo>
                    <a:pt x="878" y="534"/>
                    <a:pt x="863" y="511"/>
                    <a:pt x="848" y="496"/>
                  </a:cubicBezTo>
                  <a:cubicBezTo>
                    <a:pt x="840" y="488"/>
                    <a:pt x="825" y="503"/>
                    <a:pt x="817" y="496"/>
                  </a:cubicBezTo>
                  <a:cubicBezTo>
                    <a:pt x="809" y="496"/>
                    <a:pt x="809" y="480"/>
                    <a:pt x="802" y="480"/>
                  </a:cubicBezTo>
                  <a:cubicBezTo>
                    <a:pt x="787" y="473"/>
                    <a:pt x="771" y="488"/>
                    <a:pt x="764" y="480"/>
                  </a:cubicBezTo>
                  <a:cubicBezTo>
                    <a:pt x="748" y="457"/>
                    <a:pt x="748" y="419"/>
                    <a:pt x="733" y="389"/>
                  </a:cubicBezTo>
                  <a:lnTo>
                    <a:pt x="726" y="381"/>
                  </a:lnTo>
                  <a:cubicBezTo>
                    <a:pt x="726" y="366"/>
                    <a:pt x="733" y="358"/>
                    <a:pt x="741" y="343"/>
                  </a:cubicBezTo>
                  <a:cubicBezTo>
                    <a:pt x="748" y="321"/>
                    <a:pt x="756" y="290"/>
                    <a:pt x="756" y="267"/>
                  </a:cubicBezTo>
                  <a:cubicBezTo>
                    <a:pt x="756" y="252"/>
                    <a:pt x="741" y="252"/>
                    <a:pt x="733" y="244"/>
                  </a:cubicBezTo>
                  <a:cubicBezTo>
                    <a:pt x="703" y="214"/>
                    <a:pt x="672" y="176"/>
                    <a:pt x="642" y="145"/>
                  </a:cubicBezTo>
                  <a:lnTo>
                    <a:pt x="642" y="145"/>
                  </a:lnTo>
                  <a:cubicBezTo>
                    <a:pt x="619" y="138"/>
                    <a:pt x="596" y="138"/>
                    <a:pt x="580" y="122"/>
                  </a:cubicBezTo>
                  <a:cubicBezTo>
                    <a:pt x="557" y="92"/>
                    <a:pt x="565" y="38"/>
                    <a:pt x="542" y="8"/>
                  </a:cubicBezTo>
                  <a:cubicBezTo>
                    <a:pt x="534" y="0"/>
                    <a:pt x="512" y="8"/>
                    <a:pt x="504" y="8"/>
                  </a:cubicBezTo>
                  <a:lnTo>
                    <a:pt x="504" y="8"/>
                  </a:lnTo>
                  <a:cubicBezTo>
                    <a:pt x="473" y="31"/>
                    <a:pt x="443" y="46"/>
                    <a:pt x="405" y="61"/>
                  </a:cubicBezTo>
                  <a:cubicBezTo>
                    <a:pt x="390" y="77"/>
                    <a:pt x="374" y="84"/>
                    <a:pt x="351" y="84"/>
                  </a:cubicBezTo>
                  <a:cubicBezTo>
                    <a:pt x="328" y="92"/>
                    <a:pt x="305" y="69"/>
                    <a:pt x="290" y="77"/>
                  </a:cubicBezTo>
                  <a:cubicBezTo>
                    <a:pt x="275" y="100"/>
                    <a:pt x="298" y="130"/>
                    <a:pt x="290" y="153"/>
                  </a:cubicBezTo>
                  <a:cubicBezTo>
                    <a:pt x="282" y="161"/>
                    <a:pt x="259" y="145"/>
                    <a:pt x="252" y="145"/>
                  </a:cubicBezTo>
                  <a:cubicBezTo>
                    <a:pt x="237" y="153"/>
                    <a:pt x="237" y="168"/>
                    <a:pt x="229" y="168"/>
                  </a:cubicBezTo>
                  <a:cubicBezTo>
                    <a:pt x="214" y="168"/>
                    <a:pt x="198" y="161"/>
                    <a:pt x="183" y="161"/>
                  </a:cubicBezTo>
                  <a:cubicBezTo>
                    <a:pt x="168" y="168"/>
                    <a:pt x="160" y="183"/>
                    <a:pt x="145" y="191"/>
                  </a:cubicBezTo>
                  <a:cubicBezTo>
                    <a:pt x="130" y="199"/>
                    <a:pt x="92" y="191"/>
                    <a:pt x="92" y="206"/>
                  </a:cubicBezTo>
                  <a:cubicBezTo>
                    <a:pt x="99" y="237"/>
                    <a:pt x="145" y="237"/>
                    <a:pt x="153" y="267"/>
                  </a:cubicBezTo>
                  <a:cubicBezTo>
                    <a:pt x="160" y="275"/>
                    <a:pt x="137" y="275"/>
                    <a:pt x="130" y="283"/>
                  </a:cubicBezTo>
                  <a:cubicBezTo>
                    <a:pt x="122" y="298"/>
                    <a:pt x="145" y="328"/>
                    <a:pt x="130" y="335"/>
                  </a:cubicBezTo>
                  <a:cubicBezTo>
                    <a:pt x="107" y="343"/>
                    <a:pt x="76" y="321"/>
                    <a:pt x="53" y="321"/>
                  </a:cubicBezTo>
                  <a:cubicBezTo>
                    <a:pt x="38" y="321"/>
                    <a:pt x="23" y="328"/>
                    <a:pt x="7" y="328"/>
                  </a:cubicBezTo>
                  <a:lnTo>
                    <a:pt x="7" y="328"/>
                  </a:lnTo>
                  <a:cubicBezTo>
                    <a:pt x="7" y="358"/>
                    <a:pt x="0" y="381"/>
                    <a:pt x="7" y="412"/>
                  </a:cubicBezTo>
                  <a:cubicBezTo>
                    <a:pt x="15" y="435"/>
                    <a:pt x="30" y="450"/>
                    <a:pt x="46" y="480"/>
                  </a:cubicBezTo>
                  <a:cubicBezTo>
                    <a:pt x="53" y="511"/>
                    <a:pt x="69" y="549"/>
                    <a:pt x="76" y="587"/>
                  </a:cubicBezTo>
                  <a:cubicBezTo>
                    <a:pt x="76" y="603"/>
                    <a:pt x="61" y="610"/>
                    <a:pt x="61" y="618"/>
                  </a:cubicBezTo>
                  <a:cubicBezTo>
                    <a:pt x="53" y="649"/>
                    <a:pt x="53" y="679"/>
                    <a:pt x="46" y="702"/>
                  </a:cubicBezTo>
                  <a:lnTo>
                    <a:pt x="46" y="702"/>
                  </a:lnTo>
                  <a:cubicBezTo>
                    <a:pt x="76" y="702"/>
                    <a:pt x="115" y="694"/>
                    <a:pt x="145" y="702"/>
                  </a:cubicBezTo>
                  <a:cubicBezTo>
                    <a:pt x="168" y="702"/>
                    <a:pt x="183" y="717"/>
                    <a:pt x="206" y="709"/>
                  </a:cubicBezTo>
                  <a:cubicBezTo>
                    <a:pt x="229" y="702"/>
                    <a:pt x="229" y="664"/>
                    <a:pt x="252" y="656"/>
                  </a:cubicBezTo>
                  <a:cubicBezTo>
                    <a:pt x="275" y="649"/>
                    <a:pt x="298" y="671"/>
                    <a:pt x="313" y="679"/>
                  </a:cubicBezTo>
                  <a:cubicBezTo>
                    <a:pt x="344" y="679"/>
                    <a:pt x="367" y="687"/>
                    <a:pt x="390" y="679"/>
                  </a:cubicBezTo>
                  <a:cubicBezTo>
                    <a:pt x="397" y="679"/>
                    <a:pt x="382" y="671"/>
                    <a:pt x="382" y="664"/>
                  </a:cubicBezTo>
                  <a:cubicBezTo>
                    <a:pt x="382" y="664"/>
                    <a:pt x="435" y="679"/>
                    <a:pt x="443" y="679"/>
                  </a:cubicBezTo>
                  <a:lnTo>
                    <a:pt x="504" y="633"/>
                  </a:lnTo>
                  <a:cubicBezTo>
                    <a:pt x="527" y="626"/>
                    <a:pt x="550" y="626"/>
                    <a:pt x="573" y="618"/>
                  </a:cubicBezTo>
                  <a:cubicBezTo>
                    <a:pt x="588" y="618"/>
                    <a:pt x="603" y="610"/>
                    <a:pt x="619" y="626"/>
                  </a:cubicBezTo>
                  <a:cubicBezTo>
                    <a:pt x="634" y="633"/>
                    <a:pt x="634" y="656"/>
                    <a:pt x="642" y="67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6" name="Freeform 178"/>
            <p:cNvSpPr>
              <a:spLocks noChangeArrowheads="1"/>
            </p:cNvSpPr>
            <p:nvPr/>
          </p:nvSpPr>
          <p:spPr bwMode="auto">
            <a:xfrm>
              <a:off x="4624087" y="5894389"/>
              <a:ext cx="122229" cy="96837"/>
            </a:xfrm>
            <a:custGeom>
              <a:avLst/>
              <a:gdLst>
                <a:gd name="T0" fmla="*/ 62 w 338"/>
                <a:gd name="T1" fmla="*/ 267 h 268"/>
                <a:gd name="T2" fmla="*/ 62 w 338"/>
                <a:gd name="T3" fmla="*/ 267 h 268"/>
                <a:gd name="T4" fmla="*/ 23 w 338"/>
                <a:gd name="T5" fmla="*/ 191 h 268"/>
                <a:gd name="T6" fmla="*/ 0 w 338"/>
                <a:gd name="T7" fmla="*/ 176 h 268"/>
                <a:gd name="T8" fmla="*/ 23 w 338"/>
                <a:gd name="T9" fmla="*/ 91 h 268"/>
                <a:gd name="T10" fmla="*/ 8 w 338"/>
                <a:gd name="T11" fmla="*/ 69 h 268"/>
                <a:gd name="T12" fmla="*/ 8 w 338"/>
                <a:gd name="T13" fmla="*/ 46 h 268"/>
                <a:gd name="T14" fmla="*/ 39 w 338"/>
                <a:gd name="T15" fmla="*/ 23 h 268"/>
                <a:gd name="T16" fmla="*/ 39 w 338"/>
                <a:gd name="T17" fmla="*/ 23 h 268"/>
                <a:gd name="T18" fmla="*/ 84 w 338"/>
                <a:gd name="T19" fmla="*/ 0 h 268"/>
                <a:gd name="T20" fmla="*/ 153 w 338"/>
                <a:gd name="T21" fmla="*/ 0 h 268"/>
                <a:gd name="T22" fmla="*/ 222 w 338"/>
                <a:gd name="T23" fmla="*/ 23 h 268"/>
                <a:gd name="T24" fmla="*/ 245 w 338"/>
                <a:gd name="T25" fmla="*/ 61 h 268"/>
                <a:gd name="T26" fmla="*/ 275 w 338"/>
                <a:gd name="T27" fmla="*/ 23 h 268"/>
                <a:gd name="T28" fmla="*/ 337 w 338"/>
                <a:gd name="T29" fmla="*/ 23 h 268"/>
                <a:gd name="T30" fmla="*/ 337 w 338"/>
                <a:gd name="T31" fmla="*/ 23 h 268"/>
                <a:gd name="T32" fmla="*/ 337 w 338"/>
                <a:gd name="T33" fmla="*/ 46 h 268"/>
                <a:gd name="T34" fmla="*/ 275 w 338"/>
                <a:gd name="T35" fmla="*/ 137 h 268"/>
                <a:gd name="T36" fmla="*/ 222 w 338"/>
                <a:gd name="T37" fmla="*/ 168 h 268"/>
                <a:gd name="T38" fmla="*/ 199 w 338"/>
                <a:gd name="T39" fmla="*/ 176 h 268"/>
                <a:gd name="T40" fmla="*/ 145 w 338"/>
                <a:gd name="T41" fmla="*/ 206 h 268"/>
                <a:gd name="T42" fmla="*/ 62 w 338"/>
                <a:gd name="T43" fmla="*/ 26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268">
                  <a:moveTo>
                    <a:pt x="62" y="267"/>
                  </a:moveTo>
                  <a:lnTo>
                    <a:pt x="62" y="267"/>
                  </a:lnTo>
                  <a:cubicBezTo>
                    <a:pt x="46" y="244"/>
                    <a:pt x="39" y="214"/>
                    <a:pt x="23" y="191"/>
                  </a:cubicBezTo>
                  <a:cubicBezTo>
                    <a:pt x="23" y="183"/>
                    <a:pt x="0" y="183"/>
                    <a:pt x="0" y="176"/>
                  </a:cubicBezTo>
                  <a:cubicBezTo>
                    <a:pt x="0" y="145"/>
                    <a:pt x="16" y="122"/>
                    <a:pt x="23" y="91"/>
                  </a:cubicBezTo>
                  <a:cubicBezTo>
                    <a:pt x="23" y="84"/>
                    <a:pt x="8" y="76"/>
                    <a:pt x="8" y="69"/>
                  </a:cubicBezTo>
                  <a:cubicBezTo>
                    <a:pt x="8" y="61"/>
                    <a:pt x="0" y="53"/>
                    <a:pt x="8" y="46"/>
                  </a:cubicBezTo>
                  <a:cubicBezTo>
                    <a:pt x="16" y="38"/>
                    <a:pt x="23" y="30"/>
                    <a:pt x="39" y="23"/>
                  </a:cubicBezTo>
                  <a:lnTo>
                    <a:pt x="39" y="23"/>
                  </a:lnTo>
                  <a:cubicBezTo>
                    <a:pt x="54" y="15"/>
                    <a:pt x="69" y="0"/>
                    <a:pt x="84" y="0"/>
                  </a:cubicBezTo>
                  <a:cubicBezTo>
                    <a:pt x="107" y="0"/>
                    <a:pt x="130" y="0"/>
                    <a:pt x="153" y="0"/>
                  </a:cubicBezTo>
                  <a:cubicBezTo>
                    <a:pt x="176" y="7"/>
                    <a:pt x="207" y="7"/>
                    <a:pt x="222" y="23"/>
                  </a:cubicBezTo>
                  <a:cubicBezTo>
                    <a:pt x="237" y="30"/>
                    <a:pt x="229" y="61"/>
                    <a:pt x="245" y="61"/>
                  </a:cubicBezTo>
                  <a:cubicBezTo>
                    <a:pt x="260" y="61"/>
                    <a:pt x="260" y="30"/>
                    <a:pt x="275" y="23"/>
                  </a:cubicBezTo>
                  <a:cubicBezTo>
                    <a:pt x="298" y="15"/>
                    <a:pt x="314" y="23"/>
                    <a:pt x="337" y="23"/>
                  </a:cubicBezTo>
                  <a:lnTo>
                    <a:pt x="337" y="23"/>
                  </a:lnTo>
                  <a:cubicBezTo>
                    <a:pt x="337" y="30"/>
                    <a:pt x="337" y="38"/>
                    <a:pt x="337" y="46"/>
                  </a:cubicBezTo>
                  <a:cubicBezTo>
                    <a:pt x="337" y="69"/>
                    <a:pt x="291" y="122"/>
                    <a:pt x="275" y="137"/>
                  </a:cubicBezTo>
                  <a:cubicBezTo>
                    <a:pt x="260" y="153"/>
                    <a:pt x="237" y="160"/>
                    <a:pt x="222" y="168"/>
                  </a:cubicBezTo>
                  <a:cubicBezTo>
                    <a:pt x="214" y="176"/>
                    <a:pt x="207" y="176"/>
                    <a:pt x="199" y="176"/>
                  </a:cubicBezTo>
                  <a:cubicBezTo>
                    <a:pt x="176" y="183"/>
                    <a:pt x="161" y="199"/>
                    <a:pt x="145" y="206"/>
                  </a:cubicBezTo>
                  <a:cubicBezTo>
                    <a:pt x="107" y="229"/>
                    <a:pt x="84" y="244"/>
                    <a:pt x="62" y="26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7" name="Freeform 179"/>
            <p:cNvSpPr>
              <a:spLocks noChangeArrowheads="1"/>
            </p:cNvSpPr>
            <p:nvPr/>
          </p:nvSpPr>
          <p:spPr bwMode="auto">
            <a:xfrm>
              <a:off x="4517731" y="5630863"/>
              <a:ext cx="228585" cy="285750"/>
            </a:xfrm>
            <a:custGeom>
              <a:avLst/>
              <a:gdLst>
                <a:gd name="T0" fmla="*/ 137 w 635"/>
                <a:gd name="T1" fmla="*/ 679 h 794"/>
                <a:gd name="T2" fmla="*/ 137 w 635"/>
                <a:gd name="T3" fmla="*/ 679 h 794"/>
                <a:gd name="T4" fmla="*/ 145 w 635"/>
                <a:gd name="T5" fmla="*/ 717 h 794"/>
                <a:gd name="T6" fmla="*/ 175 w 635"/>
                <a:gd name="T7" fmla="*/ 747 h 794"/>
                <a:gd name="T8" fmla="*/ 198 w 635"/>
                <a:gd name="T9" fmla="*/ 724 h 794"/>
                <a:gd name="T10" fmla="*/ 206 w 635"/>
                <a:gd name="T11" fmla="*/ 755 h 794"/>
                <a:gd name="T12" fmla="*/ 236 w 635"/>
                <a:gd name="T13" fmla="*/ 732 h 794"/>
                <a:gd name="T14" fmla="*/ 259 w 635"/>
                <a:gd name="T15" fmla="*/ 747 h 794"/>
                <a:gd name="T16" fmla="*/ 297 w 635"/>
                <a:gd name="T17" fmla="*/ 732 h 794"/>
                <a:gd name="T18" fmla="*/ 336 w 635"/>
                <a:gd name="T19" fmla="*/ 755 h 794"/>
                <a:gd name="T20" fmla="*/ 336 w 635"/>
                <a:gd name="T21" fmla="*/ 755 h 794"/>
                <a:gd name="T22" fmla="*/ 381 w 635"/>
                <a:gd name="T23" fmla="*/ 732 h 794"/>
                <a:gd name="T24" fmla="*/ 450 w 635"/>
                <a:gd name="T25" fmla="*/ 732 h 794"/>
                <a:gd name="T26" fmla="*/ 519 w 635"/>
                <a:gd name="T27" fmla="*/ 755 h 794"/>
                <a:gd name="T28" fmla="*/ 542 w 635"/>
                <a:gd name="T29" fmla="*/ 793 h 794"/>
                <a:gd name="T30" fmla="*/ 572 w 635"/>
                <a:gd name="T31" fmla="*/ 755 h 794"/>
                <a:gd name="T32" fmla="*/ 634 w 635"/>
                <a:gd name="T33" fmla="*/ 755 h 794"/>
                <a:gd name="T34" fmla="*/ 634 w 635"/>
                <a:gd name="T35" fmla="*/ 755 h 794"/>
                <a:gd name="T36" fmla="*/ 618 w 635"/>
                <a:gd name="T37" fmla="*/ 686 h 794"/>
                <a:gd name="T38" fmla="*/ 603 w 635"/>
                <a:gd name="T39" fmla="*/ 625 h 794"/>
                <a:gd name="T40" fmla="*/ 488 w 635"/>
                <a:gd name="T41" fmla="*/ 541 h 794"/>
                <a:gd name="T42" fmla="*/ 542 w 635"/>
                <a:gd name="T43" fmla="*/ 701 h 794"/>
                <a:gd name="T44" fmla="*/ 504 w 635"/>
                <a:gd name="T45" fmla="*/ 633 h 794"/>
                <a:gd name="T46" fmla="*/ 435 w 635"/>
                <a:gd name="T47" fmla="*/ 571 h 794"/>
                <a:gd name="T48" fmla="*/ 359 w 635"/>
                <a:gd name="T49" fmla="*/ 404 h 794"/>
                <a:gd name="T50" fmla="*/ 274 w 635"/>
                <a:gd name="T51" fmla="*/ 252 h 794"/>
                <a:gd name="T52" fmla="*/ 183 w 635"/>
                <a:gd name="T53" fmla="*/ 84 h 794"/>
                <a:gd name="T54" fmla="*/ 167 w 635"/>
                <a:gd name="T55" fmla="*/ 0 h 794"/>
                <a:gd name="T56" fmla="*/ 167 w 635"/>
                <a:gd name="T57" fmla="*/ 0 h 794"/>
                <a:gd name="T58" fmla="*/ 114 w 635"/>
                <a:gd name="T59" fmla="*/ 38 h 794"/>
                <a:gd name="T60" fmla="*/ 53 w 635"/>
                <a:gd name="T61" fmla="*/ 99 h 794"/>
                <a:gd name="T62" fmla="*/ 0 w 635"/>
                <a:gd name="T63" fmla="*/ 175 h 794"/>
                <a:gd name="T64" fmla="*/ 0 w 635"/>
                <a:gd name="T65" fmla="*/ 175 h 794"/>
                <a:gd name="T66" fmla="*/ 91 w 635"/>
                <a:gd name="T67" fmla="*/ 274 h 794"/>
                <a:gd name="T68" fmla="*/ 114 w 635"/>
                <a:gd name="T69" fmla="*/ 297 h 794"/>
                <a:gd name="T70" fmla="*/ 99 w 635"/>
                <a:gd name="T71" fmla="*/ 373 h 794"/>
                <a:gd name="T72" fmla="*/ 84 w 635"/>
                <a:gd name="T73" fmla="*/ 411 h 794"/>
                <a:gd name="T74" fmla="*/ 91 w 635"/>
                <a:gd name="T75" fmla="*/ 419 h 794"/>
                <a:gd name="T76" fmla="*/ 122 w 635"/>
                <a:gd name="T77" fmla="*/ 510 h 794"/>
                <a:gd name="T78" fmla="*/ 160 w 635"/>
                <a:gd name="T79" fmla="*/ 510 h 794"/>
                <a:gd name="T80" fmla="*/ 175 w 635"/>
                <a:gd name="T81" fmla="*/ 526 h 794"/>
                <a:gd name="T82" fmla="*/ 206 w 635"/>
                <a:gd name="T83" fmla="*/ 526 h 794"/>
                <a:gd name="T84" fmla="*/ 236 w 635"/>
                <a:gd name="T85" fmla="*/ 587 h 794"/>
                <a:gd name="T86" fmla="*/ 213 w 635"/>
                <a:gd name="T87" fmla="*/ 602 h 794"/>
                <a:gd name="T88" fmla="*/ 114 w 635"/>
                <a:gd name="T89" fmla="*/ 610 h 794"/>
                <a:gd name="T90" fmla="*/ 137 w 635"/>
                <a:gd name="T91" fmla="*/ 679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5" h="794">
                  <a:moveTo>
                    <a:pt x="137" y="679"/>
                  </a:moveTo>
                  <a:lnTo>
                    <a:pt x="137" y="679"/>
                  </a:lnTo>
                  <a:cubicBezTo>
                    <a:pt x="137" y="686"/>
                    <a:pt x="137" y="701"/>
                    <a:pt x="145" y="717"/>
                  </a:cubicBezTo>
                  <a:cubicBezTo>
                    <a:pt x="152" y="732"/>
                    <a:pt x="160" y="747"/>
                    <a:pt x="175" y="747"/>
                  </a:cubicBezTo>
                  <a:cubicBezTo>
                    <a:pt x="183" y="747"/>
                    <a:pt x="190" y="732"/>
                    <a:pt x="198" y="724"/>
                  </a:cubicBezTo>
                  <a:cubicBezTo>
                    <a:pt x="198" y="724"/>
                    <a:pt x="198" y="755"/>
                    <a:pt x="206" y="755"/>
                  </a:cubicBezTo>
                  <a:cubicBezTo>
                    <a:pt x="206" y="747"/>
                    <a:pt x="236" y="732"/>
                    <a:pt x="236" y="732"/>
                  </a:cubicBezTo>
                  <a:cubicBezTo>
                    <a:pt x="244" y="739"/>
                    <a:pt x="252" y="747"/>
                    <a:pt x="259" y="747"/>
                  </a:cubicBezTo>
                  <a:cubicBezTo>
                    <a:pt x="274" y="747"/>
                    <a:pt x="290" y="724"/>
                    <a:pt x="297" y="732"/>
                  </a:cubicBezTo>
                  <a:cubicBezTo>
                    <a:pt x="313" y="732"/>
                    <a:pt x="320" y="747"/>
                    <a:pt x="336" y="755"/>
                  </a:cubicBezTo>
                  <a:lnTo>
                    <a:pt x="336" y="755"/>
                  </a:lnTo>
                  <a:cubicBezTo>
                    <a:pt x="351" y="747"/>
                    <a:pt x="366" y="732"/>
                    <a:pt x="381" y="732"/>
                  </a:cubicBezTo>
                  <a:cubicBezTo>
                    <a:pt x="404" y="732"/>
                    <a:pt x="427" y="732"/>
                    <a:pt x="450" y="732"/>
                  </a:cubicBezTo>
                  <a:cubicBezTo>
                    <a:pt x="473" y="739"/>
                    <a:pt x="504" y="739"/>
                    <a:pt x="519" y="755"/>
                  </a:cubicBezTo>
                  <a:cubicBezTo>
                    <a:pt x="534" y="762"/>
                    <a:pt x="526" y="793"/>
                    <a:pt x="542" y="793"/>
                  </a:cubicBezTo>
                  <a:cubicBezTo>
                    <a:pt x="557" y="793"/>
                    <a:pt x="557" y="762"/>
                    <a:pt x="572" y="755"/>
                  </a:cubicBezTo>
                  <a:cubicBezTo>
                    <a:pt x="595" y="747"/>
                    <a:pt x="611" y="755"/>
                    <a:pt x="634" y="755"/>
                  </a:cubicBezTo>
                  <a:lnTo>
                    <a:pt x="634" y="755"/>
                  </a:lnTo>
                  <a:cubicBezTo>
                    <a:pt x="626" y="732"/>
                    <a:pt x="618" y="709"/>
                    <a:pt x="618" y="686"/>
                  </a:cubicBezTo>
                  <a:cubicBezTo>
                    <a:pt x="618" y="663"/>
                    <a:pt x="603" y="648"/>
                    <a:pt x="603" y="625"/>
                  </a:cubicBezTo>
                  <a:cubicBezTo>
                    <a:pt x="588" y="564"/>
                    <a:pt x="542" y="541"/>
                    <a:pt x="488" y="541"/>
                  </a:cubicBezTo>
                  <a:cubicBezTo>
                    <a:pt x="488" y="602"/>
                    <a:pt x="549" y="640"/>
                    <a:pt x="542" y="701"/>
                  </a:cubicBezTo>
                  <a:cubicBezTo>
                    <a:pt x="526" y="686"/>
                    <a:pt x="519" y="656"/>
                    <a:pt x="504" y="633"/>
                  </a:cubicBezTo>
                  <a:cubicBezTo>
                    <a:pt x="473" y="610"/>
                    <a:pt x="450" y="610"/>
                    <a:pt x="435" y="571"/>
                  </a:cubicBezTo>
                  <a:cubicBezTo>
                    <a:pt x="412" y="503"/>
                    <a:pt x="442" y="449"/>
                    <a:pt x="359" y="404"/>
                  </a:cubicBezTo>
                  <a:cubicBezTo>
                    <a:pt x="297" y="365"/>
                    <a:pt x="320" y="297"/>
                    <a:pt x="274" y="252"/>
                  </a:cubicBezTo>
                  <a:cubicBezTo>
                    <a:pt x="206" y="191"/>
                    <a:pt x="137" y="206"/>
                    <a:pt x="183" y="84"/>
                  </a:cubicBezTo>
                  <a:cubicBezTo>
                    <a:pt x="229" y="38"/>
                    <a:pt x="198" y="15"/>
                    <a:pt x="167" y="0"/>
                  </a:cubicBezTo>
                  <a:lnTo>
                    <a:pt x="167" y="0"/>
                  </a:lnTo>
                  <a:cubicBezTo>
                    <a:pt x="137" y="30"/>
                    <a:pt x="145" y="15"/>
                    <a:pt x="114" y="38"/>
                  </a:cubicBezTo>
                  <a:cubicBezTo>
                    <a:pt x="91" y="61"/>
                    <a:pt x="68" y="76"/>
                    <a:pt x="53" y="99"/>
                  </a:cubicBezTo>
                  <a:cubicBezTo>
                    <a:pt x="30" y="122"/>
                    <a:pt x="15" y="152"/>
                    <a:pt x="0" y="175"/>
                  </a:cubicBezTo>
                  <a:lnTo>
                    <a:pt x="0" y="175"/>
                  </a:lnTo>
                  <a:cubicBezTo>
                    <a:pt x="30" y="206"/>
                    <a:pt x="61" y="244"/>
                    <a:pt x="91" y="274"/>
                  </a:cubicBezTo>
                  <a:cubicBezTo>
                    <a:pt x="99" y="282"/>
                    <a:pt x="114" y="282"/>
                    <a:pt x="114" y="297"/>
                  </a:cubicBezTo>
                  <a:cubicBezTo>
                    <a:pt x="114" y="320"/>
                    <a:pt x="106" y="351"/>
                    <a:pt x="99" y="373"/>
                  </a:cubicBezTo>
                  <a:cubicBezTo>
                    <a:pt x="91" y="388"/>
                    <a:pt x="84" y="396"/>
                    <a:pt x="84" y="411"/>
                  </a:cubicBezTo>
                  <a:lnTo>
                    <a:pt x="91" y="419"/>
                  </a:lnTo>
                  <a:cubicBezTo>
                    <a:pt x="106" y="449"/>
                    <a:pt x="106" y="487"/>
                    <a:pt x="122" y="510"/>
                  </a:cubicBezTo>
                  <a:cubicBezTo>
                    <a:pt x="129" y="518"/>
                    <a:pt x="145" y="503"/>
                    <a:pt x="160" y="510"/>
                  </a:cubicBezTo>
                  <a:cubicBezTo>
                    <a:pt x="167" y="510"/>
                    <a:pt x="167" y="526"/>
                    <a:pt x="175" y="526"/>
                  </a:cubicBezTo>
                  <a:cubicBezTo>
                    <a:pt x="183" y="533"/>
                    <a:pt x="198" y="518"/>
                    <a:pt x="206" y="526"/>
                  </a:cubicBezTo>
                  <a:cubicBezTo>
                    <a:pt x="221" y="541"/>
                    <a:pt x="236" y="564"/>
                    <a:pt x="236" y="587"/>
                  </a:cubicBezTo>
                  <a:cubicBezTo>
                    <a:pt x="236" y="594"/>
                    <a:pt x="229" y="602"/>
                    <a:pt x="213" y="602"/>
                  </a:cubicBezTo>
                  <a:cubicBezTo>
                    <a:pt x="183" y="610"/>
                    <a:pt x="145" y="587"/>
                    <a:pt x="114" y="610"/>
                  </a:cubicBezTo>
                  <a:cubicBezTo>
                    <a:pt x="99" y="625"/>
                    <a:pt x="129" y="656"/>
                    <a:pt x="137" y="67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8" name="Freeform 180"/>
            <p:cNvSpPr>
              <a:spLocks noChangeArrowheads="1"/>
            </p:cNvSpPr>
            <p:nvPr/>
          </p:nvSpPr>
          <p:spPr bwMode="auto">
            <a:xfrm>
              <a:off x="4228825" y="5519739"/>
              <a:ext cx="239697" cy="244475"/>
            </a:xfrm>
            <a:custGeom>
              <a:avLst/>
              <a:gdLst>
                <a:gd name="T0" fmla="*/ 114 w 665"/>
                <a:gd name="T1" fmla="*/ 580 h 680"/>
                <a:gd name="T2" fmla="*/ 114 w 665"/>
                <a:gd name="T3" fmla="*/ 580 h 680"/>
                <a:gd name="T4" fmla="*/ 91 w 665"/>
                <a:gd name="T5" fmla="*/ 497 h 680"/>
                <a:gd name="T6" fmla="*/ 61 w 665"/>
                <a:gd name="T7" fmla="*/ 481 h 680"/>
                <a:gd name="T8" fmla="*/ 38 w 665"/>
                <a:gd name="T9" fmla="*/ 420 h 680"/>
                <a:gd name="T10" fmla="*/ 38 w 665"/>
                <a:gd name="T11" fmla="*/ 275 h 680"/>
                <a:gd name="T12" fmla="*/ 7 w 665"/>
                <a:gd name="T13" fmla="*/ 214 h 680"/>
                <a:gd name="T14" fmla="*/ 45 w 665"/>
                <a:gd name="T15" fmla="*/ 199 h 680"/>
                <a:gd name="T16" fmla="*/ 68 w 665"/>
                <a:gd name="T17" fmla="*/ 76 h 680"/>
                <a:gd name="T18" fmla="*/ 83 w 665"/>
                <a:gd name="T19" fmla="*/ 54 h 680"/>
                <a:gd name="T20" fmla="*/ 145 w 665"/>
                <a:gd name="T21" fmla="*/ 46 h 680"/>
                <a:gd name="T22" fmla="*/ 145 w 665"/>
                <a:gd name="T23" fmla="*/ 46 h 680"/>
                <a:gd name="T24" fmla="*/ 221 w 665"/>
                <a:gd name="T25" fmla="*/ 0 h 680"/>
                <a:gd name="T26" fmla="*/ 244 w 665"/>
                <a:gd name="T27" fmla="*/ 38 h 680"/>
                <a:gd name="T28" fmla="*/ 275 w 665"/>
                <a:gd name="T29" fmla="*/ 31 h 680"/>
                <a:gd name="T30" fmla="*/ 297 w 665"/>
                <a:gd name="T31" fmla="*/ 76 h 680"/>
                <a:gd name="T32" fmla="*/ 366 w 665"/>
                <a:gd name="T33" fmla="*/ 54 h 680"/>
                <a:gd name="T34" fmla="*/ 427 w 665"/>
                <a:gd name="T35" fmla="*/ 99 h 680"/>
                <a:gd name="T36" fmla="*/ 442 w 665"/>
                <a:gd name="T37" fmla="*/ 138 h 680"/>
                <a:gd name="T38" fmla="*/ 519 w 665"/>
                <a:gd name="T39" fmla="*/ 130 h 680"/>
                <a:gd name="T40" fmla="*/ 565 w 665"/>
                <a:gd name="T41" fmla="*/ 107 h 680"/>
                <a:gd name="T42" fmla="*/ 595 w 665"/>
                <a:gd name="T43" fmla="*/ 99 h 680"/>
                <a:gd name="T44" fmla="*/ 595 w 665"/>
                <a:gd name="T45" fmla="*/ 214 h 680"/>
                <a:gd name="T46" fmla="*/ 626 w 665"/>
                <a:gd name="T47" fmla="*/ 283 h 680"/>
                <a:gd name="T48" fmla="*/ 664 w 665"/>
                <a:gd name="T49" fmla="*/ 344 h 680"/>
                <a:gd name="T50" fmla="*/ 664 w 665"/>
                <a:gd name="T51" fmla="*/ 344 h 680"/>
                <a:gd name="T52" fmla="*/ 565 w 665"/>
                <a:gd name="T53" fmla="*/ 397 h 680"/>
                <a:gd name="T54" fmla="*/ 511 w 665"/>
                <a:gd name="T55" fmla="*/ 420 h 680"/>
                <a:gd name="T56" fmla="*/ 450 w 665"/>
                <a:gd name="T57" fmla="*/ 413 h 680"/>
                <a:gd name="T58" fmla="*/ 450 w 665"/>
                <a:gd name="T59" fmla="*/ 489 h 680"/>
                <a:gd name="T60" fmla="*/ 412 w 665"/>
                <a:gd name="T61" fmla="*/ 481 h 680"/>
                <a:gd name="T62" fmla="*/ 389 w 665"/>
                <a:gd name="T63" fmla="*/ 504 h 680"/>
                <a:gd name="T64" fmla="*/ 343 w 665"/>
                <a:gd name="T65" fmla="*/ 497 h 680"/>
                <a:gd name="T66" fmla="*/ 305 w 665"/>
                <a:gd name="T67" fmla="*/ 527 h 680"/>
                <a:gd name="T68" fmla="*/ 252 w 665"/>
                <a:gd name="T69" fmla="*/ 542 h 680"/>
                <a:gd name="T70" fmla="*/ 313 w 665"/>
                <a:gd name="T71" fmla="*/ 603 h 680"/>
                <a:gd name="T72" fmla="*/ 290 w 665"/>
                <a:gd name="T73" fmla="*/ 619 h 680"/>
                <a:gd name="T74" fmla="*/ 290 w 665"/>
                <a:gd name="T75" fmla="*/ 671 h 680"/>
                <a:gd name="T76" fmla="*/ 213 w 665"/>
                <a:gd name="T77" fmla="*/ 657 h 680"/>
                <a:gd name="T78" fmla="*/ 167 w 665"/>
                <a:gd name="T79" fmla="*/ 664 h 680"/>
                <a:gd name="T80" fmla="*/ 167 w 665"/>
                <a:gd name="T81" fmla="*/ 664 h 680"/>
                <a:gd name="T82" fmla="*/ 114 w 665"/>
                <a:gd name="T83" fmla="*/ 5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5" h="680">
                  <a:moveTo>
                    <a:pt x="114" y="580"/>
                  </a:moveTo>
                  <a:lnTo>
                    <a:pt x="114" y="580"/>
                  </a:lnTo>
                  <a:cubicBezTo>
                    <a:pt x="106" y="558"/>
                    <a:pt x="106" y="527"/>
                    <a:pt x="91" y="497"/>
                  </a:cubicBezTo>
                  <a:cubicBezTo>
                    <a:pt x="83" y="489"/>
                    <a:pt x="68" y="489"/>
                    <a:pt x="61" y="481"/>
                  </a:cubicBezTo>
                  <a:cubicBezTo>
                    <a:pt x="45" y="466"/>
                    <a:pt x="38" y="443"/>
                    <a:pt x="38" y="420"/>
                  </a:cubicBezTo>
                  <a:cubicBezTo>
                    <a:pt x="30" y="374"/>
                    <a:pt x="45" y="328"/>
                    <a:pt x="38" y="275"/>
                  </a:cubicBezTo>
                  <a:cubicBezTo>
                    <a:pt x="30" y="252"/>
                    <a:pt x="0" y="237"/>
                    <a:pt x="7" y="214"/>
                  </a:cubicBezTo>
                  <a:cubicBezTo>
                    <a:pt x="7" y="199"/>
                    <a:pt x="38" y="214"/>
                    <a:pt x="45" y="199"/>
                  </a:cubicBezTo>
                  <a:cubicBezTo>
                    <a:pt x="61" y="161"/>
                    <a:pt x="53" y="115"/>
                    <a:pt x="68" y="76"/>
                  </a:cubicBezTo>
                  <a:cubicBezTo>
                    <a:pt x="68" y="69"/>
                    <a:pt x="76" y="54"/>
                    <a:pt x="83" y="54"/>
                  </a:cubicBezTo>
                  <a:cubicBezTo>
                    <a:pt x="106" y="46"/>
                    <a:pt x="122" y="46"/>
                    <a:pt x="145" y="46"/>
                  </a:cubicBezTo>
                  <a:lnTo>
                    <a:pt x="145" y="46"/>
                  </a:lnTo>
                  <a:cubicBezTo>
                    <a:pt x="167" y="31"/>
                    <a:pt x="190" y="0"/>
                    <a:pt x="221" y="0"/>
                  </a:cubicBezTo>
                  <a:cubicBezTo>
                    <a:pt x="236" y="0"/>
                    <a:pt x="236" y="31"/>
                    <a:pt x="244" y="38"/>
                  </a:cubicBezTo>
                  <a:cubicBezTo>
                    <a:pt x="252" y="46"/>
                    <a:pt x="267" y="31"/>
                    <a:pt x="275" y="31"/>
                  </a:cubicBezTo>
                  <a:cubicBezTo>
                    <a:pt x="282" y="46"/>
                    <a:pt x="282" y="69"/>
                    <a:pt x="297" y="76"/>
                  </a:cubicBezTo>
                  <a:cubicBezTo>
                    <a:pt x="320" y="76"/>
                    <a:pt x="343" y="46"/>
                    <a:pt x="366" y="54"/>
                  </a:cubicBezTo>
                  <a:cubicBezTo>
                    <a:pt x="389" y="61"/>
                    <a:pt x="412" y="84"/>
                    <a:pt x="427" y="99"/>
                  </a:cubicBezTo>
                  <a:cubicBezTo>
                    <a:pt x="435" y="107"/>
                    <a:pt x="427" y="130"/>
                    <a:pt x="442" y="138"/>
                  </a:cubicBezTo>
                  <a:cubicBezTo>
                    <a:pt x="465" y="145"/>
                    <a:pt x="488" y="138"/>
                    <a:pt x="519" y="130"/>
                  </a:cubicBezTo>
                  <a:cubicBezTo>
                    <a:pt x="534" y="122"/>
                    <a:pt x="550" y="115"/>
                    <a:pt x="565" y="107"/>
                  </a:cubicBezTo>
                  <a:cubicBezTo>
                    <a:pt x="572" y="107"/>
                    <a:pt x="595" y="84"/>
                    <a:pt x="595" y="99"/>
                  </a:cubicBezTo>
                  <a:cubicBezTo>
                    <a:pt x="611" y="138"/>
                    <a:pt x="595" y="176"/>
                    <a:pt x="595" y="214"/>
                  </a:cubicBezTo>
                  <a:cubicBezTo>
                    <a:pt x="603" y="237"/>
                    <a:pt x="618" y="260"/>
                    <a:pt x="626" y="283"/>
                  </a:cubicBezTo>
                  <a:cubicBezTo>
                    <a:pt x="633" y="306"/>
                    <a:pt x="649" y="321"/>
                    <a:pt x="664" y="344"/>
                  </a:cubicBezTo>
                  <a:lnTo>
                    <a:pt x="664" y="344"/>
                  </a:lnTo>
                  <a:cubicBezTo>
                    <a:pt x="633" y="367"/>
                    <a:pt x="603" y="382"/>
                    <a:pt x="565" y="397"/>
                  </a:cubicBezTo>
                  <a:cubicBezTo>
                    <a:pt x="550" y="413"/>
                    <a:pt x="534" y="420"/>
                    <a:pt x="511" y="420"/>
                  </a:cubicBezTo>
                  <a:cubicBezTo>
                    <a:pt x="488" y="428"/>
                    <a:pt x="465" y="405"/>
                    <a:pt x="450" y="413"/>
                  </a:cubicBezTo>
                  <a:cubicBezTo>
                    <a:pt x="435" y="436"/>
                    <a:pt x="458" y="466"/>
                    <a:pt x="450" y="489"/>
                  </a:cubicBezTo>
                  <a:cubicBezTo>
                    <a:pt x="442" y="497"/>
                    <a:pt x="419" y="481"/>
                    <a:pt x="412" y="481"/>
                  </a:cubicBezTo>
                  <a:cubicBezTo>
                    <a:pt x="397" y="489"/>
                    <a:pt x="397" y="504"/>
                    <a:pt x="389" y="504"/>
                  </a:cubicBezTo>
                  <a:cubicBezTo>
                    <a:pt x="374" y="504"/>
                    <a:pt x="358" y="497"/>
                    <a:pt x="343" y="497"/>
                  </a:cubicBezTo>
                  <a:cubicBezTo>
                    <a:pt x="328" y="504"/>
                    <a:pt x="320" y="519"/>
                    <a:pt x="305" y="527"/>
                  </a:cubicBezTo>
                  <a:cubicBezTo>
                    <a:pt x="290" y="535"/>
                    <a:pt x="252" y="527"/>
                    <a:pt x="252" y="542"/>
                  </a:cubicBezTo>
                  <a:cubicBezTo>
                    <a:pt x="259" y="573"/>
                    <a:pt x="305" y="573"/>
                    <a:pt x="313" y="603"/>
                  </a:cubicBezTo>
                  <a:cubicBezTo>
                    <a:pt x="320" y="611"/>
                    <a:pt x="297" y="611"/>
                    <a:pt x="290" y="619"/>
                  </a:cubicBezTo>
                  <a:cubicBezTo>
                    <a:pt x="282" y="634"/>
                    <a:pt x="305" y="664"/>
                    <a:pt x="290" y="671"/>
                  </a:cubicBezTo>
                  <a:cubicBezTo>
                    <a:pt x="267" y="679"/>
                    <a:pt x="236" y="657"/>
                    <a:pt x="213" y="657"/>
                  </a:cubicBezTo>
                  <a:cubicBezTo>
                    <a:pt x="198" y="657"/>
                    <a:pt x="183" y="664"/>
                    <a:pt x="167" y="664"/>
                  </a:cubicBezTo>
                  <a:lnTo>
                    <a:pt x="167" y="664"/>
                  </a:lnTo>
                  <a:cubicBezTo>
                    <a:pt x="114" y="580"/>
                    <a:pt x="114" y="580"/>
                    <a:pt x="114" y="58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9" name="Freeform 181"/>
            <p:cNvSpPr>
              <a:spLocks noChangeArrowheads="1"/>
            </p:cNvSpPr>
            <p:nvPr/>
          </p:nvSpPr>
          <p:spPr bwMode="auto">
            <a:xfrm>
              <a:off x="3803402" y="6097588"/>
              <a:ext cx="465108" cy="254000"/>
            </a:xfrm>
            <a:custGeom>
              <a:avLst/>
              <a:gdLst>
                <a:gd name="T0" fmla="*/ 1252 w 1291"/>
                <a:gd name="T1" fmla="*/ 321 h 704"/>
                <a:gd name="T2" fmla="*/ 1252 w 1291"/>
                <a:gd name="T3" fmla="*/ 321 h 704"/>
                <a:gd name="T4" fmla="*/ 1229 w 1291"/>
                <a:gd name="T5" fmla="*/ 191 h 704"/>
                <a:gd name="T6" fmla="*/ 1290 w 1291"/>
                <a:gd name="T7" fmla="*/ 107 h 704"/>
                <a:gd name="T8" fmla="*/ 1290 w 1291"/>
                <a:gd name="T9" fmla="*/ 107 h 704"/>
                <a:gd name="T10" fmla="*/ 1184 w 1291"/>
                <a:gd name="T11" fmla="*/ 38 h 704"/>
                <a:gd name="T12" fmla="*/ 1145 w 1291"/>
                <a:gd name="T13" fmla="*/ 23 h 704"/>
                <a:gd name="T14" fmla="*/ 1138 w 1291"/>
                <a:gd name="T15" fmla="*/ 46 h 704"/>
                <a:gd name="T16" fmla="*/ 1092 w 1291"/>
                <a:gd name="T17" fmla="*/ 46 h 704"/>
                <a:gd name="T18" fmla="*/ 1054 w 1291"/>
                <a:gd name="T19" fmla="*/ 31 h 704"/>
                <a:gd name="T20" fmla="*/ 1023 w 1291"/>
                <a:gd name="T21" fmla="*/ 76 h 704"/>
                <a:gd name="T22" fmla="*/ 985 w 1291"/>
                <a:gd name="T23" fmla="*/ 15 h 704"/>
                <a:gd name="T24" fmla="*/ 916 w 1291"/>
                <a:gd name="T25" fmla="*/ 31 h 704"/>
                <a:gd name="T26" fmla="*/ 886 w 1291"/>
                <a:gd name="T27" fmla="*/ 23 h 704"/>
                <a:gd name="T28" fmla="*/ 855 w 1291"/>
                <a:gd name="T29" fmla="*/ 0 h 704"/>
                <a:gd name="T30" fmla="*/ 779 w 1291"/>
                <a:gd name="T31" fmla="*/ 23 h 704"/>
                <a:gd name="T32" fmla="*/ 717 w 1291"/>
                <a:gd name="T33" fmla="*/ 31 h 704"/>
                <a:gd name="T34" fmla="*/ 649 w 1291"/>
                <a:gd name="T35" fmla="*/ 15 h 704"/>
                <a:gd name="T36" fmla="*/ 618 w 1291"/>
                <a:gd name="T37" fmla="*/ 0 h 704"/>
                <a:gd name="T38" fmla="*/ 618 w 1291"/>
                <a:gd name="T39" fmla="*/ 0 h 704"/>
                <a:gd name="T40" fmla="*/ 603 w 1291"/>
                <a:gd name="T41" fmla="*/ 54 h 704"/>
                <a:gd name="T42" fmla="*/ 603 w 1291"/>
                <a:gd name="T43" fmla="*/ 107 h 704"/>
                <a:gd name="T44" fmla="*/ 527 w 1291"/>
                <a:gd name="T45" fmla="*/ 153 h 704"/>
                <a:gd name="T46" fmla="*/ 511 w 1291"/>
                <a:gd name="T47" fmla="*/ 206 h 704"/>
                <a:gd name="T48" fmla="*/ 442 w 1291"/>
                <a:gd name="T49" fmla="*/ 206 h 704"/>
                <a:gd name="T50" fmla="*/ 374 w 1291"/>
                <a:gd name="T51" fmla="*/ 275 h 704"/>
                <a:gd name="T52" fmla="*/ 244 w 1291"/>
                <a:gd name="T53" fmla="*/ 290 h 704"/>
                <a:gd name="T54" fmla="*/ 229 w 1291"/>
                <a:gd name="T55" fmla="*/ 313 h 704"/>
                <a:gd name="T56" fmla="*/ 183 w 1291"/>
                <a:gd name="T57" fmla="*/ 313 h 704"/>
                <a:gd name="T58" fmla="*/ 106 w 1291"/>
                <a:gd name="T59" fmla="*/ 367 h 704"/>
                <a:gd name="T60" fmla="*/ 0 w 1291"/>
                <a:gd name="T61" fmla="*/ 390 h 704"/>
                <a:gd name="T62" fmla="*/ 0 w 1291"/>
                <a:gd name="T63" fmla="*/ 390 h 704"/>
                <a:gd name="T64" fmla="*/ 0 w 1291"/>
                <a:gd name="T65" fmla="*/ 435 h 704"/>
                <a:gd name="T66" fmla="*/ 30 w 1291"/>
                <a:gd name="T67" fmla="*/ 466 h 704"/>
                <a:gd name="T68" fmla="*/ 30 w 1291"/>
                <a:gd name="T69" fmla="*/ 520 h 704"/>
                <a:gd name="T70" fmla="*/ 45 w 1291"/>
                <a:gd name="T71" fmla="*/ 573 h 704"/>
                <a:gd name="T72" fmla="*/ 106 w 1291"/>
                <a:gd name="T73" fmla="*/ 573 h 704"/>
                <a:gd name="T74" fmla="*/ 145 w 1291"/>
                <a:gd name="T75" fmla="*/ 642 h 704"/>
                <a:gd name="T76" fmla="*/ 198 w 1291"/>
                <a:gd name="T77" fmla="*/ 695 h 704"/>
                <a:gd name="T78" fmla="*/ 267 w 1291"/>
                <a:gd name="T79" fmla="*/ 642 h 704"/>
                <a:gd name="T80" fmla="*/ 267 w 1291"/>
                <a:gd name="T81" fmla="*/ 642 h 704"/>
                <a:gd name="T82" fmla="*/ 442 w 1291"/>
                <a:gd name="T83" fmla="*/ 527 h 704"/>
                <a:gd name="T84" fmla="*/ 504 w 1291"/>
                <a:gd name="T85" fmla="*/ 428 h 704"/>
                <a:gd name="T86" fmla="*/ 588 w 1291"/>
                <a:gd name="T87" fmla="*/ 474 h 704"/>
                <a:gd name="T88" fmla="*/ 679 w 1291"/>
                <a:gd name="T89" fmla="*/ 588 h 704"/>
                <a:gd name="T90" fmla="*/ 748 w 1291"/>
                <a:gd name="T91" fmla="*/ 649 h 704"/>
                <a:gd name="T92" fmla="*/ 763 w 1291"/>
                <a:gd name="T93" fmla="*/ 703 h 704"/>
                <a:gd name="T94" fmla="*/ 763 w 1291"/>
                <a:gd name="T95" fmla="*/ 703 h 704"/>
                <a:gd name="T96" fmla="*/ 848 w 1291"/>
                <a:gd name="T97" fmla="*/ 634 h 704"/>
                <a:gd name="T98" fmla="*/ 878 w 1291"/>
                <a:gd name="T99" fmla="*/ 558 h 704"/>
                <a:gd name="T100" fmla="*/ 893 w 1291"/>
                <a:gd name="T101" fmla="*/ 458 h 704"/>
                <a:gd name="T102" fmla="*/ 985 w 1291"/>
                <a:gd name="T103" fmla="*/ 466 h 704"/>
                <a:gd name="T104" fmla="*/ 1015 w 1291"/>
                <a:gd name="T105" fmla="*/ 489 h 704"/>
                <a:gd name="T106" fmla="*/ 1046 w 1291"/>
                <a:gd name="T107" fmla="*/ 474 h 704"/>
                <a:gd name="T108" fmla="*/ 1038 w 1291"/>
                <a:gd name="T109" fmla="*/ 412 h 704"/>
                <a:gd name="T110" fmla="*/ 1046 w 1291"/>
                <a:gd name="T111" fmla="*/ 382 h 704"/>
                <a:gd name="T112" fmla="*/ 1092 w 1291"/>
                <a:gd name="T113" fmla="*/ 359 h 704"/>
                <a:gd name="T114" fmla="*/ 1107 w 1291"/>
                <a:gd name="T115" fmla="*/ 313 h 704"/>
                <a:gd name="T116" fmla="*/ 1168 w 1291"/>
                <a:gd name="T117" fmla="*/ 344 h 704"/>
                <a:gd name="T118" fmla="*/ 1214 w 1291"/>
                <a:gd name="T119" fmla="*/ 329 h 704"/>
                <a:gd name="T120" fmla="*/ 1252 w 1291"/>
                <a:gd name="T121" fmla="*/ 321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1" h="704">
                  <a:moveTo>
                    <a:pt x="1252" y="321"/>
                  </a:moveTo>
                  <a:lnTo>
                    <a:pt x="1252" y="321"/>
                  </a:lnTo>
                  <a:cubicBezTo>
                    <a:pt x="1245" y="275"/>
                    <a:pt x="1222" y="237"/>
                    <a:pt x="1229" y="191"/>
                  </a:cubicBezTo>
                  <a:cubicBezTo>
                    <a:pt x="1237" y="160"/>
                    <a:pt x="1267" y="138"/>
                    <a:pt x="1290" y="107"/>
                  </a:cubicBezTo>
                  <a:lnTo>
                    <a:pt x="1290" y="107"/>
                  </a:lnTo>
                  <a:cubicBezTo>
                    <a:pt x="1260" y="84"/>
                    <a:pt x="1222" y="54"/>
                    <a:pt x="1184" y="38"/>
                  </a:cubicBezTo>
                  <a:cubicBezTo>
                    <a:pt x="1168" y="31"/>
                    <a:pt x="1153" y="23"/>
                    <a:pt x="1145" y="23"/>
                  </a:cubicBezTo>
                  <a:cubicBezTo>
                    <a:pt x="1138" y="31"/>
                    <a:pt x="1145" y="38"/>
                    <a:pt x="1138" y="46"/>
                  </a:cubicBezTo>
                  <a:cubicBezTo>
                    <a:pt x="1122" y="46"/>
                    <a:pt x="1107" y="46"/>
                    <a:pt x="1092" y="46"/>
                  </a:cubicBezTo>
                  <a:cubicBezTo>
                    <a:pt x="1077" y="46"/>
                    <a:pt x="1069" y="23"/>
                    <a:pt x="1054" y="31"/>
                  </a:cubicBezTo>
                  <a:cubicBezTo>
                    <a:pt x="1038" y="38"/>
                    <a:pt x="1046" y="76"/>
                    <a:pt x="1023" y="76"/>
                  </a:cubicBezTo>
                  <a:cubicBezTo>
                    <a:pt x="1000" y="69"/>
                    <a:pt x="1008" y="23"/>
                    <a:pt x="985" y="15"/>
                  </a:cubicBezTo>
                  <a:cubicBezTo>
                    <a:pt x="962" y="8"/>
                    <a:pt x="939" y="31"/>
                    <a:pt x="916" y="31"/>
                  </a:cubicBezTo>
                  <a:cubicBezTo>
                    <a:pt x="909" y="31"/>
                    <a:pt x="893" y="31"/>
                    <a:pt x="886" y="23"/>
                  </a:cubicBezTo>
                  <a:cubicBezTo>
                    <a:pt x="870" y="15"/>
                    <a:pt x="870" y="0"/>
                    <a:pt x="855" y="0"/>
                  </a:cubicBezTo>
                  <a:cubicBezTo>
                    <a:pt x="832" y="0"/>
                    <a:pt x="802" y="15"/>
                    <a:pt x="779" y="23"/>
                  </a:cubicBezTo>
                  <a:cubicBezTo>
                    <a:pt x="756" y="31"/>
                    <a:pt x="740" y="38"/>
                    <a:pt x="717" y="31"/>
                  </a:cubicBezTo>
                  <a:cubicBezTo>
                    <a:pt x="695" y="31"/>
                    <a:pt x="672" y="23"/>
                    <a:pt x="649" y="15"/>
                  </a:cubicBezTo>
                  <a:cubicBezTo>
                    <a:pt x="641" y="15"/>
                    <a:pt x="634" y="8"/>
                    <a:pt x="618" y="0"/>
                  </a:cubicBezTo>
                  <a:lnTo>
                    <a:pt x="618" y="0"/>
                  </a:lnTo>
                  <a:cubicBezTo>
                    <a:pt x="611" y="15"/>
                    <a:pt x="603" y="31"/>
                    <a:pt x="603" y="54"/>
                  </a:cubicBezTo>
                  <a:cubicBezTo>
                    <a:pt x="595" y="69"/>
                    <a:pt x="611" y="92"/>
                    <a:pt x="603" y="107"/>
                  </a:cubicBezTo>
                  <a:cubicBezTo>
                    <a:pt x="588" y="130"/>
                    <a:pt x="550" y="130"/>
                    <a:pt x="527" y="153"/>
                  </a:cubicBezTo>
                  <a:cubicBezTo>
                    <a:pt x="519" y="168"/>
                    <a:pt x="527" y="199"/>
                    <a:pt x="511" y="206"/>
                  </a:cubicBezTo>
                  <a:cubicBezTo>
                    <a:pt x="488" y="222"/>
                    <a:pt x="465" y="199"/>
                    <a:pt x="442" y="206"/>
                  </a:cubicBezTo>
                  <a:cubicBezTo>
                    <a:pt x="412" y="222"/>
                    <a:pt x="404" y="260"/>
                    <a:pt x="374" y="275"/>
                  </a:cubicBezTo>
                  <a:cubicBezTo>
                    <a:pt x="336" y="290"/>
                    <a:pt x="290" y="275"/>
                    <a:pt x="244" y="290"/>
                  </a:cubicBezTo>
                  <a:cubicBezTo>
                    <a:pt x="236" y="290"/>
                    <a:pt x="236" y="313"/>
                    <a:pt x="229" y="313"/>
                  </a:cubicBezTo>
                  <a:cubicBezTo>
                    <a:pt x="213" y="321"/>
                    <a:pt x="198" y="306"/>
                    <a:pt x="183" y="313"/>
                  </a:cubicBezTo>
                  <a:cubicBezTo>
                    <a:pt x="160" y="329"/>
                    <a:pt x="137" y="351"/>
                    <a:pt x="106" y="367"/>
                  </a:cubicBezTo>
                  <a:cubicBezTo>
                    <a:pt x="76" y="374"/>
                    <a:pt x="38" y="382"/>
                    <a:pt x="0" y="390"/>
                  </a:cubicBezTo>
                  <a:lnTo>
                    <a:pt x="0" y="390"/>
                  </a:lnTo>
                  <a:cubicBezTo>
                    <a:pt x="0" y="405"/>
                    <a:pt x="0" y="420"/>
                    <a:pt x="0" y="435"/>
                  </a:cubicBezTo>
                  <a:cubicBezTo>
                    <a:pt x="7" y="451"/>
                    <a:pt x="23" y="451"/>
                    <a:pt x="30" y="466"/>
                  </a:cubicBezTo>
                  <a:cubicBezTo>
                    <a:pt x="38" y="481"/>
                    <a:pt x="30" y="497"/>
                    <a:pt x="30" y="520"/>
                  </a:cubicBezTo>
                  <a:cubicBezTo>
                    <a:pt x="38" y="535"/>
                    <a:pt x="30" y="558"/>
                    <a:pt x="45" y="573"/>
                  </a:cubicBezTo>
                  <a:cubicBezTo>
                    <a:pt x="61" y="581"/>
                    <a:pt x="91" y="558"/>
                    <a:pt x="106" y="573"/>
                  </a:cubicBezTo>
                  <a:cubicBezTo>
                    <a:pt x="129" y="588"/>
                    <a:pt x="129" y="619"/>
                    <a:pt x="145" y="642"/>
                  </a:cubicBezTo>
                  <a:cubicBezTo>
                    <a:pt x="160" y="657"/>
                    <a:pt x="175" y="687"/>
                    <a:pt x="198" y="695"/>
                  </a:cubicBezTo>
                  <a:cubicBezTo>
                    <a:pt x="229" y="695"/>
                    <a:pt x="236" y="657"/>
                    <a:pt x="267" y="642"/>
                  </a:cubicBezTo>
                  <a:lnTo>
                    <a:pt x="267" y="642"/>
                  </a:lnTo>
                  <a:cubicBezTo>
                    <a:pt x="397" y="642"/>
                    <a:pt x="366" y="619"/>
                    <a:pt x="442" y="527"/>
                  </a:cubicBezTo>
                  <a:cubicBezTo>
                    <a:pt x="450" y="512"/>
                    <a:pt x="481" y="412"/>
                    <a:pt x="504" y="428"/>
                  </a:cubicBezTo>
                  <a:cubicBezTo>
                    <a:pt x="534" y="443"/>
                    <a:pt x="557" y="458"/>
                    <a:pt x="588" y="474"/>
                  </a:cubicBezTo>
                  <a:cubicBezTo>
                    <a:pt x="634" y="489"/>
                    <a:pt x="679" y="543"/>
                    <a:pt x="679" y="588"/>
                  </a:cubicBezTo>
                  <a:cubicBezTo>
                    <a:pt x="679" y="619"/>
                    <a:pt x="740" y="604"/>
                    <a:pt x="748" y="649"/>
                  </a:cubicBezTo>
                  <a:cubicBezTo>
                    <a:pt x="763" y="703"/>
                    <a:pt x="763" y="703"/>
                    <a:pt x="763" y="703"/>
                  </a:cubicBezTo>
                  <a:lnTo>
                    <a:pt x="763" y="703"/>
                  </a:lnTo>
                  <a:cubicBezTo>
                    <a:pt x="779" y="680"/>
                    <a:pt x="832" y="657"/>
                    <a:pt x="848" y="634"/>
                  </a:cubicBezTo>
                  <a:cubicBezTo>
                    <a:pt x="863" y="611"/>
                    <a:pt x="870" y="581"/>
                    <a:pt x="878" y="558"/>
                  </a:cubicBezTo>
                  <a:cubicBezTo>
                    <a:pt x="886" y="520"/>
                    <a:pt x="870" y="474"/>
                    <a:pt x="893" y="458"/>
                  </a:cubicBezTo>
                  <a:cubicBezTo>
                    <a:pt x="916" y="435"/>
                    <a:pt x="954" y="458"/>
                    <a:pt x="985" y="466"/>
                  </a:cubicBezTo>
                  <a:cubicBezTo>
                    <a:pt x="1000" y="474"/>
                    <a:pt x="1000" y="489"/>
                    <a:pt x="1015" y="489"/>
                  </a:cubicBezTo>
                  <a:cubicBezTo>
                    <a:pt x="1023" y="489"/>
                    <a:pt x="1046" y="489"/>
                    <a:pt x="1046" y="474"/>
                  </a:cubicBezTo>
                  <a:cubicBezTo>
                    <a:pt x="1054" y="458"/>
                    <a:pt x="1038" y="435"/>
                    <a:pt x="1038" y="412"/>
                  </a:cubicBezTo>
                  <a:cubicBezTo>
                    <a:pt x="1038" y="405"/>
                    <a:pt x="1038" y="390"/>
                    <a:pt x="1046" y="382"/>
                  </a:cubicBezTo>
                  <a:cubicBezTo>
                    <a:pt x="1061" y="367"/>
                    <a:pt x="1077" y="374"/>
                    <a:pt x="1092" y="359"/>
                  </a:cubicBezTo>
                  <a:cubicBezTo>
                    <a:pt x="1099" y="351"/>
                    <a:pt x="1092" y="321"/>
                    <a:pt x="1107" y="313"/>
                  </a:cubicBezTo>
                  <a:cubicBezTo>
                    <a:pt x="1130" y="313"/>
                    <a:pt x="1145" y="344"/>
                    <a:pt x="1168" y="344"/>
                  </a:cubicBezTo>
                  <a:cubicBezTo>
                    <a:pt x="1184" y="344"/>
                    <a:pt x="1199" y="336"/>
                    <a:pt x="1214" y="329"/>
                  </a:cubicBezTo>
                  <a:cubicBezTo>
                    <a:pt x="1229" y="329"/>
                    <a:pt x="1237" y="321"/>
                    <a:pt x="1252" y="3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0" name="Freeform 182"/>
            <p:cNvSpPr>
              <a:spLocks noChangeArrowheads="1"/>
            </p:cNvSpPr>
            <p:nvPr/>
          </p:nvSpPr>
          <p:spPr bwMode="auto">
            <a:xfrm>
              <a:off x="3604979" y="5895976"/>
              <a:ext cx="439708" cy="371475"/>
            </a:xfrm>
            <a:custGeom>
              <a:avLst/>
              <a:gdLst>
                <a:gd name="T0" fmla="*/ 1222 w 1223"/>
                <a:gd name="T1" fmla="*/ 23 h 1033"/>
                <a:gd name="T2" fmla="*/ 1222 w 1223"/>
                <a:gd name="T3" fmla="*/ 23 h 1033"/>
                <a:gd name="T4" fmla="*/ 1214 w 1223"/>
                <a:gd name="T5" fmla="*/ 84 h 1033"/>
                <a:gd name="T6" fmla="*/ 1161 w 1223"/>
                <a:gd name="T7" fmla="*/ 107 h 1033"/>
                <a:gd name="T8" fmla="*/ 1161 w 1223"/>
                <a:gd name="T9" fmla="*/ 107 h 1033"/>
                <a:gd name="T10" fmla="*/ 1107 w 1223"/>
                <a:gd name="T11" fmla="*/ 138 h 1033"/>
                <a:gd name="T12" fmla="*/ 1123 w 1223"/>
                <a:gd name="T13" fmla="*/ 214 h 1033"/>
                <a:gd name="T14" fmla="*/ 1115 w 1223"/>
                <a:gd name="T15" fmla="*/ 283 h 1033"/>
                <a:gd name="T16" fmla="*/ 1161 w 1223"/>
                <a:gd name="T17" fmla="*/ 329 h 1033"/>
                <a:gd name="T18" fmla="*/ 1130 w 1223"/>
                <a:gd name="T19" fmla="*/ 367 h 1033"/>
                <a:gd name="T20" fmla="*/ 1191 w 1223"/>
                <a:gd name="T21" fmla="*/ 482 h 1033"/>
                <a:gd name="T22" fmla="*/ 1168 w 1223"/>
                <a:gd name="T23" fmla="*/ 558 h 1033"/>
                <a:gd name="T24" fmla="*/ 1168 w 1223"/>
                <a:gd name="T25" fmla="*/ 558 h 1033"/>
                <a:gd name="T26" fmla="*/ 1153 w 1223"/>
                <a:gd name="T27" fmla="*/ 612 h 1033"/>
                <a:gd name="T28" fmla="*/ 1153 w 1223"/>
                <a:gd name="T29" fmla="*/ 665 h 1033"/>
                <a:gd name="T30" fmla="*/ 1077 w 1223"/>
                <a:gd name="T31" fmla="*/ 711 h 1033"/>
                <a:gd name="T32" fmla="*/ 1061 w 1223"/>
                <a:gd name="T33" fmla="*/ 764 h 1033"/>
                <a:gd name="T34" fmla="*/ 992 w 1223"/>
                <a:gd name="T35" fmla="*/ 764 h 1033"/>
                <a:gd name="T36" fmla="*/ 924 w 1223"/>
                <a:gd name="T37" fmla="*/ 833 h 1033"/>
                <a:gd name="T38" fmla="*/ 794 w 1223"/>
                <a:gd name="T39" fmla="*/ 848 h 1033"/>
                <a:gd name="T40" fmla="*/ 779 w 1223"/>
                <a:gd name="T41" fmla="*/ 871 h 1033"/>
                <a:gd name="T42" fmla="*/ 733 w 1223"/>
                <a:gd name="T43" fmla="*/ 871 h 1033"/>
                <a:gd name="T44" fmla="*/ 656 w 1223"/>
                <a:gd name="T45" fmla="*/ 925 h 1033"/>
                <a:gd name="T46" fmla="*/ 550 w 1223"/>
                <a:gd name="T47" fmla="*/ 948 h 1033"/>
                <a:gd name="T48" fmla="*/ 550 w 1223"/>
                <a:gd name="T49" fmla="*/ 948 h 1033"/>
                <a:gd name="T50" fmla="*/ 450 w 1223"/>
                <a:gd name="T51" fmla="*/ 932 h 1033"/>
                <a:gd name="T52" fmla="*/ 435 w 1223"/>
                <a:gd name="T53" fmla="*/ 970 h 1033"/>
                <a:gd name="T54" fmla="*/ 313 w 1223"/>
                <a:gd name="T55" fmla="*/ 1032 h 1033"/>
                <a:gd name="T56" fmla="*/ 244 w 1223"/>
                <a:gd name="T57" fmla="*/ 963 h 1033"/>
                <a:gd name="T58" fmla="*/ 214 w 1223"/>
                <a:gd name="T59" fmla="*/ 848 h 1033"/>
                <a:gd name="T60" fmla="*/ 214 w 1223"/>
                <a:gd name="T61" fmla="*/ 764 h 1033"/>
                <a:gd name="T62" fmla="*/ 252 w 1223"/>
                <a:gd name="T63" fmla="*/ 657 h 1033"/>
                <a:gd name="T64" fmla="*/ 290 w 1223"/>
                <a:gd name="T65" fmla="*/ 612 h 1033"/>
                <a:gd name="T66" fmla="*/ 275 w 1223"/>
                <a:gd name="T67" fmla="*/ 573 h 1033"/>
                <a:gd name="T68" fmla="*/ 191 w 1223"/>
                <a:gd name="T69" fmla="*/ 589 h 1033"/>
                <a:gd name="T70" fmla="*/ 145 w 1223"/>
                <a:gd name="T71" fmla="*/ 543 h 1033"/>
                <a:gd name="T72" fmla="*/ 84 w 1223"/>
                <a:gd name="T73" fmla="*/ 543 h 1033"/>
                <a:gd name="T74" fmla="*/ 45 w 1223"/>
                <a:gd name="T75" fmla="*/ 482 h 1033"/>
                <a:gd name="T76" fmla="*/ 0 w 1223"/>
                <a:gd name="T77" fmla="*/ 459 h 1033"/>
                <a:gd name="T78" fmla="*/ 0 w 1223"/>
                <a:gd name="T79" fmla="*/ 459 h 1033"/>
                <a:gd name="T80" fmla="*/ 84 w 1223"/>
                <a:gd name="T81" fmla="*/ 421 h 1033"/>
                <a:gd name="T82" fmla="*/ 198 w 1223"/>
                <a:gd name="T83" fmla="*/ 405 h 1033"/>
                <a:gd name="T84" fmla="*/ 244 w 1223"/>
                <a:gd name="T85" fmla="*/ 375 h 1033"/>
                <a:gd name="T86" fmla="*/ 275 w 1223"/>
                <a:gd name="T87" fmla="*/ 375 h 1033"/>
                <a:gd name="T88" fmla="*/ 351 w 1223"/>
                <a:gd name="T89" fmla="*/ 352 h 1033"/>
                <a:gd name="T90" fmla="*/ 427 w 1223"/>
                <a:gd name="T91" fmla="*/ 375 h 1033"/>
                <a:gd name="T92" fmla="*/ 473 w 1223"/>
                <a:gd name="T93" fmla="*/ 298 h 1033"/>
                <a:gd name="T94" fmla="*/ 496 w 1223"/>
                <a:gd name="T95" fmla="*/ 245 h 1033"/>
                <a:gd name="T96" fmla="*/ 565 w 1223"/>
                <a:gd name="T97" fmla="*/ 214 h 1033"/>
                <a:gd name="T98" fmla="*/ 618 w 1223"/>
                <a:gd name="T99" fmla="*/ 184 h 1033"/>
                <a:gd name="T100" fmla="*/ 626 w 1223"/>
                <a:gd name="T101" fmla="*/ 123 h 1033"/>
                <a:gd name="T102" fmla="*/ 679 w 1223"/>
                <a:gd name="T103" fmla="*/ 115 h 1033"/>
                <a:gd name="T104" fmla="*/ 702 w 1223"/>
                <a:gd name="T105" fmla="*/ 130 h 1033"/>
                <a:gd name="T106" fmla="*/ 771 w 1223"/>
                <a:gd name="T107" fmla="*/ 84 h 1033"/>
                <a:gd name="T108" fmla="*/ 931 w 1223"/>
                <a:gd name="T109" fmla="*/ 92 h 1033"/>
                <a:gd name="T110" fmla="*/ 992 w 1223"/>
                <a:gd name="T111" fmla="*/ 46 h 1033"/>
                <a:gd name="T112" fmla="*/ 1130 w 1223"/>
                <a:gd name="T113" fmla="*/ 8 h 1033"/>
                <a:gd name="T114" fmla="*/ 1222 w 1223"/>
                <a:gd name="T115" fmla="*/ 2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3" h="1033">
                  <a:moveTo>
                    <a:pt x="1222" y="23"/>
                  </a:moveTo>
                  <a:lnTo>
                    <a:pt x="1222" y="23"/>
                  </a:lnTo>
                  <a:cubicBezTo>
                    <a:pt x="1214" y="46"/>
                    <a:pt x="1222" y="69"/>
                    <a:pt x="1214" y="84"/>
                  </a:cubicBezTo>
                  <a:cubicBezTo>
                    <a:pt x="1199" y="100"/>
                    <a:pt x="1176" y="100"/>
                    <a:pt x="1161" y="107"/>
                  </a:cubicBezTo>
                  <a:lnTo>
                    <a:pt x="1161" y="107"/>
                  </a:lnTo>
                  <a:cubicBezTo>
                    <a:pt x="1138" y="115"/>
                    <a:pt x="1115" y="123"/>
                    <a:pt x="1107" y="138"/>
                  </a:cubicBezTo>
                  <a:cubicBezTo>
                    <a:pt x="1092" y="161"/>
                    <a:pt x="1115" y="192"/>
                    <a:pt x="1123" y="214"/>
                  </a:cubicBezTo>
                  <a:cubicBezTo>
                    <a:pt x="1123" y="237"/>
                    <a:pt x="1107" y="260"/>
                    <a:pt x="1115" y="283"/>
                  </a:cubicBezTo>
                  <a:cubicBezTo>
                    <a:pt x="1123" y="306"/>
                    <a:pt x="1153" y="314"/>
                    <a:pt x="1161" y="329"/>
                  </a:cubicBezTo>
                  <a:cubicBezTo>
                    <a:pt x="1161" y="344"/>
                    <a:pt x="1130" y="352"/>
                    <a:pt x="1130" y="367"/>
                  </a:cubicBezTo>
                  <a:cubicBezTo>
                    <a:pt x="1145" y="405"/>
                    <a:pt x="1184" y="444"/>
                    <a:pt x="1191" y="482"/>
                  </a:cubicBezTo>
                  <a:cubicBezTo>
                    <a:pt x="1199" y="512"/>
                    <a:pt x="1176" y="535"/>
                    <a:pt x="1168" y="558"/>
                  </a:cubicBezTo>
                  <a:lnTo>
                    <a:pt x="1168" y="558"/>
                  </a:lnTo>
                  <a:cubicBezTo>
                    <a:pt x="1161" y="573"/>
                    <a:pt x="1153" y="589"/>
                    <a:pt x="1153" y="612"/>
                  </a:cubicBezTo>
                  <a:cubicBezTo>
                    <a:pt x="1145" y="627"/>
                    <a:pt x="1161" y="650"/>
                    <a:pt x="1153" y="665"/>
                  </a:cubicBezTo>
                  <a:cubicBezTo>
                    <a:pt x="1138" y="688"/>
                    <a:pt x="1100" y="688"/>
                    <a:pt x="1077" y="711"/>
                  </a:cubicBezTo>
                  <a:cubicBezTo>
                    <a:pt x="1069" y="726"/>
                    <a:pt x="1077" y="757"/>
                    <a:pt x="1061" y="764"/>
                  </a:cubicBezTo>
                  <a:cubicBezTo>
                    <a:pt x="1038" y="780"/>
                    <a:pt x="1015" y="757"/>
                    <a:pt x="992" y="764"/>
                  </a:cubicBezTo>
                  <a:cubicBezTo>
                    <a:pt x="962" y="780"/>
                    <a:pt x="954" y="818"/>
                    <a:pt x="924" y="833"/>
                  </a:cubicBezTo>
                  <a:cubicBezTo>
                    <a:pt x="886" y="848"/>
                    <a:pt x="840" y="833"/>
                    <a:pt x="794" y="848"/>
                  </a:cubicBezTo>
                  <a:cubicBezTo>
                    <a:pt x="786" y="848"/>
                    <a:pt x="786" y="871"/>
                    <a:pt x="779" y="871"/>
                  </a:cubicBezTo>
                  <a:cubicBezTo>
                    <a:pt x="763" y="879"/>
                    <a:pt x="748" y="864"/>
                    <a:pt x="733" y="871"/>
                  </a:cubicBezTo>
                  <a:cubicBezTo>
                    <a:pt x="710" y="887"/>
                    <a:pt x="687" y="909"/>
                    <a:pt x="656" y="925"/>
                  </a:cubicBezTo>
                  <a:cubicBezTo>
                    <a:pt x="626" y="932"/>
                    <a:pt x="588" y="940"/>
                    <a:pt x="550" y="948"/>
                  </a:cubicBezTo>
                  <a:lnTo>
                    <a:pt x="550" y="948"/>
                  </a:lnTo>
                  <a:cubicBezTo>
                    <a:pt x="519" y="940"/>
                    <a:pt x="481" y="925"/>
                    <a:pt x="450" y="932"/>
                  </a:cubicBezTo>
                  <a:cubicBezTo>
                    <a:pt x="443" y="940"/>
                    <a:pt x="443" y="963"/>
                    <a:pt x="435" y="970"/>
                  </a:cubicBezTo>
                  <a:cubicBezTo>
                    <a:pt x="397" y="993"/>
                    <a:pt x="359" y="1032"/>
                    <a:pt x="313" y="1032"/>
                  </a:cubicBezTo>
                  <a:cubicBezTo>
                    <a:pt x="282" y="1032"/>
                    <a:pt x="259" y="993"/>
                    <a:pt x="244" y="963"/>
                  </a:cubicBezTo>
                  <a:cubicBezTo>
                    <a:pt x="229" y="932"/>
                    <a:pt x="221" y="887"/>
                    <a:pt x="214" y="848"/>
                  </a:cubicBezTo>
                  <a:cubicBezTo>
                    <a:pt x="214" y="818"/>
                    <a:pt x="214" y="795"/>
                    <a:pt x="214" y="764"/>
                  </a:cubicBezTo>
                  <a:cubicBezTo>
                    <a:pt x="221" y="726"/>
                    <a:pt x="237" y="696"/>
                    <a:pt x="252" y="657"/>
                  </a:cubicBezTo>
                  <a:cubicBezTo>
                    <a:pt x="259" y="642"/>
                    <a:pt x="282" y="634"/>
                    <a:pt x="290" y="612"/>
                  </a:cubicBezTo>
                  <a:cubicBezTo>
                    <a:pt x="290" y="596"/>
                    <a:pt x="275" y="589"/>
                    <a:pt x="275" y="573"/>
                  </a:cubicBezTo>
                  <a:cubicBezTo>
                    <a:pt x="275" y="573"/>
                    <a:pt x="198" y="589"/>
                    <a:pt x="191" y="589"/>
                  </a:cubicBezTo>
                  <a:lnTo>
                    <a:pt x="145" y="543"/>
                  </a:lnTo>
                  <a:cubicBezTo>
                    <a:pt x="122" y="543"/>
                    <a:pt x="99" y="551"/>
                    <a:pt x="84" y="543"/>
                  </a:cubicBezTo>
                  <a:cubicBezTo>
                    <a:pt x="61" y="528"/>
                    <a:pt x="53" y="505"/>
                    <a:pt x="45" y="482"/>
                  </a:cubicBezTo>
                  <a:cubicBezTo>
                    <a:pt x="38" y="474"/>
                    <a:pt x="7" y="466"/>
                    <a:pt x="0" y="459"/>
                  </a:cubicBezTo>
                  <a:lnTo>
                    <a:pt x="0" y="459"/>
                  </a:lnTo>
                  <a:cubicBezTo>
                    <a:pt x="23" y="444"/>
                    <a:pt x="68" y="428"/>
                    <a:pt x="84" y="421"/>
                  </a:cubicBezTo>
                  <a:cubicBezTo>
                    <a:pt x="122" y="413"/>
                    <a:pt x="160" y="421"/>
                    <a:pt x="198" y="405"/>
                  </a:cubicBezTo>
                  <a:cubicBezTo>
                    <a:pt x="214" y="398"/>
                    <a:pt x="229" y="375"/>
                    <a:pt x="244" y="375"/>
                  </a:cubicBezTo>
                  <a:cubicBezTo>
                    <a:pt x="252" y="367"/>
                    <a:pt x="267" y="382"/>
                    <a:pt x="275" y="375"/>
                  </a:cubicBezTo>
                  <a:cubicBezTo>
                    <a:pt x="305" y="375"/>
                    <a:pt x="320" y="352"/>
                    <a:pt x="351" y="352"/>
                  </a:cubicBezTo>
                  <a:cubicBezTo>
                    <a:pt x="374" y="352"/>
                    <a:pt x="404" y="382"/>
                    <a:pt x="427" y="375"/>
                  </a:cubicBezTo>
                  <a:cubicBezTo>
                    <a:pt x="450" y="359"/>
                    <a:pt x="458" y="321"/>
                    <a:pt x="473" y="298"/>
                  </a:cubicBezTo>
                  <a:cubicBezTo>
                    <a:pt x="481" y="283"/>
                    <a:pt x="481" y="260"/>
                    <a:pt x="496" y="245"/>
                  </a:cubicBezTo>
                  <a:cubicBezTo>
                    <a:pt x="519" y="230"/>
                    <a:pt x="542" y="230"/>
                    <a:pt x="565" y="214"/>
                  </a:cubicBezTo>
                  <a:cubicBezTo>
                    <a:pt x="588" y="207"/>
                    <a:pt x="611" y="199"/>
                    <a:pt x="618" y="184"/>
                  </a:cubicBezTo>
                  <a:cubicBezTo>
                    <a:pt x="634" y="169"/>
                    <a:pt x="611" y="138"/>
                    <a:pt x="626" y="123"/>
                  </a:cubicBezTo>
                  <a:cubicBezTo>
                    <a:pt x="641" y="115"/>
                    <a:pt x="664" y="115"/>
                    <a:pt x="679" y="115"/>
                  </a:cubicBezTo>
                  <a:cubicBezTo>
                    <a:pt x="687" y="115"/>
                    <a:pt x="695" y="130"/>
                    <a:pt x="702" y="130"/>
                  </a:cubicBezTo>
                  <a:cubicBezTo>
                    <a:pt x="725" y="123"/>
                    <a:pt x="740" y="84"/>
                    <a:pt x="771" y="84"/>
                  </a:cubicBezTo>
                  <a:cubicBezTo>
                    <a:pt x="825" y="69"/>
                    <a:pt x="878" y="100"/>
                    <a:pt x="931" y="92"/>
                  </a:cubicBezTo>
                  <a:cubicBezTo>
                    <a:pt x="954" y="84"/>
                    <a:pt x="970" y="54"/>
                    <a:pt x="992" y="46"/>
                  </a:cubicBezTo>
                  <a:cubicBezTo>
                    <a:pt x="1038" y="23"/>
                    <a:pt x="1084" y="8"/>
                    <a:pt x="1130" y="8"/>
                  </a:cubicBezTo>
                  <a:cubicBezTo>
                    <a:pt x="1161" y="0"/>
                    <a:pt x="1191" y="16"/>
                    <a:pt x="1222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1" name="Freeform 183"/>
            <p:cNvSpPr>
              <a:spLocks noChangeArrowheads="1"/>
            </p:cNvSpPr>
            <p:nvPr/>
          </p:nvSpPr>
          <p:spPr bwMode="auto">
            <a:xfrm>
              <a:off x="3338296" y="6061075"/>
              <a:ext cx="593686" cy="488950"/>
            </a:xfrm>
            <a:custGeom>
              <a:avLst/>
              <a:gdLst>
                <a:gd name="T0" fmla="*/ 741 w 1651"/>
                <a:gd name="T1" fmla="*/ 0 h 1360"/>
                <a:gd name="T2" fmla="*/ 741 w 1651"/>
                <a:gd name="T3" fmla="*/ 0 h 1360"/>
                <a:gd name="T4" fmla="*/ 786 w 1651"/>
                <a:gd name="T5" fmla="*/ 23 h 1360"/>
                <a:gd name="T6" fmla="*/ 825 w 1651"/>
                <a:gd name="T7" fmla="*/ 84 h 1360"/>
                <a:gd name="T8" fmla="*/ 886 w 1651"/>
                <a:gd name="T9" fmla="*/ 84 h 1360"/>
                <a:gd name="T10" fmla="*/ 932 w 1651"/>
                <a:gd name="T11" fmla="*/ 130 h 1360"/>
                <a:gd name="T12" fmla="*/ 1016 w 1651"/>
                <a:gd name="T13" fmla="*/ 114 h 1360"/>
                <a:gd name="T14" fmla="*/ 1031 w 1651"/>
                <a:gd name="T15" fmla="*/ 153 h 1360"/>
                <a:gd name="T16" fmla="*/ 993 w 1651"/>
                <a:gd name="T17" fmla="*/ 198 h 1360"/>
                <a:gd name="T18" fmla="*/ 955 w 1651"/>
                <a:gd name="T19" fmla="*/ 305 h 1360"/>
                <a:gd name="T20" fmla="*/ 955 w 1651"/>
                <a:gd name="T21" fmla="*/ 389 h 1360"/>
                <a:gd name="T22" fmla="*/ 985 w 1651"/>
                <a:gd name="T23" fmla="*/ 504 h 1360"/>
                <a:gd name="T24" fmla="*/ 1054 w 1651"/>
                <a:gd name="T25" fmla="*/ 573 h 1360"/>
                <a:gd name="T26" fmla="*/ 1176 w 1651"/>
                <a:gd name="T27" fmla="*/ 511 h 1360"/>
                <a:gd name="T28" fmla="*/ 1191 w 1651"/>
                <a:gd name="T29" fmla="*/ 473 h 1360"/>
                <a:gd name="T30" fmla="*/ 1291 w 1651"/>
                <a:gd name="T31" fmla="*/ 489 h 1360"/>
                <a:gd name="T32" fmla="*/ 1291 w 1651"/>
                <a:gd name="T33" fmla="*/ 489 h 1360"/>
                <a:gd name="T34" fmla="*/ 1291 w 1651"/>
                <a:gd name="T35" fmla="*/ 534 h 1360"/>
                <a:gd name="T36" fmla="*/ 1321 w 1651"/>
                <a:gd name="T37" fmla="*/ 565 h 1360"/>
                <a:gd name="T38" fmla="*/ 1321 w 1651"/>
                <a:gd name="T39" fmla="*/ 619 h 1360"/>
                <a:gd name="T40" fmla="*/ 1336 w 1651"/>
                <a:gd name="T41" fmla="*/ 672 h 1360"/>
                <a:gd name="T42" fmla="*/ 1397 w 1651"/>
                <a:gd name="T43" fmla="*/ 672 h 1360"/>
                <a:gd name="T44" fmla="*/ 1436 w 1651"/>
                <a:gd name="T45" fmla="*/ 741 h 1360"/>
                <a:gd name="T46" fmla="*/ 1489 w 1651"/>
                <a:gd name="T47" fmla="*/ 794 h 1360"/>
                <a:gd name="T48" fmla="*/ 1558 w 1651"/>
                <a:gd name="T49" fmla="*/ 741 h 1360"/>
                <a:gd name="T50" fmla="*/ 1558 w 1651"/>
                <a:gd name="T51" fmla="*/ 741 h 1360"/>
                <a:gd name="T52" fmla="*/ 1566 w 1651"/>
                <a:gd name="T53" fmla="*/ 802 h 1360"/>
                <a:gd name="T54" fmla="*/ 1535 w 1651"/>
                <a:gd name="T55" fmla="*/ 832 h 1360"/>
                <a:gd name="T56" fmla="*/ 1596 w 1651"/>
                <a:gd name="T57" fmla="*/ 924 h 1360"/>
                <a:gd name="T58" fmla="*/ 1535 w 1651"/>
                <a:gd name="T59" fmla="*/ 1077 h 1360"/>
                <a:gd name="T60" fmla="*/ 1459 w 1651"/>
                <a:gd name="T61" fmla="*/ 1253 h 1360"/>
                <a:gd name="T62" fmla="*/ 1397 w 1651"/>
                <a:gd name="T63" fmla="*/ 1344 h 1360"/>
                <a:gd name="T64" fmla="*/ 1390 w 1651"/>
                <a:gd name="T65" fmla="*/ 1230 h 1360"/>
                <a:gd name="T66" fmla="*/ 1344 w 1651"/>
                <a:gd name="T67" fmla="*/ 1298 h 1360"/>
                <a:gd name="T68" fmla="*/ 1359 w 1651"/>
                <a:gd name="T69" fmla="*/ 1329 h 1360"/>
                <a:gd name="T70" fmla="*/ 1359 w 1651"/>
                <a:gd name="T71" fmla="*/ 1329 h 1360"/>
                <a:gd name="T72" fmla="*/ 1359 w 1651"/>
                <a:gd name="T73" fmla="*/ 1329 h 1360"/>
                <a:gd name="T74" fmla="*/ 1329 w 1651"/>
                <a:gd name="T75" fmla="*/ 1344 h 1360"/>
                <a:gd name="T76" fmla="*/ 1252 w 1651"/>
                <a:gd name="T77" fmla="*/ 1306 h 1360"/>
                <a:gd name="T78" fmla="*/ 1184 w 1651"/>
                <a:gd name="T79" fmla="*/ 1268 h 1360"/>
                <a:gd name="T80" fmla="*/ 978 w 1651"/>
                <a:gd name="T81" fmla="*/ 1329 h 1360"/>
                <a:gd name="T82" fmla="*/ 878 w 1651"/>
                <a:gd name="T83" fmla="*/ 1260 h 1360"/>
                <a:gd name="T84" fmla="*/ 794 w 1651"/>
                <a:gd name="T85" fmla="*/ 1176 h 1360"/>
                <a:gd name="T86" fmla="*/ 756 w 1651"/>
                <a:gd name="T87" fmla="*/ 1115 h 1360"/>
                <a:gd name="T88" fmla="*/ 634 w 1651"/>
                <a:gd name="T89" fmla="*/ 1100 h 1360"/>
                <a:gd name="T90" fmla="*/ 496 w 1651"/>
                <a:gd name="T91" fmla="*/ 1077 h 1360"/>
                <a:gd name="T92" fmla="*/ 473 w 1651"/>
                <a:gd name="T93" fmla="*/ 932 h 1360"/>
                <a:gd name="T94" fmla="*/ 366 w 1651"/>
                <a:gd name="T95" fmla="*/ 840 h 1360"/>
                <a:gd name="T96" fmla="*/ 244 w 1651"/>
                <a:gd name="T97" fmla="*/ 680 h 1360"/>
                <a:gd name="T98" fmla="*/ 175 w 1651"/>
                <a:gd name="T99" fmla="*/ 634 h 1360"/>
                <a:gd name="T100" fmla="*/ 175 w 1651"/>
                <a:gd name="T101" fmla="*/ 642 h 1360"/>
                <a:gd name="T102" fmla="*/ 30 w 1651"/>
                <a:gd name="T103" fmla="*/ 443 h 1360"/>
                <a:gd name="T104" fmla="*/ 0 w 1651"/>
                <a:gd name="T105" fmla="*/ 405 h 1360"/>
                <a:gd name="T106" fmla="*/ 99 w 1651"/>
                <a:gd name="T107" fmla="*/ 389 h 1360"/>
                <a:gd name="T108" fmla="*/ 168 w 1651"/>
                <a:gd name="T109" fmla="*/ 336 h 1360"/>
                <a:gd name="T110" fmla="*/ 259 w 1651"/>
                <a:gd name="T111" fmla="*/ 198 h 1360"/>
                <a:gd name="T112" fmla="*/ 374 w 1651"/>
                <a:gd name="T113" fmla="*/ 221 h 1360"/>
                <a:gd name="T114" fmla="*/ 550 w 1651"/>
                <a:gd name="T115" fmla="*/ 191 h 1360"/>
                <a:gd name="T116" fmla="*/ 588 w 1651"/>
                <a:gd name="T117" fmla="*/ 92 h 1360"/>
                <a:gd name="T118" fmla="*/ 695 w 1651"/>
                <a:gd name="T119" fmla="*/ 30 h 1360"/>
                <a:gd name="T120" fmla="*/ 741 w 1651"/>
                <a:gd name="T121" fmla="*/ 0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51" h="1360">
                  <a:moveTo>
                    <a:pt x="741" y="0"/>
                  </a:moveTo>
                  <a:lnTo>
                    <a:pt x="741" y="0"/>
                  </a:lnTo>
                  <a:cubicBezTo>
                    <a:pt x="748" y="7"/>
                    <a:pt x="779" y="15"/>
                    <a:pt x="786" y="23"/>
                  </a:cubicBezTo>
                  <a:cubicBezTo>
                    <a:pt x="794" y="46"/>
                    <a:pt x="802" y="69"/>
                    <a:pt x="825" y="84"/>
                  </a:cubicBezTo>
                  <a:cubicBezTo>
                    <a:pt x="840" y="92"/>
                    <a:pt x="863" y="84"/>
                    <a:pt x="886" y="84"/>
                  </a:cubicBezTo>
                  <a:lnTo>
                    <a:pt x="932" y="130"/>
                  </a:lnTo>
                  <a:cubicBezTo>
                    <a:pt x="939" y="130"/>
                    <a:pt x="1016" y="114"/>
                    <a:pt x="1016" y="114"/>
                  </a:cubicBezTo>
                  <a:cubicBezTo>
                    <a:pt x="1016" y="130"/>
                    <a:pt x="1031" y="137"/>
                    <a:pt x="1031" y="153"/>
                  </a:cubicBezTo>
                  <a:cubicBezTo>
                    <a:pt x="1023" y="175"/>
                    <a:pt x="1000" y="183"/>
                    <a:pt x="993" y="198"/>
                  </a:cubicBezTo>
                  <a:cubicBezTo>
                    <a:pt x="978" y="237"/>
                    <a:pt x="962" y="267"/>
                    <a:pt x="955" y="305"/>
                  </a:cubicBezTo>
                  <a:cubicBezTo>
                    <a:pt x="955" y="336"/>
                    <a:pt x="955" y="359"/>
                    <a:pt x="955" y="389"/>
                  </a:cubicBezTo>
                  <a:cubicBezTo>
                    <a:pt x="962" y="428"/>
                    <a:pt x="970" y="473"/>
                    <a:pt x="985" y="504"/>
                  </a:cubicBezTo>
                  <a:cubicBezTo>
                    <a:pt x="1000" y="534"/>
                    <a:pt x="1023" y="573"/>
                    <a:pt x="1054" y="573"/>
                  </a:cubicBezTo>
                  <a:cubicBezTo>
                    <a:pt x="1100" y="573"/>
                    <a:pt x="1138" y="534"/>
                    <a:pt x="1176" y="511"/>
                  </a:cubicBezTo>
                  <a:cubicBezTo>
                    <a:pt x="1184" y="504"/>
                    <a:pt x="1184" y="481"/>
                    <a:pt x="1191" y="473"/>
                  </a:cubicBezTo>
                  <a:cubicBezTo>
                    <a:pt x="1222" y="466"/>
                    <a:pt x="1260" y="481"/>
                    <a:pt x="1291" y="489"/>
                  </a:cubicBezTo>
                  <a:lnTo>
                    <a:pt x="1291" y="489"/>
                  </a:lnTo>
                  <a:cubicBezTo>
                    <a:pt x="1291" y="504"/>
                    <a:pt x="1291" y="519"/>
                    <a:pt x="1291" y="534"/>
                  </a:cubicBezTo>
                  <a:cubicBezTo>
                    <a:pt x="1298" y="550"/>
                    <a:pt x="1314" y="550"/>
                    <a:pt x="1321" y="565"/>
                  </a:cubicBezTo>
                  <a:cubicBezTo>
                    <a:pt x="1329" y="580"/>
                    <a:pt x="1321" y="596"/>
                    <a:pt x="1321" y="619"/>
                  </a:cubicBezTo>
                  <a:cubicBezTo>
                    <a:pt x="1329" y="634"/>
                    <a:pt x="1321" y="657"/>
                    <a:pt x="1336" y="672"/>
                  </a:cubicBezTo>
                  <a:cubicBezTo>
                    <a:pt x="1352" y="680"/>
                    <a:pt x="1382" y="657"/>
                    <a:pt x="1397" y="672"/>
                  </a:cubicBezTo>
                  <a:cubicBezTo>
                    <a:pt x="1420" y="687"/>
                    <a:pt x="1420" y="718"/>
                    <a:pt x="1436" y="741"/>
                  </a:cubicBezTo>
                  <a:cubicBezTo>
                    <a:pt x="1451" y="756"/>
                    <a:pt x="1466" y="786"/>
                    <a:pt x="1489" y="794"/>
                  </a:cubicBezTo>
                  <a:cubicBezTo>
                    <a:pt x="1520" y="794"/>
                    <a:pt x="1527" y="756"/>
                    <a:pt x="1558" y="741"/>
                  </a:cubicBezTo>
                  <a:lnTo>
                    <a:pt x="1558" y="741"/>
                  </a:lnTo>
                  <a:cubicBezTo>
                    <a:pt x="1558" y="756"/>
                    <a:pt x="1566" y="779"/>
                    <a:pt x="1566" y="802"/>
                  </a:cubicBezTo>
                  <a:cubicBezTo>
                    <a:pt x="1566" y="832"/>
                    <a:pt x="1543" y="817"/>
                    <a:pt x="1535" y="832"/>
                  </a:cubicBezTo>
                  <a:cubicBezTo>
                    <a:pt x="1527" y="848"/>
                    <a:pt x="1581" y="909"/>
                    <a:pt x="1596" y="924"/>
                  </a:cubicBezTo>
                  <a:cubicBezTo>
                    <a:pt x="1650" y="993"/>
                    <a:pt x="1634" y="1077"/>
                    <a:pt x="1535" y="1077"/>
                  </a:cubicBezTo>
                  <a:cubicBezTo>
                    <a:pt x="1466" y="1084"/>
                    <a:pt x="1474" y="1207"/>
                    <a:pt x="1459" y="1253"/>
                  </a:cubicBezTo>
                  <a:cubicBezTo>
                    <a:pt x="1443" y="1283"/>
                    <a:pt x="1405" y="1314"/>
                    <a:pt x="1397" y="1344"/>
                  </a:cubicBezTo>
                  <a:cubicBezTo>
                    <a:pt x="1352" y="1344"/>
                    <a:pt x="1390" y="1245"/>
                    <a:pt x="1390" y="1230"/>
                  </a:cubicBezTo>
                  <a:cubicBezTo>
                    <a:pt x="1390" y="1184"/>
                    <a:pt x="1291" y="1222"/>
                    <a:pt x="1344" y="1298"/>
                  </a:cubicBezTo>
                  <a:cubicBezTo>
                    <a:pt x="1344" y="1306"/>
                    <a:pt x="1367" y="1329"/>
                    <a:pt x="1359" y="1329"/>
                  </a:cubicBezTo>
                  <a:lnTo>
                    <a:pt x="1359" y="1329"/>
                  </a:lnTo>
                  <a:lnTo>
                    <a:pt x="1359" y="1329"/>
                  </a:lnTo>
                  <a:cubicBezTo>
                    <a:pt x="1352" y="1329"/>
                    <a:pt x="1336" y="1344"/>
                    <a:pt x="1329" y="1344"/>
                  </a:cubicBezTo>
                  <a:cubicBezTo>
                    <a:pt x="1291" y="1344"/>
                    <a:pt x="1275" y="1329"/>
                    <a:pt x="1252" y="1306"/>
                  </a:cubicBezTo>
                  <a:cubicBezTo>
                    <a:pt x="1237" y="1291"/>
                    <a:pt x="1184" y="1283"/>
                    <a:pt x="1184" y="1268"/>
                  </a:cubicBezTo>
                  <a:cubicBezTo>
                    <a:pt x="1184" y="1191"/>
                    <a:pt x="1031" y="1359"/>
                    <a:pt x="978" y="1329"/>
                  </a:cubicBezTo>
                  <a:cubicBezTo>
                    <a:pt x="939" y="1306"/>
                    <a:pt x="916" y="1268"/>
                    <a:pt x="878" y="1260"/>
                  </a:cubicBezTo>
                  <a:cubicBezTo>
                    <a:pt x="817" y="1245"/>
                    <a:pt x="886" y="1176"/>
                    <a:pt x="794" y="1176"/>
                  </a:cubicBezTo>
                  <a:cubicBezTo>
                    <a:pt x="748" y="1176"/>
                    <a:pt x="802" y="1123"/>
                    <a:pt x="756" y="1115"/>
                  </a:cubicBezTo>
                  <a:cubicBezTo>
                    <a:pt x="718" y="1115"/>
                    <a:pt x="664" y="1100"/>
                    <a:pt x="634" y="1100"/>
                  </a:cubicBezTo>
                  <a:cubicBezTo>
                    <a:pt x="542" y="1100"/>
                    <a:pt x="572" y="1123"/>
                    <a:pt x="496" y="1077"/>
                  </a:cubicBezTo>
                  <a:cubicBezTo>
                    <a:pt x="481" y="1069"/>
                    <a:pt x="481" y="955"/>
                    <a:pt x="473" y="932"/>
                  </a:cubicBezTo>
                  <a:cubicBezTo>
                    <a:pt x="450" y="825"/>
                    <a:pt x="458" y="886"/>
                    <a:pt x="366" y="840"/>
                  </a:cubicBezTo>
                  <a:cubicBezTo>
                    <a:pt x="321" y="817"/>
                    <a:pt x="259" y="680"/>
                    <a:pt x="244" y="680"/>
                  </a:cubicBezTo>
                  <a:cubicBezTo>
                    <a:pt x="198" y="672"/>
                    <a:pt x="191" y="695"/>
                    <a:pt x="175" y="634"/>
                  </a:cubicBezTo>
                  <a:cubicBezTo>
                    <a:pt x="175" y="634"/>
                    <a:pt x="175" y="634"/>
                    <a:pt x="175" y="642"/>
                  </a:cubicBezTo>
                  <a:cubicBezTo>
                    <a:pt x="160" y="588"/>
                    <a:pt x="7" y="489"/>
                    <a:pt x="30" y="443"/>
                  </a:cubicBezTo>
                  <a:cubicBezTo>
                    <a:pt x="46" y="412"/>
                    <a:pt x="15" y="428"/>
                    <a:pt x="0" y="405"/>
                  </a:cubicBezTo>
                  <a:cubicBezTo>
                    <a:pt x="15" y="397"/>
                    <a:pt x="69" y="397"/>
                    <a:pt x="99" y="389"/>
                  </a:cubicBezTo>
                  <a:cubicBezTo>
                    <a:pt x="122" y="374"/>
                    <a:pt x="137" y="336"/>
                    <a:pt x="168" y="336"/>
                  </a:cubicBezTo>
                  <a:cubicBezTo>
                    <a:pt x="221" y="336"/>
                    <a:pt x="244" y="244"/>
                    <a:pt x="259" y="198"/>
                  </a:cubicBezTo>
                  <a:cubicBezTo>
                    <a:pt x="282" y="153"/>
                    <a:pt x="343" y="221"/>
                    <a:pt x="374" y="221"/>
                  </a:cubicBezTo>
                  <a:cubicBezTo>
                    <a:pt x="405" y="221"/>
                    <a:pt x="542" y="214"/>
                    <a:pt x="550" y="191"/>
                  </a:cubicBezTo>
                  <a:cubicBezTo>
                    <a:pt x="557" y="160"/>
                    <a:pt x="565" y="122"/>
                    <a:pt x="588" y="92"/>
                  </a:cubicBezTo>
                  <a:cubicBezTo>
                    <a:pt x="611" y="76"/>
                    <a:pt x="664" y="53"/>
                    <a:pt x="695" y="30"/>
                  </a:cubicBezTo>
                  <a:cubicBezTo>
                    <a:pt x="733" y="7"/>
                    <a:pt x="741" y="7"/>
                    <a:pt x="74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2" name="Freeform 184"/>
            <p:cNvSpPr>
              <a:spLocks noChangeArrowheads="1"/>
            </p:cNvSpPr>
            <p:nvPr/>
          </p:nvSpPr>
          <p:spPr bwMode="auto">
            <a:xfrm>
              <a:off x="3474812" y="5726114"/>
              <a:ext cx="592098" cy="344487"/>
            </a:xfrm>
            <a:custGeom>
              <a:avLst/>
              <a:gdLst>
                <a:gd name="T0" fmla="*/ 832 w 1643"/>
                <a:gd name="T1" fmla="*/ 0 h 955"/>
                <a:gd name="T2" fmla="*/ 763 w 1643"/>
                <a:gd name="T3" fmla="*/ 159 h 955"/>
                <a:gd name="T4" fmla="*/ 596 w 1643"/>
                <a:gd name="T5" fmla="*/ 495 h 955"/>
                <a:gd name="T6" fmla="*/ 565 w 1643"/>
                <a:gd name="T7" fmla="*/ 579 h 955"/>
                <a:gd name="T8" fmla="*/ 557 w 1643"/>
                <a:gd name="T9" fmla="*/ 587 h 955"/>
                <a:gd name="T10" fmla="*/ 374 w 1643"/>
                <a:gd name="T11" fmla="*/ 625 h 955"/>
                <a:gd name="T12" fmla="*/ 114 w 1643"/>
                <a:gd name="T13" fmla="*/ 664 h 955"/>
                <a:gd name="T14" fmla="*/ 38 w 1643"/>
                <a:gd name="T15" fmla="*/ 740 h 955"/>
                <a:gd name="T16" fmla="*/ 122 w 1643"/>
                <a:gd name="T17" fmla="*/ 885 h 955"/>
                <a:gd name="T18" fmla="*/ 359 w 1643"/>
                <a:gd name="T19" fmla="*/ 885 h 955"/>
                <a:gd name="T20" fmla="*/ 359 w 1643"/>
                <a:gd name="T21" fmla="*/ 931 h 955"/>
                <a:gd name="T22" fmla="*/ 557 w 1643"/>
                <a:gd name="T23" fmla="*/ 877 h 955"/>
                <a:gd name="T24" fmla="*/ 634 w 1643"/>
                <a:gd name="T25" fmla="*/ 847 h 955"/>
                <a:gd name="T26" fmla="*/ 786 w 1643"/>
                <a:gd name="T27" fmla="*/ 847 h 955"/>
                <a:gd name="T28" fmla="*/ 855 w 1643"/>
                <a:gd name="T29" fmla="*/ 717 h 955"/>
                <a:gd name="T30" fmla="*/ 977 w 1643"/>
                <a:gd name="T31" fmla="*/ 656 h 955"/>
                <a:gd name="T32" fmla="*/ 1038 w 1643"/>
                <a:gd name="T33" fmla="*/ 587 h 955"/>
                <a:gd name="T34" fmla="*/ 1130 w 1643"/>
                <a:gd name="T35" fmla="*/ 556 h 955"/>
                <a:gd name="T36" fmla="*/ 1351 w 1643"/>
                <a:gd name="T37" fmla="*/ 518 h 955"/>
                <a:gd name="T38" fmla="*/ 1581 w 1643"/>
                <a:gd name="T39" fmla="*/ 495 h 955"/>
                <a:gd name="T40" fmla="*/ 1619 w 1643"/>
                <a:gd name="T41" fmla="*/ 495 h 955"/>
                <a:gd name="T42" fmla="*/ 1604 w 1643"/>
                <a:gd name="T43" fmla="*/ 419 h 955"/>
                <a:gd name="T44" fmla="*/ 1626 w 1643"/>
                <a:gd name="T45" fmla="*/ 366 h 955"/>
                <a:gd name="T46" fmla="*/ 1512 w 1643"/>
                <a:gd name="T47" fmla="*/ 335 h 955"/>
                <a:gd name="T48" fmla="*/ 1474 w 1643"/>
                <a:gd name="T49" fmla="*/ 358 h 955"/>
                <a:gd name="T50" fmla="*/ 1405 w 1643"/>
                <a:gd name="T51" fmla="*/ 381 h 955"/>
                <a:gd name="T52" fmla="*/ 1329 w 1643"/>
                <a:gd name="T53" fmla="*/ 389 h 955"/>
                <a:gd name="T54" fmla="*/ 1222 w 1643"/>
                <a:gd name="T55" fmla="*/ 266 h 955"/>
                <a:gd name="T56" fmla="*/ 1161 w 1643"/>
                <a:gd name="T57" fmla="*/ 266 h 955"/>
                <a:gd name="T58" fmla="*/ 1168 w 1643"/>
                <a:gd name="T59" fmla="*/ 175 h 955"/>
                <a:gd name="T60" fmla="*/ 1084 w 1643"/>
                <a:gd name="T61" fmla="*/ 91 h 955"/>
                <a:gd name="T62" fmla="*/ 970 w 1643"/>
                <a:gd name="T63" fmla="*/ 106 h 955"/>
                <a:gd name="T64" fmla="*/ 893 w 1643"/>
                <a:gd name="T65" fmla="*/ 3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43" h="955">
                  <a:moveTo>
                    <a:pt x="832" y="0"/>
                  </a:moveTo>
                  <a:lnTo>
                    <a:pt x="832" y="0"/>
                  </a:lnTo>
                  <a:cubicBezTo>
                    <a:pt x="832" y="15"/>
                    <a:pt x="832" y="23"/>
                    <a:pt x="802" y="30"/>
                  </a:cubicBezTo>
                  <a:cubicBezTo>
                    <a:pt x="756" y="46"/>
                    <a:pt x="756" y="114"/>
                    <a:pt x="763" y="159"/>
                  </a:cubicBezTo>
                  <a:cubicBezTo>
                    <a:pt x="779" y="251"/>
                    <a:pt x="725" y="335"/>
                    <a:pt x="664" y="396"/>
                  </a:cubicBezTo>
                  <a:cubicBezTo>
                    <a:pt x="626" y="434"/>
                    <a:pt x="596" y="434"/>
                    <a:pt x="596" y="495"/>
                  </a:cubicBezTo>
                  <a:cubicBezTo>
                    <a:pt x="596" y="511"/>
                    <a:pt x="626" y="595"/>
                    <a:pt x="588" y="595"/>
                  </a:cubicBezTo>
                  <a:lnTo>
                    <a:pt x="565" y="579"/>
                  </a:lnTo>
                  <a:lnTo>
                    <a:pt x="557" y="587"/>
                  </a:lnTo>
                  <a:lnTo>
                    <a:pt x="557" y="587"/>
                  </a:lnTo>
                  <a:cubicBezTo>
                    <a:pt x="511" y="602"/>
                    <a:pt x="481" y="572"/>
                    <a:pt x="443" y="579"/>
                  </a:cubicBezTo>
                  <a:cubicBezTo>
                    <a:pt x="443" y="595"/>
                    <a:pt x="382" y="625"/>
                    <a:pt x="374" y="625"/>
                  </a:cubicBezTo>
                  <a:cubicBezTo>
                    <a:pt x="298" y="648"/>
                    <a:pt x="252" y="725"/>
                    <a:pt x="183" y="618"/>
                  </a:cubicBezTo>
                  <a:cubicBezTo>
                    <a:pt x="152" y="572"/>
                    <a:pt x="137" y="625"/>
                    <a:pt x="114" y="664"/>
                  </a:cubicBezTo>
                  <a:cubicBezTo>
                    <a:pt x="91" y="702"/>
                    <a:pt x="53" y="686"/>
                    <a:pt x="23" y="694"/>
                  </a:cubicBezTo>
                  <a:cubicBezTo>
                    <a:pt x="23" y="709"/>
                    <a:pt x="61" y="717"/>
                    <a:pt x="38" y="740"/>
                  </a:cubicBezTo>
                  <a:cubicBezTo>
                    <a:pt x="0" y="793"/>
                    <a:pt x="53" y="801"/>
                    <a:pt x="91" y="816"/>
                  </a:cubicBezTo>
                  <a:cubicBezTo>
                    <a:pt x="122" y="839"/>
                    <a:pt x="99" y="870"/>
                    <a:pt x="122" y="885"/>
                  </a:cubicBezTo>
                  <a:cubicBezTo>
                    <a:pt x="145" y="900"/>
                    <a:pt x="206" y="831"/>
                    <a:pt x="244" y="893"/>
                  </a:cubicBezTo>
                  <a:cubicBezTo>
                    <a:pt x="282" y="954"/>
                    <a:pt x="313" y="893"/>
                    <a:pt x="359" y="885"/>
                  </a:cubicBezTo>
                  <a:cubicBezTo>
                    <a:pt x="359" y="908"/>
                    <a:pt x="359" y="923"/>
                    <a:pt x="359" y="931"/>
                  </a:cubicBezTo>
                  <a:lnTo>
                    <a:pt x="359" y="931"/>
                  </a:lnTo>
                  <a:cubicBezTo>
                    <a:pt x="382" y="916"/>
                    <a:pt x="427" y="900"/>
                    <a:pt x="443" y="893"/>
                  </a:cubicBezTo>
                  <a:cubicBezTo>
                    <a:pt x="481" y="885"/>
                    <a:pt x="519" y="893"/>
                    <a:pt x="557" y="877"/>
                  </a:cubicBezTo>
                  <a:cubicBezTo>
                    <a:pt x="573" y="870"/>
                    <a:pt x="588" y="847"/>
                    <a:pt x="603" y="847"/>
                  </a:cubicBezTo>
                  <a:cubicBezTo>
                    <a:pt x="611" y="839"/>
                    <a:pt x="626" y="854"/>
                    <a:pt x="634" y="847"/>
                  </a:cubicBezTo>
                  <a:cubicBezTo>
                    <a:pt x="664" y="847"/>
                    <a:pt x="679" y="824"/>
                    <a:pt x="710" y="824"/>
                  </a:cubicBezTo>
                  <a:cubicBezTo>
                    <a:pt x="733" y="824"/>
                    <a:pt x="763" y="854"/>
                    <a:pt x="786" y="847"/>
                  </a:cubicBezTo>
                  <a:cubicBezTo>
                    <a:pt x="809" y="831"/>
                    <a:pt x="817" y="793"/>
                    <a:pt x="832" y="770"/>
                  </a:cubicBezTo>
                  <a:cubicBezTo>
                    <a:pt x="840" y="755"/>
                    <a:pt x="840" y="732"/>
                    <a:pt x="855" y="717"/>
                  </a:cubicBezTo>
                  <a:cubicBezTo>
                    <a:pt x="878" y="702"/>
                    <a:pt x="901" y="702"/>
                    <a:pt x="924" y="686"/>
                  </a:cubicBezTo>
                  <a:cubicBezTo>
                    <a:pt x="947" y="679"/>
                    <a:pt x="970" y="671"/>
                    <a:pt x="977" y="656"/>
                  </a:cubicBezTo>
                  <a:cubicBezTo>
                    <a:pt x="993" y="641"/>
                    <a:pt x="970" y="610"/>
                    <a:pt x="985" y="595"/>
                  </a:cubicBezTo>
                  <a:cubicBezTo>
                    <a:pt x="1000" y="587"/>
                    <a:pt x="1023" y="587"/>
                    <a:pt x="1038" y="587"/>
                  </a:cubicBezTo>
                  <a:cubicBezTo>
                    <a:pt x="1046" y="587"/>
                    <a:pt x="1054" y="602"/>
                    <a:pt x="1061" y="602"/>
                  </a:cubicBezTo>
                  <a:cubicBezTo>
                    <a:pt x="1084" y="595"/>
                    <a:pt x="1099" y="556"/>
                    <a:pt x="1130" y="556"/>
                  </a:cubicBezTo>
                  <a:cubicBezTo>
                    <a:pt x="1184" y="541"/>
                    <a:pt x="1237" y="572"/>
                    <a:pt x="1290" y="564"/>
                  </a:cubicBezTo>
                  <a:cubicBezTo>
                    <a:pt x="1313" y="556"/>
                    <a:pt x="1329" y="526"/>
                    <a:pt x="1351" y="518"/>
                  </a:cubicBezTo>
                  <a:cubicBezTo>
                    <a:pt x="1397" y="495"/>
                    <a:pt x="1443" y="480"/>
                    <a:pt x="1489" y="480"/>
                  </a:cubicBezTo>
                  <a:cubicBezTo>
                    <a:pt x="1520" y="472"/>
                    <a:pt x="1550" y="488"/>
                    <a:pt x="1581" y="495"/>
                  </a:cubicBezTo>
                  <a:lnTo>
                    <a:pt x="1581" y="495"/>
                  </a:lnTo>
                  <a:cubicBezTo>
                    <a:pt x="1596" y="495"/>
                    <a:pt x="1611" y="495"/>
                    <a:pt x="1619" y="495"/>
                  </a:cubicBezTo>
                  <a:cubicBezTo>
                    <a:pt x="1634" y="488"/>
                    <a:pt x="1642" y="472"/>
                    <a:pt x="1642" y="465"/>
                  </a:cubicBezTo>
                  <a:cubicBezTo>
                    <a:pt x="1634" y="442"/>
                    <a:pt x="1604" y="434"/>
                    <a:pt x="1604" y="419"/>
                  </a:cubicBezTo>
                  <a:cubicBezTo>
                    <a:pt x="1604" y="396"/>
                    <a:pt x="1619" y="381"/>
                    <a:pt x="1626" y="366"/>
                  </a:cubicBezTo>
                  <a:lnTo>
                    <a:pt x="1626" y="366"/>
                  </a:lnTo>
                  <a:cubicBezTo>
                    <a:pt x="1611" y="350"/>
                    <a:pt x="1596" y="335"/>
                    <a:pt x="1581" y="327"/>
                  </a:cubicBezTo>
                  <a:cubicBezTo>
                    <a:pt x="1558" y="327"/>
                    <a:pt x="1535" y="327"/>
                    <a:pt x="1512" y="335"/>
                  </a:cubicBezTo>
                  <a:cubicBezTo>
                    <a:pt x="1497" y="343"/>
                    <a:pt x="1489" y="350"/>
                    <a:pt x="1474" y="358"/>
                  </a:cubicBezTo>
                  <a:lnTo>
                    <a:pt x="1474" y="358"/>
                  </a:lnTo>
                  <a:cubicBezTo>
                    <a:pt x="1459" y="366"/>
                    <a:pt x="1443" y="358"/>
                    <a:pt x="1428" y="366"/>
                  </a:cubicBezTo>
                  <a:cubicBezTo>
                    <a:pt x="1420" y="366"/>
                    <a:pt x="1413" y="381"/>
                    <a:pt x="1405" y="381"/>
                  </a:cubicBezTo>
                  <a:cubicBezTo>
                    <a:pt x="1390" y="381"/>
                    <a:pt x="1367" y="373"/>
                    <a:pt x="1351" y="373"/>
                  </a:cubicBezTo>
                  <a:cubicBezTo>
                    <a:pt x="1344" y="373"/>
                    <a:pt x="1336" y="389"/>
                    <a:pt x="1329" y="389"/>
                  </a:cubicBezTo>
                  <a:cubicBezTo>
                    <a:pt x="1321" y="381"/>
                    <a:pt x="1321" y="358"/>
                    <a:pt x="1313" y="350"/>
                  </a:cubicBezTo>
                  <a:cubicBezTo>
                    <a:pt x="1283" y="320"/>
                    <a:pt x="1260" y="281"/>
                    <a:pt x="1222" y="266"/>
                  </a:cubicBezTo>
                  <a:cubicBezTo>
                    <a:pt x="1207" y="259"/>
                    <a:pt x="1199" y="281"/>
                    <a:pt x="1184" y="289"/>
                  </a:cubicBezTo>
                  <a:cubicBezTo>
                    <a:pt x="1168" y="289"/>
                    <a:pt x="1161" y="274"/>
                    <a:pt x="1161" y="266"/>
                  </a:cubicBezTo>
                  <a:cubicBezTo>
                    <a:pt x="1161" y="259"/>
                    <a:pt x="1191" y="266"/>
                    <a:pt x="1191" y="251"/>
                  </a:cubicBezTo>
                  <a:cubicBezTo>
                    <a:pt x="1191" y="228"/>
                    <a:pt x="1191" y="190"/>
                    <a:pt x="1168" y="175"/>
                  </a:cubicBezTo>
                  <a:cubicBezTo>
                    <a:pt x="1138" y="159"/>
                    <a:pt x="1084" y="205"/>
                    <a:pt x="1061" y="182"/>
                  </a:cubicBezTo>
                  <a:cubicBezTo>
                    <a:pt x="1046" y="159"/>
                    <a:pt x="1099" y="121"/>
                    <a:pt x="1084" y="91"/>
                  </a:cubicBezTo>
                  <a:cubicBezTo>
                    <a:pt x="1069" y="76"/>
                    <a:pt x="1038" y="84"/>
                    <a:pt x="1008" y="84"/>
                  </a:cubicBezTo>
                  <a:cubicBezTo>
                    <a:pt x="993" y="84"/>
                    <a:pt x="985" y="106"/>
                    <a:pt x="970" y="106"/>
                  </a:cubicBezTo>
                  <a:cubicBezTo>
                    <a:pt x="954" y="106"/>
                    <a:pt x="939" y="114"/>
                    <a:pt x="924" y="98"/>
                  </a:cubicBezTo>
                  <a:cubicBezTo>
                    <a:pt x="909" y="84"/>
                    <a:pt x="909" y="53"/>
                    <a:pt x="893" y="38"/>
                  </a:cubicBezTo>
                  <a:cubicBezTo>
                    <a:pt x="878" y="23"/>
                    <a:pt x="848" y="15"/>
                    <a:pt x="83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3" name="Freeform 185"/>
            <p:cNvSpPr>
              <a:spLocks noChangeArrowheads="1"/>
            </p:cNvSpPr>
            <p:nvPr/>
          </p:nvSpPr>
          <p:spPr bwMode="auto">
            <a:xfrm>
              <a:off x="3925632" y="5489575"/>
              <a:ext cx="220648" cy="368300"/>
            </a:xfrm>
            <a:custGeom>
              <a:avLst/>
              <a:gdLst>
                <a:gd name="T0" fmla="*/ 222 w 612"/>
                <a:gd name="T1" fmla="*/ 1015 h 1024"/>
                <a:gd name="T2" fmla="*/ 222 w 612"/>
                <a:gd name="T3" fmla="*/ 1015 h 1024"/>
                <a:gd name="T4" fmla="*/ 260 w 612"/>
                <a:gd name="T5" fmla="*/ 992 h 1024"/>
                <a:gd name="T6" fmla="*/ 329 w 612"/>
                <a:gd name="T7" fmla="*/ 984 h 1024"/>
                <a:gd name="T8" fmla="*/ 374 w 612"/>
                <a:gd name="T9" fmla="*/ 1023 h 1024"/>
                <a:gd name="T10" fmla="*/ 374 w 612"/>
                <a:gd name="T11" fmla="*/ 1023 h 1024"/>
                <a:gd name="T12" fmla="*/ 413 w 612"/>
                <a:gd name="T13" fmla="*/ 977 h 1024"/>
                <a:gd name="T14" fmla="*/ 413 w 612"/>
                <a:gd name="T15" fmla="*/ 923 h 1024"/>
                <a:gd name="T16" fmla="*/ 443 w 612"/>
                <a:gd name="T17" fmla="*/ 916 h 1024"/>
                <a:gd name="T18" fmla="*/ 543 w 612"/>
                <a:gd name="T19" fmla="*/ 954 h 1024"/>
                <a:gd name="T20" fmla="*/ 573 w 612"/>
                <a:gd name="T21" fmla="*/ 877 h 1024"/>
                <a:gd name="T22" fmla="*/ 604 w 612"/>
                <a:gd name="T23" fmla="*/ 870 h 1024"/>
                <a:gd name="T24" fmla="*/ 604 w 612"/>
                <a:gd name="T25" fmla="*/ 801 h 1024"/>
                <a:gd name="T26" fmla="*/ 581 w 612"/>
                <a:gd name="T27" fmla="*/ 755 h 1024"/>
                <a:gd name="T28" fmla="*/ 581 w 612"/>
                <a:gd name="T29" fmla="*/ 755 h 1024"/>
                <a:gd name="T30" fmla="*/ 573 w 612"/>
                <a:gd name="T31" fmla="*/ 733 h 1024"/>
                <a:gd name="T32" fmla="*/ 566 w 612"/>
                <a:gd name="T33" fmla="*/ 642 h 1024"/>
                <a:gd name="T34" fmla="*/ 535 w 612"/>
                <a:gd name="T35" fmla="*/ 611 h 1024"/>
                <a:gd name="T36" fmla="*/ 558 w 612"/>
                <a:gd name="T37" fmla="*/ 535 h 1024"/>
                <a:gd name="T38" fmla="*/ 520 w 612"/>
                <a:gd name="T39" fmla="*/ 520 h 1024"/>
                <a:gd name="T40" fmla="*/ 527 w 612"/>
                <a:gd name="T41" fmla="*/ 336 h 1024"/>
                <a:gd name="T42" fmla="*/ 512 w 612"/>
                <a:gd name="T43" fmla="*/ 237 h 1024"/>
                <a:gd name="T44" fmla="*/ 436 w 612"/>
                <a:gd name="T45" fmla="*/ 183 h 1024"/>
                <a:gd name="T46" fmla="*/ 474 w 612"/>
                <a:gd name="T47" fmla="*/ 61 h 1024"/>
                <a:gd name="T48" fmla="*/ 474 w 612"/>
                <a:gd name="T49" fmla="*/ 61 h 1024"/>
                <a:gd name="T50" fmla="*/ 321 w 612"/>
                <a:gd name="T51" fmla="*/ 31 h 1024"/>
                <a:gd name="T52" fmla="*/ 260 w 612"/>
                <a:gd name="T53" fmla="*/ 107 h 1024"/>
                <a:gd name="T54" fmla="*/ 176 w 612"/>
                <a:gd name="T55" fmla="*/ 283 h 1024"/>
                <a:gd name="T56" fmla="*/ 130 w 612"/>
                <a:gd name="T57" fmla="*/ 390 h 1024"/>
                <a:gd name="T58" fmla="*/ 0 w 612"/>
                <a:gd name="T59" fmla="*/ 397 h 1024"/>
                <a:gd name="T60" fmla="*/ 0 w 612"/>
                <a:gd name="T61" fmla="*/ 397 h 1024"/>
                <a:gd name="T62" fmla="*/ 38 w 612"/>
                <a:gd name="T63" fmla="*/ 558 h 1024"/>
                <a:gd name="T64" fmla="*/ 107 w 612"/>
                <a:gd name="T65" fmla="*/ 565 h 1024"/>
                <a:gd name="T66" fmla="*/ 92 w 612"/>
                <a:gd name="T67" fmla="*/ 718 h 1024"/>
                <a:gd name="T68" fmla="*/ 168 w 612"/>
                <a:gd name="T69" fmla="*/ 763 h 1024"/>
                <a:gd name="T70" fmla="*/ 168 w 612"/>
                <a:gd name="T71" fmla="*/ 832 h 1024"/>
                <a:gd name="T72" fmla="*/ 191 w 612"/>
                <a:gd name="T73" fmla="*/ 832 h 1024"/>
                <a:gd name="T74" fmla="*/ 176 w 612"/>
                <a:gd name="T75" fmla="*/ 931 h 1024"/>
                <a:gd name="T76" fmla="*/ 214 w 612"/>
                <a:gd name="T77" fmla="*/ 984 h 1024"/>
                <a:gd name="T78" fmla="*/ 222 w 612"/>
                <a:gd name="T79" fmla="*/ 1015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2" h="1024">
                  <a:moveTo>
                    <a:pt x="222" y="1015"/>
                  </a:moveTo>
                  <a:lnTo>
                    <a:pt x="222" y="1015"/>
                  </a:lnTo>
                  <a:cubicBezTo>
                    <a:pt x="237" y="1007"/>
                    <a:pt x="245" y="1000"/>
                    <a:pt x="260" y="992"/>
                  </a:cubicBezTo>
                  <a:cubicBezTo>
                    <a:pt x="283" y="984"/>
                    <a:pt x="306" y="984"/>
                    <a:pt x="329" y="984"/>
                  </a:cubicBezTo>
                  <a:cubicBezTo>
                    <a:pt x="344" y="992"/>
                    <a:pt x="359" y="1007"/>
                    <a:pt x="374" y="1023"/>
                  </a:cubicBezTo>
                  <a:lnTo>
                    <a:pt x="374" y="1023"/>
                  </a:lnTo>
                  <a:cubicBezTo>
                    <a:pt x="390" y="1007"/>
                    <a:pt x="405" y="1000"/>
                    <a:pt x="413" y="977"/>
                  </a:cubicBezTo>
                  <a:cubicBezTo>
                    <a:pt x="420" y="961"/>
                    <a:pt x="405" y="938"/>
                    <a:pt x="413" y="923"/>
                  </a:cubicBezTo>
                  <a:cubicBezTo>
                    <a:pt x="420" y="916"/>
                    <a:pt x="428" y="916"/>
                    <a:pt x="443" y="916"/>
                  </a:cubicBezTo>
                  <a:cubicBezTo>
                    <a:pt x="474" y="923"/>
                    <a:pt x="505" y="961"/>
                    <a:pt x="543" y="954"/>
                  </a:cubicBezTo>
                  <a:cubicBezTo>
                    <a:pt x="566" y="946"/>
                    <a:pt x="550" y="900"/>
                    <a:pt x="573" y="877"/>
                  </a:cubicBezTo>
                  <a:cubicBezTo>
                    <a:pt x="573" y="870"/>
                    <a:pt x="596" y="885"/>
                    <a:pt x="604" y="870"/>
                  </a:cubicBezTo>
                  <a:cubicBezTo>
                    <a:pt x="611" y="847"/>
                    <a:pt x="611" y="824"/>
                    <a:pt x="604" y="801"/>
                  </a:cubicBezTo>
                  <a:cubicBezTo>
                    <a:pt x="596" y="786"/>
                    <a:pt x="588" y="771"/>
                    <a:pt x="581" y="755"/>
                  </a:cubicBezTo>
                  <a:lnTo>
                    <a:pt x="581" y="755"/>
                  </a:lnTo>
                  <a:cubicBezTo>
                    <a:pt x="573" y="748"/>
                    <a:pt x="573" y="741"/>
                    <a:pt x="573" y="733"/>
                  </a:cubicBezTo>
                  <a:cubicBezTo>
                    <a:pt x="566" y="703"/>
                    <a:pt x="573" y="672"/>
                    <a:pt x="566" y="642"/>
                  </a:cubicBezTo>
                  <a:cubicBezTo>
                    <a:pt x="558" y="626"/>
                    <a:pt x="535" y="626"/>
                    <a:pt x="535" y="611"/>
                  </a:cubicBezTo>
                  <a:cubicBezTo>
                    <a:pt x="535" y="588"/>
                    <a:pt x="558" y="558"/>
                    <a:pt x="558" y="535"/>
                  </a:cubicBezTo>
                  <a:cubicBezTo>
                    <a:pt x="558" y="520"/>
                    <a:pt x="520" y="535"/>
                    <a:pt x="520" y="520"/>
                  </a:cubicBezTo>
                  <a:cubicBezTo>
                    <a:pt x="512" y="458"/>
                    <a:pt x="527" y="397"/>
                    <a:pt x="527" y="336"/>
                  </a:cubicBezTo>
                  <a:cubicBezTo>
                    <a:pt x="527" y="305"/>
                    <a:pt x="527" y="267"/>
                    <a:pt x="512" y="237"/>
                  </a:cubicBezTo>
                  <a:cubicBezTo>
                    <a:pt x="497" y="214"/>
                    <a:pt x="443" y="214"/>
                    <a:pt x="436" y="183"/>
                  </a:cubicBezTo>
                  <a:cubicBezTo>
                    <a:pt x="428" y="138"/>
                    <a:pt x="466" y="99"/>
                    <a:pt x="474" y="61"/>
                  </a:cubicBezTo>
                  <a:lnTo>
                    <a:pt x="474" y="61"/>
                  </a:lnTo>
                  <a:cubicBezTo>
                    <a:pt x="428" y="61"/>
                    <a:pt x="382" y="76"/>
                    <a:pt x="321" y="31"/>
                  </a:cubicBezTo>
                  <a:cubicBezTo>
                    <a:pt x="283" y="0"/>
                    <a:pt x="275" y="84"/>
                    <a:pt x="260" y="107"/>
                  </a:cubicBezTo>
                  <a:cubicBezTo>
                    <a:pt x="176" y="283"/>
                    <a:pt x="176" y="283"/>
                    <a:pt x="176" y="283"/>
                  </a:cubicBezTo>
                  <a:cubicBezTo>
                    <a:pt x="161" y="313"/>
                    <a:pt x="153" y="374"/>
                    <a:pt x="130" y="390"/>
                  </a:cubicBezTo>
                  <a:cubicBezTo>
                    <a:pt x="84" y="420"/>
                    <a:pt x="38" y="412"/>
                    <a:pt x="0" y="397"/>
                  </a:cubicBezTo>
                  <a:lnTo>
                    <a:pt x="0" y="397"/>
                  </a:lnTo>
                  <a:cubicBezTo>
                    <a:pt x="8" y="435"/>
                    <a:pt x="8" y="527"/>
                    <a:pt x="38" y="558"/>
                  </a:cubicBezTo>
                  <a:cubicBezTo>
                    <a:pt x="54" y="573"/>
                    <a:pt x="92" y="542"/>
                    <a:pt x="107" y="565"/>
                  </a:cubicBezTo>
                  <a:cubicBezTo>
                    <a:pt x="122" y="611"/>
                    <a:pt x="77" y="672"/>
                    <a:pt x="92" y="718"/>
                  </a:cubicBezTo>
                  <a:cubicBezTo>
                    <a:pt x="107" y="748"/>
                    <a:pt x="153" y="741"/>
                    <a:pt x="168" y="763"/>
                  </a:cubicBezTo>
                  <a:cubicBezTo>
                    <a:pt x="176" y="786"/>
                    <a:pt x="161" y="809"/>
                    <a:pt x="168" y="832"/>
                  </a:cubicBezTo>
                  <a:cubicBezTo>
                    <a:pt x="168" y="832"/>
                    <a:pt x="191" y="824"/>
                    <a:pt x="191" y="832"/>
                  </a:cubicBezTo>
                  <a:cubicBezTo>
                    <a:pt x="191" y="870"/>
                    <a:pt x="176" y="900"/>
                    <a:pt x="176" y="931"/>
                  </a:cubicBezTo>
                  <a:cubicBezTo>
                    <a:pt x="184" y="954"/>
                    <a:pt x="199" y="969"/>
                    <a:pt x="214" y="984"/>
                  </a:cubicBezTo>
                  <a:cubicBezTo>
                    <a:pt x="214" y="992"/>
                    <a:pt x="214" y="1007"/>
                    <a:pt x="222" y="10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4" name="Freeform 186"/>
            <p:cNvSpPr>
              <a:spLocks noChangeArrowheads="1"/>
            </p:cNvSpPr>
            <p:nvPr/>
          </p:nvSpPr>
          <p:spPr bwMode="auto">
            <a:xfrm>
              <a:off x="3763718" y="5624514"/>
              <a:ext cx="242871" cy="242887"/>
            </a:xfrm>
            <a:custGeom>
              <a:avLst/>
              <a:gdLst>
                <a:gd name="T0" fmla="*/ 450 w 673"/>
                <a:gd name="T1" fmla="*/ 23 h 673"/>
                <a:gd name="T2" fmla="*/ 450 w 673"/>
                <a:gd name="T3" fmla="*/ 23 h 673"/>
                <a:gd name="T4" fmla="*/ 366 w 673"/>
                <a:gd name="T5" fmla="*/ 0 h 673"/>
                <a:gd name="T6" fmla="*/ 267 w 673"/>
                <a:gd name="T7" fmla="*/ 31 h 673"/>
                <a:gd name="T8" fmla="*/ 267 w 673"/>
                <a:gd name="T9" fmla="*/ 31 h 673"/>
                <a:gd name="T10" fmla="*/ 191 w 673"/>
                <a:gd name="T11" fmla="*/ 16 h 673"/>
                <a:gd name="T12" fmla="*/ 91 w 673"/>
                <a:gd name="T13" fmla="*/ 46 h 673"/>
                <a:gd name="T14" fmla="*/ 38 w 673"/>
                <a:gd name="T15" fmla="*/ 153 h 673"/>
                <a:gd name="T16" fmla="*/ 23 w 673"/>
                <a:gd name="T17" fmla="*/ 252 h 673"/>
                <a:gd name="T18" fmla="*/ 30 w 673"/>
                <a:gd name="T19" fmla="*/ 283 h 673"/>
                <a:gd name="T20" fmla="*/ 30 w 673"/>
                <a:gd name="T21" fmla="*/ 283 h 673"/>
                <a:gd name="T22" fmla="*/ 91 w 673"/>
                <a:gd name="T23" fmla="*/ 321 h 673"/>
                <a:gd name="T24" fmla="*/ 122 w 673"/>
                <a:gd name="T25" fmla="*/ 381 h 673"/>
                <a:gd name="T26" fmla="*/ 168 w 673"/>
                <a:gd name="T27" fmla="*/ 389 h 673"/>
                <a:gd name="T28" fmla="*/ 206 w 673"/>
                <a:gd name="T29" fmla="*/ 367 h 673"/>
                <a:gd name="T30" fmla="*/ 282 w 673"/>
                <a:gd name="T31" fmla="*/ 374 h 673"/>
                <a:gd name="T32" fmla="*/ 259 w 673"/>
                <a:gd name="T33" fmla="*/ 465 h 673"/>
                <a:gd name="T34" fmla="*/ 366 w 673"/>
                <a:gd name="T35" fmla="*/ 458 h 673"/>
                <a:gd name="T36" fmla="*/ 389 w 673"/>
                <a:gd name="T37" fmla="*/ 534 h 673"/>
                <a:gd name="T38" fmla="*/ 359 w 673"/>
                <a:gd name="T39" fmla="*/ 549 h 673"/>
                <a:gd name="T40" fmla="*/ 382 w 673"/>
                <a:gd name="T41" fmla="*/ 572 h 673"/>
                <a:gd name="T42" fmla="*/ 420 w 673"/>
                <a:gd name="T43" fmla="*/ 549 h 673"/>
                <a:gd name="T44" fmla="*/ 511 w 673"/>
                <a:gd name="T45" fmla="*/ 633 h 673"/>
                <a:gd name="T46" fmla="*/ 527 w 673"/>
                <a:gd name="T47" fmla="*/ 672 h 673"/>
                <a:gd name="T48" fmla="*/ 549 w 673"/>
                <a:gd name="T49" fmla="*/ 656 h 673"/>
                <a:gd name="T50" fmla="*/ 603 w 673"/>
                <a:gd name="T51" fmla="*/ 664 h 673"/>
                <a:gd name="T52" fmla="*/ 626 w 673"/>
                <a:gd name="T53" fmla="*/ 649 h 673"/>
                <a:gd name="T54" fmla="*/ 672 w 673"/>
                <a:gd name="T55" fmla="*/ 641 h 673"/>
                <a:gd name="T56" fmla="*/ 672 w 673"/>
                <a:gd name="T57" fmla="*/ 641 h 673"/>
                <a:gd name="T58" fmla="*/ 664 w 673"/>
                <a:gd name="T59" fmla="*/ 610 h 673"/>
                <a:gd name="T60" fmla="*/ 626 w 673"/>
                <a:gd name="T61" fmla="*/ 557 h 673"/>
                <a:gd name="T62" fmla="*/ 641 w 673"/>
                <a:gd name="T63" fmla="*/ 458 h 673"/>
                <a:gd name="T64" fmla="*/ 618 w 673"/>
                <a:gd name="T65" fmla="*/ 458 h 673"/>
                <a:gd name="T66" fmla="*/ 618 w 673"/>
                <a:gd name="T67" fmla="*/ 389 h 673"/>
                <a:gd name="T68" fmla="*/ 542 w 673"/>
                <a:gd name="T69" fmla="*/ 344 h 673"/>
                <a:gd name="T70" fmla="*/ 557 w 673"/>
                <a:gd name="T71" fmla="*/ 191 h 673"/>
                <a:gd name="T72" fmla="*/ 488 w 673"/>
                <a:gd name="T73" fmla="*/ 184 h 673"/>
                <a:gd name="T74" fmla="*/ 450 w 673"/>
                <a:gd name="T75" fmla="*/ 2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3" h="673">
                  <a:moveTo>
                    <a:pt x="450" y="23"/>
                  </a:moveTo>
                  <a:lnTo>
                    <a:pt x="450" y="23"/>
                  </a:lnTo>
                  <a:cubicBezTo>
                    <a:pt x="420" y="16"/>
                    <a:pt x="389" y="0"/>
                    <a:pt x="366" y="0"/>
                  </a:cubicBezTo>
                  <a:cubicBezTo>
                    <a:pt x="313" y="0"/>
                    <a:pt x="305" y="16"/>
                    <a:pt x="267" y="31"/>
                  </a:cubicBezTo>
                  <a:lnTo>
                    <a:pt x="267" y="31"/>
                  </a:lnTo>
                  <a:cubicBezTo>
                    <a:pt x="191" y="16"/>
                    <a:pt x="191" y="16"/>
                    <a:pt x="191" y="16"/>
                  </a:cubicBezTo>
                  <a:cubicBezTo>
                    <a:pt x="152" y="46"/>
                    <a:pt x="137" y="16"/>
                    <a:pt x="91" y="46"/>
                  </a:cubicBezTo>
                  <a:cubicBezTo>
                    <a:pt x="84" y="61"/>
                    <a:pt x="0" y="146"/>
                    <a:pt x="38" y="153"/>
                  </a:cubicBezTo>
                  <a:cubicBezTo>
                    <a:pt x="38" y="184"/>
                    <a:pt x="23" y="214"/>
                    <a:pt x="23" y="252"/>
                  </a:cubicBezTo>
                  <a:cubicBezTo>
                    <a:pt x="23" y="268"/>
                    <a:pt x="23" y="275"/>
                    <a:pt x="30" y="283"/>
                  </a:cubicBezTo>
                  <a:lnTo>
                    <a:pt x="30" y="283"/>
                  </a:lnTo>
                  <a:cubicBezTo>
                    <a:pt x="46" y="298"/>
                    <a:pt x="76" y="306"/>
                    <a:pt x="91" y="321"/>
                  </a:cubicBezTo>
                  <a:cubicBezTo>
                    <a:pt x="107" y="336"/>
                    <a:pt x="107" y="367"/>
                    <a:pt x="122" y="381"/>
                  </a:cubicBezTo>
                  <a:cubicBezTo>
                    <a:pt x="137" y="397"/>
                    <a:pt x="152" y="389"/>
                    <a:pt x="168" y="389"/>
                  </a:cubicBezTo>
                  <a:cubicBezTo>
                    <a:pt x="183" y="389"/>
                    <a:pt x="191" y="367"/>
                    <a:pt x="206" y="367"/>
                  </a:cubicBezTo>
                  <a:cubicBezTo>
                    <a:pt x="236" y="367"/>
                    <a:pt x="267" y="359"/>
                    <a:pt x="282" y="374"/>
                  </a:cubicBezTo>
                  <a:cubicBezTo>
                    <a:pt x="297" y="404"/>
                    <a:pt x="244" y="442"/>
                    <a:pt x="259" y="465"/>
                  </a:cubicBezTo>
                  <a:cubicBezTo>
                    <a:pt x="282" y="488"/>
                    <a:pt x="336" y="442"/>
                    <a:pt x="366" y="458"/>
                  </a:cubicBezTo>
                  <a:cubicBezTo>
                    <a:pt x="389" y="473"/>
                    <a:pt x="389" y="511"/>
                    <a:pt x="389" y="534"/>
                  </a:cubicBezTo>
                  <a:cubicBezTo>
                    <a:pt x="389" y="549"/>
                    <a:pt x="359" y="542"/>
                    <a:pt x="359" y="549"/>
                  </a:cubicBezTo>
                  <a:cubicBezTo>
                    <a:pt x="359" y="557"/>
                    <a:pt x="366" y="572"/>
                    <a:pt x="382" y="572"/>
                  </a:cubicBezTo>
                  <a:cubicBezTo>
                    <a:pt x="397" y="564"/>
                    <a:pt x="405" y="542"/>
                    <a:pt x="420" y="549"/>
                  </a:cubicBezTo>
                  <a:cubicBezTo>
                    <a:pt x="458" y="564"/>
                    <a:pt x="481" y="603"/>
                    <a:pt x="511" y="633"/>
                  </a:cubicBezTo>
                  <a:cubicBezTo>
                    <a:pt x="519" y="641"/>
                    <a:pt x="519" y="664"/>
                    <a:pt x="527" y="672"/>
                  </a:cubicBezTo>
                  <a:cubicBezTo>
                    <a:pt x="534" y="672"/>
                    <a:pt x="542" y="656"/>
                    <a:pt x="549" y="656"/>
                  </a:cubicBezTo>
                  <a:cubicBezTo>
                    <a:pt x="565" y="656"/>
                    <a:pt x="588" y="664"/>
                    <a:pt x="603" y="664"/>
                  </a:cubicBezTo>
                  <a:cubicBezTo>
                    <a:pt x="611" y="664"/>
                    <a:pt x="618" y="649"/>
                    <a:pt x="626" y="649"/>
                  </a:cubicBezTo>
                  <a:cubicBezTo>
                    <a:pt x="641" y="641"/>
                    <a:pt x="657" y="649"/>
                    <a:pt x="672" y="641"/>
                  </a:cubicBezTo>
                  <a:lnTo>
                    <a:pt x="672" y="641"/>
                  </a:lnTo>
                  <a:cubicBezTo>
                    <a:pt x="664" y="633"/>
                    <a:pt x="664" y="618"/>
                    <a:pt x="664" y="610"/>
                  </a:cubicBezTo>
                  <a:cubicBezTo>
                    <a:pt x="649" y="595"/>
                    <a:pt x="634" y="580"/>
                    <a:pt x="626" y="557"/>
                  </a:cubicBezTo>
                  <a:cubicBezTo>
                    <a:pt x="626" y="526"/>
                    <a:pt x="641" y="496"/>
                    <a:pt x="641" y="458"/>
                  </a:cubicBezTo>
                  <a:cubicBezTo>
                    <a:pt x="641" y="450"/>
                    <a:pt x="618" y="458"/>
                    <a:pt x="618" y="458"/>
                  </a:cubicBezTo>
                  <a:cubicBezTo>
                    <a:pt x="611" y="435"/>
                    <a:pt x="626" y="412"/>
                    <a:pt x="618" y="389"/>
                  </a:cubicBezTo>
                  <a:cubicBezTo>
                    <a:pt x="603" y="367"/>
                    <a:pt x="557" y="374"/>
                    <a:pt x="542" y="344"/>
                  </a:cubicBezTo>
                  <a:cubicBezTo>
                    <a:pt x="527" y="298"/>
                    <a:pt x="572" y="237"/>
                    <a:pt x="557" y="191"/>
                  </a:cubicBezTo>
                  <a:cubicBezTo>
                    <a:pt x="542" y="168"/>
                    <a:pt x="504" y="199"/>
                    <a:pt x="488" y="184"/>
                  </a:cubicBezTo>
                  <a:cubicBezTo>
                    <a:pt x="458" y="153"/>
                    <a:pt x="458" y="61"/>
                    <a:pt x="450" y="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5" name="Freeform 187"/>
            <p:cNvSpPr>
              <a:spLocks noChangeArrowheads="1"/>
            </p:cNvSpPr>
            <p:nvPr/>
          </p:nvSpPr>
          <p:spPr bwMode="auto">
            <a:xfrm>
              <a:off x="4079610" y="5462589"/>
              <a:ext cx="201600" cy="300037"/>
            </a:xfrm>
            <a:custGeom>
              <a:avLst/>
              <a:gdLst>
                <a:gd name="T0" fmla="*/ 46 w 559"/>
                <a:gd name="T1" fmla="*/ 137 h 832"/>
                <a:gd name="T2" fmla="*/ 46 w 559"/>
                <a:gd name="T3" fmla="*/ 137 h 832"/>
                <a:gd name="T4" fmla="*/ 8 w 559"/>
                <a:gd name="T5" fmla="*/ 259 h 832"/>
                <a:gd name="T6" fmla="*/ 84 w 559"/>
                <a:gd name="T7" fmla="*/ 313 h 832"/>
                <a:gd name="T8" fmla="*/ 99 w 559"/>
                <a:gd name="T9" fmla="*/ 412 h 832"/>
                <a:gd name="T10" fmla="*/ 92 w 559"/>
                <a:gd name="T11" fmla="*/ 596 h 832"/>
                <a:gd name="T12" fmla="*/ 130 w 559"/>
                <a:gd name="T13" fmla="*/ 611 h 832"/>
                <a:gd name="T14" fmla="*/ 107 w 559"/>
                <a:gd name="T15" fmla="*/ 687 h 832"/>
                <a:gd name="T16" fmla="*/ 138 w 559"/>
                <a:gd name="T17" fmla="*/ 718 h 832"/>
                <a:gd name="T18" fmla="*/ 145 w 559"/>
                <a:gd name="T19" fmla="*/ 809 h 832"/>
                <a:gd name="T20" fmla="*/ 153 w 559"/>
                <a:gd name="T21" fmla="*/ 831 h 832"/>
                <a:gd name="T22" fmla="*/ 153 w 559"/>
                <a:gd name="T23" fmla="*/ 831 h 832"/>
                <a:gd name="T24" fmla="*/ 260 w 559"/>
                <a:gd name="T25" fmla="*/ 794 h 832"/>
                <a:gd name="T26" fmla="*/ 298 w 559"/>
                <a:gd name="T27" fmla="*/ 831 h 832"/>
                <a:gd name="T28" fmla="*/ 344 w 559"/>
                <a:gd name="T29" fmla="*/ 817 h 832"/>
                <a:gd name="T30" fmla="*/ 367 w 559"/>
                <a:gd name="T31" fmla="*/ 779 h 832"/>
                <a:gd name="T32" fmla="*/ 397 w 559"/>
                <a:gd name="T33" fmla="*/ 771 h 832"/>
                <a:gd name="T34" fmla="*/ 435 w 559"/>
                <a:gd name="T35" fmla="*/ 786 h 832"/>
                <a:gd name="T36" fmla="*/ 496 w 559"/>
                <a:gd name="T37" fmla="*/ 779 h 832"/>
                <a:gd name="T38" fmla="*/ 527 w 559"/>
                <a:gd name="T39" fmla="*/ 740 h 832"/>
                <a:gd name="T40" fmla="*/ 527 w 559"/>
                <a:gd name="T41" fmla="*/ 740 h 832"/>
                <a:gd name="T42" fmla="*/ 504 w 559"/>
                <a:gd name="T43" fmla="*/ 657 h 832"/>
                <a:gd name="T44" fmla="*/ 474 w 559"/>
                <a:gd name="T45" fmla="*/ 641 h 832"/>
                <a:gd name="T46" fmla="*/ 451 w 559"/>
                <a:gd name="T47" fmla="*/ 580 h 832"/>
                <a:gd name="T48" fmla="*/ 451 w 559"/>
                <a:gd name="T49" fmla="*/ 435 h 832"/>
                <a:gd name="T50" fmla="*/ 420 w 559"/>
                <a:gd name="T51" fmla="*/ 374 h 832"/>
                <a:gd name="T52" fmla="*/ 458 w 559"/>
                <a:gd name="T53" fmla="*/ 359 h 832"/>
                <a:gd name="T54" fmla="*/ 481 w 559"/>
                <a:gd name="T55" fmla="*/ 236 h 832"/>
                <a:gd name="T56" fmla="*/ 496 w 559"/>
                <a:gd name="T57" fmla="*/ 214 h 832"/>
                <a:gd name="T58" fmla="*/ 558 w 559"/>
                <a:gd name="T59" fmla="*/ 206 h 832"/>
                <a:gd name="T60" fmla="*/ 558 w 559"/>
                <a:gd name="T61" fmla="*/ 206 h 832"/>
                <a:gd name="T62" fmla="*/ 542 w 559"/>
                <a:gd name="T63" fmla="*/ 99 h 832"/>
                <a:gd name="T64" fmla="*/ 535 w 559"/>
                <a:gd name="T65" fmla="*/ 45 h 832"/>
                <a:gd name="T66" fmla="*/ 535 w 559"/>
                <a:gd name="T67" fmla="*/ 0 h 832"/>
                <a:gd name="T68" fmla="*/ 535 w 559"/>
                <a:gd name="T69" fmla="*/ 0 h 832"/>
                <a:gd name="T70" fmla="*/ 290 w 559"/>
                <a:gd name="T71" fmla="*/ 68 h 832"/>
                <a:gd name="T72" fmla="*/ 122 w 559"/>
                <a:gd name="T73" fmla="*/ 145 h 832"/>
                <a:gd name="T74" fmla="*/ 46 w 559"/>
                <a:gd name="T75" fmla="*/ 137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9" h="832">
                  <a:moveTo>
                    <a:pt x="46" y="137"/>
                  </a:moveTo>
                  <a:lnTo>
                    <a:pt x="46" y="137"/>
                  </a:lnTo>
                  <a:cubicBezTo>
                    <a:pt x="38" y="175"/>
                    <a:pt x="0" y="214"/>
                    <a:pt x="8" y="259"/>
                  </a:cubicBezTo>
                  <a:cubicBezTo>
                    <a:pt x="15" y="290"/>
                    <a:pt x="69" y="290"/>
                    <a:pt x="84" y="313"/>
                  </a:cubicBezTo>
                  <a:cubicBezTo>
                    <a:pt x="99" y="343"/>
                    <a:pt x="99" y="381"/>
                    <a:pt x="99" y="412"/>
                  </a:cubicBezTo>
                  <a:cubicBezTo>
                    <a:pt x="99" y="473"/>
                    <a:pt x="84" y="534"/>
                    <a:pt x="92" y="596"/>
                  </a:cubicBezTo>
                  <a:cubicBezTo>
                    <a:pt x="92" y="611"/>
                    <a:pt x="130" y="596"/>
                    <a:pt x="130" y="611"/>
                  </a:cubicBezTo>
                  <a:cubicBezTo>
                    <a:pt x="130" y="634"/>
                    <a:pt x="107" y="664"/>
                    <a:pt x="107" y="687"/>
                  </a:cubicBezTo>
                  <a:cubicBezTo>
                    <a:pt x="107" y="702"/>
                    <a:pt x="130" y="702"/>
                    <a:pt x="138" y="718"/>
                  </a:cubicBezTo>
                  <a:cubicBezTo>
                    <a:pt x="145" y="748"/>
                    <a:pt x="138" y="779"/>
                    <a:pt x="145" y="809"/>
                  </a:cubicBezTo>
                  <a:cubicBezTo>
                    <a:pt x="145" y="817"/>
                    <a:pt x="145" y="824"/>
                    <a:pt x="153" y="831"/>
                  </a:cubicBezTo>
                  <a:lnTo>
                    <a:pt x="153" y="831"/>
                  </a:lnTo>
                  <a:cubicBezTo>
                    <a:pt x="183" y="817"/>
                    <a:pt x="221" y="794"/>
                    <a:pt x="260" y="794"/>
                  </a:cubicBezTo>
                  <a:cubicBezTo>
                    <a:pt x="275" y="794"/>
                    <a:pt x="283" y="824"/>
                    <a:pt x="298" y="831"/>
                  </a:cubicBezTo>
                  <a:cubicBezTo>
                    <a:pt x="313" y="831"/>
                    <a:pt x="328" y="824"/>
                    <a:pt x="344" y="817"/>
                  </a:cubicBezTo>
                  <a:cubicBezTo>
                    <a:pt x="351" y="809"/>
                    <a:pt x="351" y="786"/>
                    <a:pt x="367" y="779"/>
                  </a:cubicBezTo>
                  <a:cubicBezTo>
                    <a:pt x="374" y="771"/>
                    <a:pt x="382" y="771"/>
                    <a:pt x="397" y="771"/>
                  </a:cubicBezTo>
                  <a:cubicBezTo>
                    <a:pt x="413" y="779"/>
                    <a:pt x="420" y="786"/>
                    <a:pt x="435" y="786"/>
                  </a:cubicBezTo>
                  <a:cubicBezTo>
                    <a:pt x="458" y="786"/>
                    <a:pt x="481" y="786"/>
                    <a:pt x="496" y="779"/>
                  </a:cubicBezTo>
                  <a:cubicBezTo>
                    <a:pt x="512" y="771"/>
                    <a:pt x="519" y="756"/>
                    <a:pt x="527" y="740"/>
                  </a:cubicBezTo>
                  <a:lnTo>
                    <a:pt x="527" y="740"/>
                  </a:lnTo>
                  <a:cubicBezTo>
                    <a:pt x="519" y="718"/>
                    <a:pt x="519" y="687"/>
                    <a:pt x="504" y="657"/>
                  </a:cubicBezTo>
                  <a:cubicBezTo>
                    <a:pt x="496" y="649"/>
                    <a:pt x="481" y="649"/>
                    <a:pt x="474" y="641"/>
                  </a:cubicBezTo>
                  <a:cubicBezTo>
                    <a:pt x="458" y="626"/>
                    <a:pt x="451" y="603"/>
                    <a:pt x="451" y="580"/>
                  </a:cubicBezTo>
                  <a:cubicBezTo>
                    <a:pt x="443" y="534"/>
                    <a:pt x="458" y="488"/>
                    <a:pt x="451" y="435"/>
                  </a:cubicBezTo>
                  <a:cubicBezTo>
                    <a:pt x="443" y="412"/>
                    <a:pt x="413" y="397"/>
                    <a:pt x="420" y="374"/>
                  </a:cubicBezTo>
                  <a:cubicBezTo>
                    <a:pt x="420" y="359"/>
                    <a:pt x="451" y="374"/>
                    <a:pt x="458" y="359"/>
                  </a:cubicBezTo>
                  <a:cubicBezTo>
                    <a:pt x="474" y="321"/>
                    <a:pt x="466" y="275"/>
                    <a:pt x="481" y="236"/>
                  </a:cubicBezTo>
                  <a:cubicBezTo>
                    <a:pt x="481" y="229"/>
                    <a:pt x="489" y="214"/>
                    <a:pt x="496" y="214"/>
                  </a:cubicBezTo>
                  <a:cubicBezTo>
                    <a:pt x="519" y="206"/>
                    <a:pt x="535" y="206"/>
                    <a:pt x="558" y="206"/>
                  </a:cubicBezTo>
                  <a:lnTo>
                    <a:pt x="558" y="206"/>
                  </a:lnTo>
                  <a:cubicBezTo>
                    <a:pt x="550" y="168"/>
                    <a:pt x="550" y="137"/>
                    <a:pt x="542" y="99"/>
                  </a:cubicBezTo>
                  <a:cubicBezTo>
                    <a:pt x="542" y="84"/>
                    <a:pt x="535" y="61"/>
                    <a:pt x="535" y="45"/>
                  </a:cubicBezTo>
                  <a:cubicBezTo>
                    <a:pt x="527" y="23"/>
                    <a:pt x="535" y="23"/>
                    <a:pt x="535" y="0"/>
                  </a:cubicBezTo>
                  <a:lnTo>
                    <a:pt x="535" y="0"/>
                  </a:lnTo>
                  <a:cubicBezTo>
                    <a:pt x="290" y="68"/>
                    <a:pt x="290" y="68"/>
                    <a:pt x="290" y="68"/>
                  </a:cubicBezTo>
                  <a:cubicBezTo>
                    <a:pt x="206" y="107"/>
                    <a:pt x="199" y="160"/>
                    <a:pt x="122" y="145"/>
                  </a:cubicBezTo>
                  <a:cubicBezTo>
                    <a:pt x="92" y="137"/>
                    <a:pt x="69" y="137"/>
                    <a:pt x="46" y="1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6" name="Freeform 188"/>
            <p:cNvSpPr>
              <a:spLocks noChangeArrowheads="1"/>
            </p:cNvSpPr>
            <p:nvPr/>
          </p:nvSpPr>
          <p:spPr bwMode="auto">
            <a:xfrm>
              <a:off x="4270097" y="5372101"/>
              <a:ext cx="307955" cy="322263"/>
            </a:xfrm>
            <a:custGeom>
              <a:avLst/>
              <a:gdLst>
                <a:gd name="T0" fmla="*/ 504 w 856"/>
                <a:gd name="T1" fmla="*/ 68 h 894"/>
                <a:gd name="T2" fmla="*/ 504 w 856"/>
                <a:gd name="T3" fmla="*/ 68 h 894"/>
                <a:gd name="T4" fmla="*/ 374 w 856"/>
                <a:gd name="T5" fmla="*/ 68 h 894"/>
                <a:gd name="T6" fmla="*/ 405 w 856"/>
                <a:gd name="T7" fmla="*/ 30 h 894"/>
                <a:gd name="T8" fmla="*/ 436 w 856"/>
                <a:gd name="T9" fmla="*/ 7 h 894"/>
                <a:gd name="T10" fmla="*/ 558 w 856"/>
                <a:gd name="T11" fmla="*/ 38 h 894"/>
                <a:gd name="T12" fmla="*/ 558 w 856"/>
                <a:gd name="T13" fmla="*/ 38 h 894"/>
                <a:gd name="T14" fmla="*/ 542 w 856"/>
                <a:gd name="T15" fmla="*/ 91 h 894"/>
                <a:gd name="T16" fmla="*/ 527 w 856"/>
                <a:gd name="T17" fmla="*/ 145 h 894"/>
                <a:gd name="T18" fmla="*/ 512 w 856"/>
                <a:gd name="T19" fmla="*/ 145 h 894"/>
                <a:gd name="T20" fmla="*/ 519 w 856"/>
                <a:gd name="T21" fmla="*/ 91 h 894"/>
                <a:gd name="T22" fmla="*/ 504 w 856"/>
                <a:gd name="T23" fmla="*/ 68 h 894"/>
                <a:gd name="T24" fmla="*/ 855 w 856"/>
                <a:gd name="T25" fmla="*/ 718 h 894"/>
                <a:gd name="T26" fmla="*/ 855 w 856"/>
                <a:gd name="T27" fmla="*/ 718 h 894"/>
                <a:gd name="T28" fmla="*/ 787 w 856"/>
                <a:gd name="T29" fmla="*/ 702 h 894"/>
                <a:gd name="T30" fmla="*/ 764 w 856"/>
                <a:gd name="T31" fmla="*/ 588 h 894"/>
                <a:gd name="T32" fmla="*/ 634 w 856"/>
                <a:gd name="T33" fmla="*/ 282 h 894"/>
                <a:gd name="T34" fmla="*/ 405 w 856"/>
                <a:gd name="T35" fmla="*/ 236 h 894"/>
                <a:gd name="T36" fmla="*/ 283 w 856"/>
                <a:gd name="T37" fmla="*/ 206 h 894"/>
                <a:gd name="T38" fmla="*/ 122 w 856"/>
                <a:gd name="T39" fmla="*/ 191 h 894"/>
                <a:gd name="T40" fmla="*/ 8 w 856"/>
                <a:gd name="T41" fmla="*/ 252 h 894"/>
                <a:gd name="T42" fmla="*/ 8 w 856"/>
                <a:gd name="T43" fmla="*/ 252 h 894"/>
                <a:gd name="T44" fmla="*/ 8 w 856"/>
                <a:gd name="T45" fmla="*/ 297 h 894"/>
                <a:gd name="T46" fmla="*/ 15 w 856"/>
                <a:gd name="T47" fmla="*/ 351 h 894"/>
                <a:gd name="T48" fmla="*/ 31 w 856"/>
                <a:gd name="T49" fmla="*/ 458 h 894"/>
                <a:gd name="T50" fmla="*/ 31 w 856"/>
                <a:gd name="T51" fmla="*/ 458 h 894"/>
                <a:gd name="T52" fmla="*/ 107 w 856"/>
                <a:gd name="T53" fmla="*/ 412 h 894"/>
                <a:gd name="T54" fmla="*/ 130 w 856"/>
                <a:gd name="T55" fmla="*/ 450 h 894"/>
                <a:gd name="T56" fmla="*/ 161 w 856"/>
                <a:gd name="T57" fmla="*/ 443 h 894"/>
                <a:gd name="T58" fmla="*/ 183 w 856"/>
                <a:gd name="T59" fmla="*/ 488 h 894"/>
                <a:gd name="T60" fmla="*/ 252 w 856"/>
                <a:gd name="T61" fmla="*/ 466 h 894"/>
                <a:gd name="T62" fmla="*/ 313 w 856"/>
                <a:gd name="T63" fmla="*/ 511 h 894"/>
                <a:gd name="T64" fmla="*/ 328 w 856"/>
                <a:gd name="T65" fmla="*/ 550 h 894"/>
                <a:gd name="T66" fmla="*/ 405 w 856"/>
                <a:gd name="T67" fmla="*/ 542 h 894"/>
                <a:gd name="T68" fmla="*/ 451 w 856"/>
                <a:gd name="T69" fmla="*/ 519 h 894"/>
                <a:gd name="T70" fmla="*/ 481 w 856"/>
                <a:gd name="T71" fmla="*/ 511 h 894"/>
                <a:gd name="T72" fmla="*/ 481 w 856"/>
                <a:gd name="T73" fmla="*/ 626 h 894"/>
                <a:gd name="T74" fmla="*/ 512 w 856"/>
                <a:gd name="T75" fmla="*/ 695 h 894"/>
                <a:gd name="T76" fmla="*/ 550 w 856"/>
                <a:gd name="T77" fmla="*/ 756 h 894"/>
                <a:gd name="T78" fmla="*/ 550 w 856"/>
                <a:gd name="T79" fmla="*/ 756 h 894"/>
                <a:gd name="T80" fmla="*/ 588 w 856"/>
                <a:gd name="T81" fmla="*/ 756 h 894"/>
                <a:gd name="T82" fmla="*/ 626 w 856"/>
                <a:gd name="T83" fmla="*/ 870 h 894"/>
                <a:gd name="T84" fmla="*/ 688 w 856"/>
                <a:gd name="T85" fmla="*/ 893 h 894"/>
                <a:gd name="T86" fmla="*/ 688 w 856"/>
                <a:gd name="T87" fmla="*/ 893 h 894"/>
                <a:gd name="T88" fmla="*/ 741 w 856"/>
                <a:gd name="T89" fmla="*/ 817 h 894"/>
                <a:gd name="T90" fmla="*/ 802 w 856"/>
                <a:gd name="T91" fmla="*/ 756 h 894"/>
                <a:gd name="T92" fmla="*/ 855 w 856"/>
                <a:gd name="T93" fmla="*/ 718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6" h="894">
                  <a:moveTo>
                    <a:pt x="504" y="68"/>
                  </a:moveTo>
                  <a:lnTo>
                    <a:pt x="504" y="68"/>
                  </a:lnTo>
                  <a:cubicBezTo>
                    <a:pt x="458" y="53"/>
                    <a:pt x="420" y="68"/>
                    <a:pt x="374" y="68"/>
                  </a:cubicBezTo>
                  <a:cubicBezTo>
                    <a:pt x="374" y="53"/>
                    <a:pt x="397" y="38"/>
                    <a:pt x="405" y="30"/>
                  </a:cubicBezTo>
                  <a:cubicBezTo>
                    <a:pt x="413" y="23"/>
                    <a:pt x="420" y="0"/>
                    <a:pt x="436" y="7"/>
                  </a:cubicBezTo>
                  <a:cubicBezTo>
                    <a:pt x="474" y="23"/>
                    <a:pt x="512" y="38"/>
                    <a:pt x="558" y="38"/>
                  </a:cubicBezTo>
                  <a:lnTo>
                    <a:pt x="558" y="38"/>
                  </a:lnTo>
                  <a:cubicBezTo>
                    <a:pt x="558" y="53"/>
                    <a:pt x="542" y="68"/>
                    <a:pt x="542" y="91"/>
                  </a:cubicBezTo>
                  <a:cubicBezTo>
                    <a:pt x="535" y="106"/>
                    <a:pt x="535" y="129"/>
                    <a:pt x="527" y="145"/>
                  </a:cubicBezTo>
                  <a:cubicBezTo>
                    <a:pt x="519" y="160"/>
                    <a:pt x="512" y="160"/>
                    <a:pt x="512" y="145"/>
                  </a:cubicBezTo>
                  <a:cubicBezTo>
                    <a:pt x="504" y="129"/>
                    <a:pt x="512" y="106"/>
                    <a:pt x="519" y="91"/>
                  </a:cubicBezTo>
                  <a:cubicBezTo>
                    <a:pt x="504" y="68"/>
                    <a:pt x="504" y="68"/>
                    <a:pt x="504" y="68"/>
                  </a:cubicBezTo>
                  <a:close/>
                  <a:moveTo>
                    <a:pt x="855" y="718"/>
                  </a:moveTo>
                  <a:lnTo>
                    <a:pt x="855" y="718"/>
                  </a:lnTo>
                  <a:cubicBezTo>
                    <a:pt x="833" y="710"/>
                    <a:pt x="802" y="710"/>
                    <a:pt x="787" y="702"/>
                  </a:cubicBezTo>
                  <a:cubicBezTo>
                    <a:pt x="710" y="695"/>
                    <a:pt x="749" y="649"/>
                    <a:pt x="764" y="588"/>
                  </a:cubicBezTo>
                  <a:cubicBezTo>
                    <a:pt x="817" y="420"/>
                    <a:pt x="764" y="381"/>
                    <a:pt x="634" y="282"/>
                  </a:cubicBezTo>
                  <a:cubicBezTo>
                    <a:pt x="550" y="221"/>
                    <a:pt x="512" y="236"/>
                    <a:pt x="405" y="236"/>
                  </a:cubicBezTo>
                  <a:cubicBezTo>
                    <a:pt x="367" y="236"/>
                    <a:pt x="321" y="206"/>
                    <a:pt x="283" y="206"/>
                  </a:cubicBezTo>
                  <a:cubicBezTo>
                    <a:pt x="229" y="206"/>
                    <a:pt x="168" y="244"/>
                    <a:pt x="122" y="191"/>
                  </a:cubicBezTo>
                  <a:cubicBezTo>
                    <a:pt x="92" y="160"/>
                    <a:pt x="8" y="206"/>
                    <a:pt x="8" y="252"/>
                  </a:cubicBezTo>
                  <a:lnTo>
                    <a:pt x="8" y="252"/>
                  </a:lnTo>
                  <a:cubicBezTo>
                    <a:pt x="8" y="275"/>
                    <a:pt x="0" y="275"/>
                    <a:pt x="8" y="297"/>
                  </a:cubicBezTo>
                  <a:cubicBezTo>
                    <a:pt x="8" y="313"/>
                    <a:pt x="15" y="336"/>
                    <a:pt x="15" y="351"/>
                  </a:cubicBezTo>
                  <a:cubicBezTo>
                    <a:pt x="23" y="389"/>
                    <a:pt x="23" y="420"/>
                    <a:pt x="31" y="458"/>
                  </a:cubicBezTo>
                  <a:lnTo>
                    <a:pt x="31" y="458"/>
                  </a:lnTo>
                  <a:cubicBezTo>
                    <a:pt x="53" y="443"/>
                    <a:pt x="76" y="412"/>
                    <a:pt x="107" y="412"/>
                  </a:cubicBezTo>
                  <a:cubicBezTo>
                    <a:pt x="122" y="412"/>
                    <a:pt x="122" y="443"/>
                    <a:pt x="130" y="450"/>
                  </a:cubicBezTo>
                  <a:cubicBezTo>
                    <a:pt x="138" y="458"/>
                    <a:pt x="153" y="443"/>
                    <a:pt x="161" y="443"/>
                  </a:cubicBezTo>
                  <a:cubicBezTo>
                    <a:pt x="168" y="458"/>
                    <a:pt x="168" y="481"/>
                    <a:pt x="183" y="488"/>
                  </a:cubicBezTo>
                  <a:cubicBezTo>
                    <a:pt x="206" y="488"/>
                    <a:pt x="229" y="458"/>
                    <a:pt x="252" y="466"/>
                  </a:cubicBezTo>
                  <a:cubicBezTo>
                    <a:pt x="275" y="473"/>
                    <a:pt x="298" y="496"/>
                    <a:pt x="313" y="511"/>
                  </a:cubicBezTo>
                  <a:cubicBezTo>
                    <a:pt x="321" y="519"/>
                    <a:pt x="313" y="542"/>
                    <a:pt x="328" y="550"/>
                  </a:cubicBezTo>
                  <a:cubicBezTo>
                    <a:pt x="351" y="557"/>
                    <a:pt x="374" y="550"/>
                    <a:pt x="405" y="542"/>
                  </a:cubicBezTo>
                  <a:cubicBezTo>
                    <a:pt x="420" y="534"/>
                    <a:pt x="436" y="527"/>
                    <a:pt x="451" y="519"/>
                  </a:cubicBezTo>
                  <a:cubicBezTo>
                    <a:pt x="458" y="519"/>
                    <a:pt x="481" y="496"/>
                    <a:pt x="481" y="511"/>
                  </a:cubicBezTo>
                  <a:cubicBezTo>
                    <a:pt x="497" y="550"/>
                    <a:pt x="481" y="588"/>
                    <a:pt x="481" y="626"/>
                  </a:cubicBezTo>
                  <a:cubicBezTo>
                    <a:pt x="489" y="649"/>
                    <a:pt x="504" y="672"/>
                    <a:pt x="512" y="695"/>
                  </a:cubicBezTo>
                  <a:cubicBezTo>
                    <a:pt x="519" y="718"/>
                    <a:pt x="535" y="733"/>
                    <a:pt x="550" y="756"/>
                  </a:cubicBezTo>
                  <a:lnTo>
                    <a:pt x="550" y="756"/>
                  </a:lnTo>
                  <a:cubicBezTo>
                    <a:pt x="558" y="756"/>
                    <a:pt x="580" y="748"/>
                    <a:pt x="588" y="756"/>
                  </a:cubicBezTo>
                  <a:cubicBezTo>
                    <a:pt x="611" y="786"/>
                    <a:pt x="603" y="840"/>
                    <a:pt x="626" y="870"/>
                  </a:cubicBezTo>
                  <a:cubicBezTo>
                    <a:pt x="642" y="886"/>
                    <a:pt x="665" y="886"/>
                    <a:pt x="688" y="893"/>
                  </a:cubicBezTo>
                  <a:lnTo>
                    <a:pt x="688" y="893"/>
                  </a:lnTo>
                  <a:cubicBezTo>
                    <a:pt x="703" y="870"/>
                    <a:pt x="718" y="840"/>
                    <a:pt x="741" y="817"/>
                  </a:cubicBezTo>
                  <a:cubicBezTo>
                    <a:pt x="756" y="794"/>
                    <a:pt x="779" y="779"/>
                    <a:pt x="802" y="756"/>
                  </a:cubicBezTo>
                  <a:cubicBezTo>
                    <a:pt x="833" y="733"/>
                    <a:pt x="825" y="748"/>
                    <a:pt x="855" y="71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7" name="Freeform 189"/>
            <p:cNvSpPr>
              <a:spLocks noChangeArrowheads="1"/>
            </p:cNvSpPr>
            <p:nvPr/>
          </p:nvSpPr>
          <p:spPr bwMode="auto">
            <a:xfrm>
              <a:off x="4911406" y="4779964"/>
              <a:ext cx="536540" cy="473075"/>
            </a:xfrm>
            <a:custGeom>
              <a:avLst/>
              <a:gdLst>
                <a:gd name="T0" fmla="*/ 191 w 1490"/>
                <a:gd name="T1" fmla="*/ 1276 h 1315"/>
                <a:gd name="T2" fmla="*/ 114 w 1490"/>
                <a:gd name="T3" fmla="*/ 1230 h 1315"/>
                <a:gd name="T4" fmla="*/ 76 w 1490"/>
                <a:gd name="T5" fmla="*/ 1024 h 1315"/>
                <a:gd name="T6" fmla="*/ 69 w 1490"/>
                <a:gd name="T7" fmla="*/ 673 h 1315"/>
                <a:gd name="T8" fmla="*/ 359 w 1490"/>
                <a:gd name="T9" fmla="*/ 657 h 1315"/>
                <a:gd name="T10" fmla="*/ 435 w 1490"/>
                <a:gd name="T11" fmla="*/ 1016 h 1315"/>
                <a:gd name="T12" fmla="*/ 466 w 1490"/>
                <a:gd name="T13" fmla="*/ 1177 h 1315"/>
                <a:gd name="T14" fmla="*/ 374 w 1490"/>
                <a:gd name="T15" fmla="*/ 1299 h 1315"/>
                <a:gd name="T16" fmla="*/ 191 w 1490"/>
                <a:gd name="T17" fmla="*/ 1276 h 1315"/>
                <a:gd name="T18" fmla="*/ 710 w 1490"/>
                <a:gd name="T19" fmla="*/ 421 h 1315"/>
                <a:gd name="T20" fmla="*/ 741 w 1490"/>
                <a:gd name="T21" fmla="*/ 344 h 1315"/>
                <a:gd name="T22" fmla="*/ 786 w 1490"/>
                <a:gd name="T23" fmla="*/ 367 h 1315"/>
                <a:gd name="T24" fmla="*/ 771 w 1490"/>
                <a:gd name="T25" fmla="*/ 405 h 1315"/>
                <a:gd name="T26" fmla="*/ 733 w 1490"/>
                <a:gd name="T27" fmla="*/ 436 h 1315"/>
                <a:gd name="T28" fmla="*/ 710 w 1490"/>
                <a:gd name="T29" fmla="*/ 421 h 1315"/>
                <a:gd name="T30" fmla="*/ 809 w 1490"/>
                <a:gd name="T31" fmla="*/ 38 h 1315"/>
                <a:gd name="T32" fmla="*/ 809 w 1490"/>
                <a:gd name="T33" fmla="*/ 199 h 1315"/>
                <a:gd name="T34" fmla="*/ 786 w 1490"/>
                <a:gd name="T35" fmla="*/ 474 h 1315"/>
                <a:gd name="T36" fmla="*/ 909 w 1490"/>
                <a:gd name="T37" fmla="*/ 757 h 1315"/>
                <a:gd name="T38" fmla="*/ 1122 w 1490"/>
                <a:gd name="T39" fmla="*/ 886 h 1315"/>
                <a:gd name="T40" fmla="*/ 1260 w 1490"/>
                <a:gd name="T41" fmla="*/ 886 h 1315"/>
                <a:gd name="T42" fmla="*/ 1344 w 1490"/>
                <a:gd name="T43" fmla="*/ 802 h 1315"/>
                <a:gd name="T44" fmla="*/ 1352 w 1490"/>
                <a:gd name="T45" fmla="*/ 757 h 1315"/>
                <a:gd name="T46" fmla="*/ 1397 w 1490"/>
                <a:gd name="T47" fmla="*/ 680 h 1315"/>
                <a:gd name="T48" fmla="*/ 1482 w 1490"/>
                <a:gd name="T49" fmla="*/ 634 h 1315"/>
                <a:gd name="T50" fmla="*/ 1405 w 1490"/>
                <a:gd name="T51" fmla="*/ 627 h 1315"/>
                <a:gd name="T52" fmla="*/ 1298 w 1490"/>
                <a:gd name="T53" fmla="*/ 642 h 1315"/>
                <a:gd name="T54" fmla="*/ 1321 w 1490"/>
                <a:gd name="T55" fmla="*/ 573 h 1315"/>
                <a:gd name="T56" fmla="*/ 1428 w 1490"/>
                <a:gd name="T57" fmla="*/ 413 h 1315"/>
                <a:gd name="T58" fmla="*/ 1375 w 1490"/>
                <a:gd name="T59" fmla="*/ 321 h 1315"/>
                <a:gd name="T60" fmla="*/ 1260 w 1490"/>
                <a:gd name="T61" fmla="*/ 329 h 1315"/>
                <a:gd name="T62" fmla="*/ 1214 w 1490"/>
                <a:gd name="T63" fmla="*/ 291 h 1315"/>
                <a:gd name="T64" fmla="*/ 1138 w 1490"/>
                <a:gd name="T65" fmla="*/ 237 h 1315"/>
                <a:gd name="T66" fmla="*/ 1046 w 1490"/>
                <a:gd name="T67" fmla="*/ 146 h 1315"/>
                <a:gd name="T68" fmla="*/ 1092 w 1490"/>
                <a:gd name="T69" fmla="*/ 115 h 1315"/>
                <a:gd name="T70" fmla="*/ 1031 w 1490"/>
                <a:gd name="T71" fmla="*/ 54 h 1315"/>
                <a:gd name="T72" fmla="*/ 970 w 1490"/>
                <a:gd name="T73" fmla="*/ 38 h 1315"/>
                <a:gd name="T74" fmla="*/ 809 w 1490"/>
                <a:gd name="T75" fmla="*/ 38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0" h="1315">
                  <a:moveTo>
                    <a:pt x="191" y="1276"/>
                  </a:moveTo>
                  <a:lnTo>
                    <a:pt x="191" y="1276"/>
                  </a:lnTo>
                  <a:cubicBezTo>
                    <a:pt x="175" y="1268"/>
                    <a:pt x="137" y="1245"/>
                    <a:pt x="122" y="1238"/>
                  </a:cubicBezTo>
                  <a:cubicBezTo>
                    <a:pt x="114" y="1230"/>
                    <a:pt x="114" y="1238"/>
                    <a:pt x="114" y="1230"/>
                  </a:cubicBezTo>
                  <a:cubicBezTo>
                    <a:pt x="107" y="1222"/>
                    <a:pt x="107" y="1154"/>
                    <a:pt x="107" y="1138"/>
                  </a:cubicBezTo>
                  <a:cubicBezTo>
                    <a:pt x="53" y="1115"/>
                    <a:pt x="76" y="1062"/>
                    <a:pt x="76" y="1024"/>
                  </a:cubicBezTo>
                  <a:cubicBezTo>
                    <a:pt x="76" y="970"/>
                    <a:pt x="76" y="940"/>
                    <a:pt x="53" y="894"/>
                  </a:cubicBezTo>
                  <a:cubicBezTo>
                    <a:pt x="0" y="802"/>
                    <a:pt x="0" y="764"/>
                    <a:pt x="69" y="673"/>
                  </a:cubicBezTo>
                  <a:cubicBezTo>
                    <a:pt x="107" y="611"/>
                    <a:pt x="145" y="581"/>
                    <a:pt x="183" y="527"/>
                  </a:cubicBezTo>
                  <a:cubicBezTo>
                    <a:pt x="267" y="428"/>
                    <a:pt x="313" y="588"/>
                    <a:pt x="359" y="657"/>
                  </a:cubicBezTo>
                  <a:cubicBezTo>
                    <a:pt x="412" y="734"/>
                    <a:pt x="366" y="818"/>
                    <a:pt x="382" y="894"/>
                  </a:cubicBezTo>
                  <a:cubicBezTo>
                    <a:pt x="450" y="917"/>
                    <a:pt x="473" y="955"/>
                    <a:pt x="435" y="1016"/>
                  </a:cubicBezTo>
                  <a:cubicBezTo>
                    <a:pt x="382" y="1093"/>
                    <a:pt x="443" y="1054"/>
                    <a:pt x="473" y="1100"/>
                  </a:cubicBezTo>
                  <a:cubicBezTo>
                    <a:pt x="481" y="1108"/>
                    <a:pt x="458" y="1154"/>
                    <a:pt x="466" y="1177"/>
                  </a:cubicBezTo>
                  <a:cubicBezTo>
                    <a:pt x="473" y="1192"/>
                    <a:pt x="511" y="1291"/>
                    <a:pt x="450" y="1276"/>
                  </a:cubicBezTo>
                  <a:cubicBezTo>
                    <a:pt x="405" y="1268"/>
                    <a:pt x="412" y="1284"/>
                    <a:pt x="374" y="1299"/>
                  </a:cubicBezTo>
                  <a:cubicBezTo>
                    <a:pt x="321" y="1314"/>
                    <a:pt x="328" y="1307"/>
                    <a:pt x="275" y="1307"/>
                  </a:cubicBezTo>
                  <a:cubicBezTo>
                    <a:pt x="191" y="1276"/>
                    <a:pt x="191" y="1276"/>
                    <a:pt x="191" y="1276"/>
                  </a:cubicBezTo>
                  <a:close/>
                  <a:moveTo>
                    <a:pt x="710" y="421"/>
                  </a:moveTo>
                  <a:lnTo>
                    <a:pt x="710" y="421"/>
                  </a:lnTo>
                  <a:cubicBezTo>
                    <a:pt x="710" y="405"/>
                    <a:pt x="718" y="390"/>
                    <a:pt x="725" y="382"/>
                  </a:cubicBezTo>
                  <a:cubicBezTo>
                    <a:pt x="725" y="367"/>
                    <a:pt x="733" y="352"/>
                    <a:pt x="741" y="344"/>
                  </a:cubicBezTo>
                  <a:cubicBezTo>
                    <a:pt x="748" y="329"/>
                    <a:pt x="764" y="306"/>
                    <a:pt x="779" y="321"/>
                  </a:cubicBezTo>
                  <a:cubicBezTo>
                    <a:pt x="786" y="336"/>
                    <a:pt x="786" y="352"/>
                    <a:pt x="786" y="367"/>
                  </a:cubicBezTo>
                  <a:cubicBezTo>
                    <a:pt x="794" y="375"/>
                    <a:pt x="794" y="390"/>
                    <a:pt x="794" y="398"/>
                  </a:cubicBezTo>
                  <a:cubicBezTo>
                    <a:pt x="786" y="398"/>
                    <a:pt x="779" y="405"/>
                    <a:pt x="771" y="405"/>
                  </a:cubicBezTo>
                  <a:cubicBezTo>
                    <a:pt x="764" y="413"/>
                    <a:pt x="756" y="421"/>
                    <a:pt x="748" y="428"/>
                  </a:cubicBezTo>
                  <a:cubicBezTo>
                    <a:pt x="748" y="436"/>
                    <a:pt x="741" y="436"/>
                    <a:pt x="733" y="436"/>
                  </a:cubicBezTo>
                  <a:cubicBezTo>
                    <a:pt x="725" y="443"/>
                    <a:pt x="725" y="451"/>
                    <a:pt x="718" y="459"/>
                  </a:cubicBezTo>
                  <a:cubicBezTo>
                    <a:pt x="710" y="421"/>
                    <a:pt x="710" y="421"/>
                    <a:pt x="710" y="421"/>
                  </a:cubicBezTo>
                  <a:close/>
                  <a:moveTo>
                    <a:pt x="809" y="38"/>
                  </a:moveTo>
                  <a:lnTo>
                    <a:pt x="809" y="38"/>
                  </a:lnTo>
                  <a:lnTo>
                    <a:pt x="809" y="38"/>
                  </a:lnTo>
                  <a:cubicBezTo>
                    <a:pt x="802" y="92"/>
                    <a:pt x="802" y="146"/>
                    <a:pt x="809" y="199"/>
                  </a:cubicBezTo>
                  <a:cubicBezTo>
                    <a:pt x="840" y="390"/>
                    <a:pt x="840" y="390"/>
                    <a:pt x="840" y="390"/>
                  </a:cubicBezTo>
                  <a:cubicBezTo>
                    <a:pt x="847" y="428"/>
                    <a:pt x="809" y="451"/>
                    <a:pt x="786" y="474"/>
                  </a:cubicBezTo>
                  <a:cubicBezTo>
                    <a:pt x="764" y="505"/>
                    <a:pt x="779" y="588"/>
                    <a:pt x="809" y="604"/>
                  </a:cubicBezTo>
                  <a:cubicBezTo>
                    <a:pt x="863" y="634"/>
                    <a:pt x="901" y="703"/>
                    <a:pt x="909" y="757"/>
                  </a:cubicBezTo>
                  <a:cubicBezTo>
                    <a:pt x="985" y="772"/>
                    <a:pt x="1084" y="810"/>
                    <a:pt x="1122" y="886"/>
                  </a:cubicBezTo>
                  <a:lnTo>
                    <a:pt x="1122" y="886"/>
                  </a:lnTo>
                  <a:cubicBezTo>
                    <a:pt x="1138" y="894"/>
                    <a:pt x="1184" y="902"/>
                    <a:pt x="1199" y="902"/>
                  </a:cubicBezTo>
                  <a:cubicBezTo>
                    <a:pt x="1222" y="902"/>
                    <a:pt x="1237" y="894"/>
                    <a:pt x="1260" y="886"/>
                  </a:cubicBezTo>
                  <a:cubicBezTo>
                    <a:pt x="1291" y="863"/>
                    <a:pt x="1314" y="833"/>
                    <a:pt x="1344" y="802"/>
                  </a:cubicBezTo>
                  <a:lnTo>
                    <a:pt x="1344" y="802"/>
                  </a:lnTo>
                  <a:cubicBezTo>
                    <a:pt x="1352" y="757"/>
                    <a:pt x="1352" y="757"/>
                    <a:pt x="1352" y="757"/>
                  </a:cubicBezTo>
                  <a:lnTo>
                    <a:pt x="1352" y="757"/>
                  </a:lnTo>
                  <a:cubicBezTo>
                    <a:pt x="1359" y="749"/>
                    <a:pt x="1375" y="741"/>
                    <a:pt x="1375" y="734"/>
                  </a:cubicBezTo>
                  <a:cubicBezTo>
                    <a:pt x="1390" y="718"/>
                    <a:pt x="1382" y="695"/>
                    <a:pt x="1397" y="680"/>
                  </a:cubicBezTo>
                  <a:cubicBezTo>
                    <a:pt x="1420" y="665"/>
                    <a:pt x="1459" y="673"/>
                    <a:pt x="1482" y="657"/>
                  </a:cubicBezTo>
                  <a:cubicBezTo>
                    <a:pt x="1489" y="650"/>
                    <a:pt x="1489" y="634"/>
                    <a:pt x="1482" y="634"/>
                  </a:cubicBezTo>
                  <a:cubicBezTo>
                    <a:pt x="1466" y="627"/>
                    <a:pt x="1451" y="642"/>
                    <a:pt x="1436" y="642"/>
                  </a:cubicBezTo>
                  <a:cubicBezTo>
                    <a:pt x="1428" y="634"/>
                    <a:pt x="1420" y="619"/>
                    <a:pt x="1405" y="627"/>
                  </a:cubicBezTo>
                  <a:cubicBezTo>
                    <a:pt x="1382" y="634"/>
                    <a:pt x="1367" y="680"/>
                    <a:pt x="1336" y="680"/>
                  </a:cubicBezTo>
                  <a:cubicBezTo>
                    <a:pt x="1321" y="680"/>
                    <a:pt x="1306" y="650"/>
                    <a:pt x="1298" y="642"/>
                  </a:cubicBezTo>
                  <a:cubicBezTo>
                    <a:pt x="1291" y="627"/>
                    <a:pt x="1268" y="619"/>
                    <a:pt x="1275" y="611"/>
                  </a:cubicBezTo>
                  <a:cubicBezTo>
                    <a:pt x="1283" y="596"/>
                    <a:pt x="1306" y="588"/>
                    <a:pt x="1321" y="573"/>
                  </a:cubicBezTo>
                  <a:cubicBezTo>
                    <a:pt x="1344" y="543"/>
                    <a:pt x="1359" y="497"/>
                    <a:pt x="1382" y="466"/>
                  </a:cubicBezTo>
                  <a:cubicBezTo>
                    <a:pt x="1397" y="443"/>
                    <a:pt x="1413" y="428"/>
                    <a:pt x="1428" y="413"/>
                  </a:cubicBezTo>
                  <a:cubicBezTo>
                    <a:pt x="1397" y="352"/>
                    <a:pt x="1397" y="352"/>
                    <a:pt x="1397" y="352"/>
                  </a:cubicBezTo>
                  <a:cubicBezTo>
                    <a:pt x="1390" y="336"/>
                    <a:pt x="1382" y="321"/>
                    <a:pt x="1375" y="321"/>
                  </a:cubicBezTo>
                  <a:cubicBezTo>
                    <a:pt x="1344" y="321"/>
                    <a:pt x="1329" y="359"/>
                    <a:pt x="1306" y="367"/>
                  </a:cubicBezTo>
                  <a:cubicBezTo>
                    <a:pt x="1283" y="367"/>
                    <a:pt x="1275" y="329"/>
                    <a:pt x="1260" y="329"/>
                  </a:cubicBezTo>
                  <a:cubicBezTo>
                    <a:pt x="1245" y="329"/>
                    <a:pt x="1245" y="359"/>
                    <a:pt x="1230" y="352"/>
                  </a:cubicBezTo>
                  <a:cubicBezTo>
                    <a:pt x="1214" y="344"/>
                    <a:pt x="1230" y="313"/>
                    <a:pt x="1214" y="291"/>
                  </a:cubicBezTo>
                  <a:cubicBezTo>
                    <a:pt x="1207" y="275"/>
                    <a:pt x="1199" y="260"/>
                    <a:pt x="1184" y="252"/>
                  </a:cubicBezTo>
                  <a:cubicBezTo>
                    <a:pt x="1168" y="245"/>
                    <a:pt x="1153" y="252"/>
                    <a:pt x="1138" y="237"/>
                  </a:cubicBezTo>
                  <a:cubicBezTo>
                    <a:pt x="1130" y="230"/>
                    <a:pt x="1145" y="214"/>
                    <a:pt x="1130" y="207"/>
                  </a:cubicBezTo>
                  <a:cubicBezTo>
                    <a:pt x="1107" y="184"/>
                    <a:pt x="1061" y="176"/>
                    <a:pt x="1046" y="146"/>
                  </a:cubicBezTo>
                  <a:cubicBezTo>
                    <a:pt x="1039" y="130"/>
                    <a:pt x="1077" y="123"/>
                    <a:pt x="1092" y="115"/>
                  </a:cubicBezTo>
                  <a:lnTo>
                    <a:pt x="1092" y="115"/>
                  </a:lnTo>
                  <a:cubicBezTo>
                    <a:pt x="1084" y="100"/>
                    <a:pt x="1077" y="84"/>
                    <a:pt x="1069" y="77"/>
                  </a:cubicBezTo>
                  <a:cubicBezTo>
                    <a:pt x="1061" y="69"/>
                    <a:pt x="1046" y="69"/>
                    <a:pt x="1031" y="54"/>
                  </a:cubicBezTo>
                  <a:cubicBezTo>
                    <a:pt x="1023" y="38"/>
                    <a:pt x="1031" y="8"/>
                    <a:pt x="1016" y="0"/>
                  </a:cubicBezTo>
                  <a:cubicBezTo>
                    <a:pt x="993" y="0"/>
                    <a:pt x="993" y="31"/>
                    <a:pt x="970" y="38"/>
                  </a:cubicBezTo>
                  <a:cubicBezTo>
                    <a:pt x="955" y="46"/>
                    <a:pt x="932" y="54"/>
                    <a:pt x="916" y="54"/>
                  </a:cubicBezTo>
                  <a:cubicBezTo>
                    <a:pt x="878" y="54"/>
                    <a:pt x="847" y="38"/>
                    <a:pt x="809" y="3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8" name="Freeform 190"/>
            <p:cNvSpPr>
              <a:spLocks noChangeArrowheads="1"/>
            </p:cNvSpPr>
            <p:nvPr/>
          </p:nvSpPr>
          <p:spPr bwMode="auto">
            <a:xfrm>
              <a:off x="4003415" y="3975100"/>
              <a:ext cx="1395322" cy="1430338"/>
            </a:xfrm>
            <a:custGeom>
              <a:avLst/>
              <a:gdLst>
                <a:gd name="T0" fmla="*/ 2826 w 3874"/>
                <a:gd name="T1" fmla="*/ 2276 h 3973"/>
                <a:gd name="T2" fmla="*/ 3124 w 3874"/>
                <a:gd name="T3" fmla="*/ 2620 h 3973"/>
                <a:gd name="T4" fmla="*/ 1940 w 3874"/>
                <a:gd name="T5" fmla="*/ 2849 h 3973"/>
                <a:gd name="T6" fmla="*/ 1971 w 3874"/>
                <a:gd name="T7" fmla="*/ 2903 h 3973"/>
                <a:gd name="T8" fmla="*/ 810 w 3874"/>
                <a:gd name="T9" fmla="*/ 2559 h 3973"/>
                <a:gd name="T10" fmla="*/ 1230 w 3874"/>
                <a:gd name="T11" fmla="*/ 2208 h 3973"/>
                <a:gd name="T12" fmla="*/ 1268 w 3874"/>
                <a:gd name="T13" fmla="*/ 3002 h 3973"/>
                <a:gd name="T14" fmla="*/ 1115 w 3874"/>
                <a:gd name="T15" fmla="*/ 2590 h 3973"/>
                <a:gd name="T16" fmla="*/ 1635 w 3874"/>
                <a:gd name="T17" fmla="*/ 2513 h 3973"/>
                <a:gd name="T18" fmla="*/ 1879 w 3874"/>
                <a:gd name="T19" fmla="*/ 1673 h 3973"/>
                <a:gd name="T20" fmla="*/ 1131 w 3874"/>
                <a:gd name="T21" fmla="*/ 1902 h 3973"/>
                <a:gd name="T22" fmla="*/ 1978 w 3874"/>
                <a:gd name="T23" fmla="*/ 1482 h 3973"/>
                <a:gd name="T24" fmla="*/ 2047 w 3874"/>
                <a:gd name="T25" fmla="*/ 1497 h 3973"/>
                <a:gd name="T26" fmla="*/ 23 w 3874"/>
                <a:gd name="T27" fmla="*/ 512 h 3973"/>
                <a:gd name="T28" fmla="*/ 298 w 3874"/>
                <a:gd name="T29" fmla="*/ 527 h 3973"/>
                <a:gd name="T30" fmla="*/ 23 w 3874"/>
                <a:gd name="T31" fmla="*/ 696 h 3973"/>
                <a:gd name="T32" fmla="*/ 741 w 3874"/>
                <a:gd name="T33" fmla="*/ 61 h 3973"/>
                <a:gd name="T34" fmla="*/ 466 w 3874"/>
                <a:gd name="T35" fmla="*/ 352 h 3973"/>
                <a:gd name="T36" fmla="*/ 1742 w 3874"/>
                <a:gd name="T37" fmla="*/ 1077 h 3973"/>
                <a:gd name="T38" fmla="*/ 2101 w 3874"/>
                <a:gd name="T39" fmla="*/ 779 h 3973"/>
                <a:gd name="T40" fmla="*/ 1230 w 3874"/>
                <a:gd name="T41" fmla="*/ 283 h 3973"/>
                <a:gd name="T42" fmla="*/ 1100 w 3874"/>
                <a:gd name="T43" fmla="*/ 466 h 3973"/>
                <a:gd name="T44" fmla="*/ 1337 w 3874"/>
                <a:gd name="T45" fmla="*/ 581 h 3973"/>
                <a:gd name="T46" fmla="*/ 1558 w 3874"/>
                <a:gd name="T47" fmla="*/ 863 h 3973"/>
                <a:gd name="T48" fmla="*/ 1046 w 3874"/>
                <a:gd name="T49" fmla="*/ 1169 h 3973"/>
                <a:gd name="T50" fmla="*/ 1551 w 3874"/>
                <a:gd name="T51" fmla="*/ 1093 h 3973"/>
                <a:gd name="T52" fmla="*/ 917 w 3874"/>
                <a:gd name="T53" fmla="*/ 1093 h 3973"/>
                <a:gd name="T54" fmla="*/ 1283 w 3874"/>
                <a:gd name="T55" fmla="*/ 588 h 3973"/>
                <a:gd name="T56" fmla="*/ 1161 w 3874"/>
                <a:gd name="T57" fmla="*/ 573 h 3973"/>
                <a:gd name="T58" fmla="*/ 2307 w 3874"/>
                <a:gd name="T59" fmla="*/ 527 h 3973"/>
                <a:gd name="T60" fmla="*/ 2223 w 3874"/>
                <a:gd name="T61" fmla="*/ 650 h 3973"/>
                <a:gd name="T62" fmla="*/ 2505 w 3874"/>
                <a:gd name="T63" fmla="*/ 482 h 3973"/>
                <a:gd name="T64" fmla="*/ 2276 w 3874"/>
                <a:gd name="T65" fmla="*/ 818 h 3973"/>
                <a:gd name="T66" fmla="*/ 2131 w 3874"/>
                <a:gd name="T67" fmla="*/ 1429 h 3973"/>
                <a:gd name="T68" fmla="*/ 2200 w 3874"/>
                <a:gd name="T69" fmla="*/ 1597 h 3973"/>
                <a:gd name="T70" fmla="*/ 2040 w 3874"/>
                <a:gd name="T71" fmla="*/ 2139 h 3973"/>
                <a:gd name="T72" fmla="*/ 2139 w 3874"/>
                <a:gd name="T73" fmla="*/ 2811 h 3973"/>
                <a:gd name="T74" fmla="*/ 2047 w 3874"/>
                <a:gd name="T75" fmla="*/ 3934 h 3973"/>
                <a:gd name="T76" fmla="*/ 2345 w 3874"/>
                <a:gd name="T77" fmla="*/ 3392 h 3973"/>
                <a:gd name="T78" fmla="*/ 2482 w 3874"/>
                <a:gd name="T79" fmla="*/ 2246 h 3973"/>
                <a:gd name="T80" fmla="*/ 3010 w 3874"/>
                <a:gd name="T81" fmla="*/ 1329 h 3973"/>
                <a:gd name="T82" fmla="*/ 2643 w 3874"/>
                <a:gd name="T83" fmla="*/ 1925 h 3973"/>
                <a:gd name="T84" fmla="*/ 2872 w 3874"/>
                <a:gd name="T85" fmla="*/ 2154 h 3973"/>
                <a:gd name="T86" fmla="*/ 3094 w 3874"/>
                <a:gd name="T87" fmla="*/ 2338 h 3973"/>
                <a:gd name="T88" fmla="*/ 3315 w 3874"/>
                <a:gd name="T89" fmla="*/ 1704 h 3973"/>
                <a:gd name="T90" fmla="*/ 3476 w 3874"/>
                <a:gd name="T91" fmla="*/ 1956 h 3973"/>
                <a:gd name="T92" fmla="*/ 3804 w 3874"/>
                <a:gd name="T93" fmla="*/ 2124 h 3973"/>
                <a:gd name="T94" fmla="*/ 3865 w 3874"/>
                <a:gd name="T95" fmla="*/ 1895 h 3973"/>
                <a:gd name="T96" fmla="*/ 3659 w 3874"/>
                <a:gd name="T97" fmla="*/ 1505 h 3973"/>
                <a:gd name="T98" fmla="*/ 3666 w 3874"/>
                <a:gd name="T99" fmla="*/ 1054 h 3973"/>
                <a:gd name="T100" fmla="*/ 3514 w 3874"/>
                <a:gd name="T101" fmla="*/ 741 h 3973"/>
                <a:gd name="T102" fmla="*/ 3697 w 3874"/>
                <a:gd name="T103" fmla="*/ 634 h 3973"/>
                <a:gd name="T104" fmla="*/ 3842 w 3874"/>
                <a:gd name="T105" fmla="*/ 367 h 3973"/>
                <a:gd name="T106" fmla="*/ 3499 w 3874"/>
                <a:gd name="T107" fmla="*/ 321 h 3973"/>
                <a:gd name="T108" fmla="*/ 3040 w 3874"/>
                <a:gd name="T109" fmla="*/ 474 h 3973"/>
                <a:gd name="T110" fmla="*/ 2979 w 3874"/>
                <a:gd name="T111" fmla="*/ 237 h 3973"/>
                <a:gd name="T112" fmla="*/ 2727 w 3874"/>
                <a:gd name="T113" fmla="*/ 268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74" h="3973">
                  <a:moveTo>
                    <a:pt x="3063" y="2681"/>
                  </a:moveTo>
                  <a:lnTo>
                    <a:pt x="3063" y="2681"/>
                  </a:lnTo>
                  <a:cubicBezTo>
                    <a:pt x="3040" y="2659"/>
                    <a:pt x="3032" y="2620"/>
                    <a:pt x="3010" y="2597"/>
                  </a:cubicBezTo>
                  <a:cubicBezTo>
                    <a:pt x="2994" y="2574"/>
                    <a:pt x="2933" y="2513"/>
                    <a:pt x="2941" y="2483"/>
                  </a:cubicBezTo>
                  <a:cubicBezTo>
                    <a:pt x="2949" y="2406"/>
                    <a:pt x="2926" y="2399"/>
                    <a:pt x="2880" y="2345"/>
                  </a:cubicBezTo>
                  <a:cubicBezTo>
                    <a:pt x="2864" y="2330"/>
                    <a:pt x="2834" y="2292"/>
                    <a:pt x="2826" y="2276"/>
                  </a:cubicBezTo>
                  <a:cubicBezTo>
                    <a:pt x="2826" y="2269"/>
                    <a:pt x="2857" y="2208"/>
                    <a:pt x="2864" y="2208"/>
                  </a:cubicBezTo>
                  <a:lnTo>
                    <a:pt x="2864" y="2208"/>
                  </a:lnTo>
                  <a:cubicBezTo>
                    <a:pt x="2880" y="2208"/>
                    <a:pt x="2994" y="2315"/>
                    <a:pt x="3010" y="2338"/>
                  </a:cubicBezTo>
                  <a:cubicBezTo>
                    <a:pt x="3025" y="2353"/>
                    <a:pt x="3032" y="2376"/>
                    <a:pt x="3040" y="2391"/>
                  </a:cubicBezTo>
                  <a:cubicBezTo>
                    <a:pt x="3048" y="2406"/>
                    <a:pt x="3071" y="2406"/>
                    <a:pt x="3086" y="2422"/>
                  </a:cubicBezTo>
                  <a:cubicBezTo>
                    <a:pt x="3109" y="2437"/>
                    <a:pt x="3139" y="2597"/>
                    <a:pt x="3124" y="2620"/>
                  </a:cubicBezTo>
                  <a:cubicBezTo>
                    <a:pt x="3094" y="2651"/>
                    <a:pt x="3116" y="2659"/>
                    <a:pt x="3139" y="2681"/>
                  </a:cubicBezTo>
                  <a:cubicBezTo>
                    <a:pt x="3170" y="2727"/>
                    <a:pt x="3101" y="2727"/>
                    <a:pt x="3071" y="2720"/>
                  </a:cubicBezTo>
                  <a:cubicBezTo>
                    <a:pt x="3063" y="2681"/>
                    <a:pt x="3063" y="2681"/>
                    <a:pt x="3063" y="2681"/>
                  </a:cubicBezTo>
                  <a:close/>
                  <a:moveTo>
                    <a:pt x="1940" y="2964"/>
                  </a:moveTo>
                  <a:lnTo>
                    <a:pt x="1940" y="2964"/>
                  </a:lnTo>
                  <a:cubicBezTo>
                    <a:pt x="1917" y="2933"/>
                    <a:pt x="1917" y="2880"/>
                    <a:pt x="1940" y="2849"/>
                  </a:cubicBezTo>
                  <a:cubicBezTo>
                    <a:pt x="1948" y="2834"/>
                    <a:pt x="1955" y="2811"/>
                    <a:pt x="1963" y="2796"/>
                  </a:cubicBezTo>
                  <a:cubicBezTo>
                    <a:pt x="1963" y="2788"/>
                    <a:pt x="1963" y="2781"/>
                    <a:pt x="1971" y="2773"/>
                  </a:cubicBezTo>
                  <a:cubicBezTo>
                    <a:pt x="1971" y="2765"/>
                    <a:pt x="1986" y="2750"/>
                    <a:pt x="1986" y="2743"/>
                  </a:cubicBezTo>
                  <a:lnTo>
                    <a:pt x="1986" y="2743"/>
                  </a:lnTo>
                  <a:cubicBezTo>
                    <a:pt x="2001" y="2781"/>
                    <a:pt x="1986" y="2826"/>
                    <a:pt x="1971" y="2865"/>
                  </a:cubicBezTo>
                  <a:cubicBezTo>
                    <a:pt x="1971" y="2880"/>
                    <a:pt x="1971" y="2888"/>
                    <a:pt x="1971" y="2903"/>
                  </a:cubicBezTo>
                  <a:cubicBezTo>
                    <a:pt x="1971" y="2926"/>
                    <a:pt x="1963" y="2941"/>
                    <a:pt x="1963" y="2956"/>
                  </a:cubicBezTo>
                  <a:cubicBezTo>
                    <a:pt x="1940" y="2964"/>
                    <a:pt x="1940" y="2964"/>
                    <a:pt x="1940" y="2964"/>
                  </a:cubicBezTo>
                  <a:close/>
                  <a:moveTo>
                    <a:pt x="749" y="2826"/>
                  </a:moveTo>
                  <a:lnTo>
                    <a:pt x="749" y="2826"/>
                  </a:lnTo>
                  <a:cubicBezTo>
                    <a:pt x="779" y="2804"/>
                    <a:pt x="772" y="2720"/>
                    <a:pt x="810" y="2674"/>
                  </a:cubicBezTo>
                  <a:cubicBezTo>
                    <a:pt x="840" y="2643"/>
                    <a:pt x="886" y="2567"/>
                    <a:pt x="810" y="2559"/>
                  </a:cubicBezTo>
                  <a:cubicBezTo>
                    <a:pt x="810" y="2551"/>
                    <a:pt x="810" y="2551"/>
                    <a:pt x="810" y="2551"/>
                  </a:cubicBezTo>
                  <a:cubicBezTo>
                    <a:pt x="802" y="2551"/>
                    <a:pt x="802" y="2551"/>
                    <a:pt x="802" y="2544"/>
                  </a:cubicBezTo>
                  <a:cubicBezTo>
                    <a:pt x="863" y="2521"/>
                    <a:pt x="833" y="2384"/>
                    <a:pt x="863" y="2376"/>
                  </a:cubicBezTo>
                  <a:cubicBezTo>
                    <a:pt x="917" y="2361"/>
                    <a:pt x="993" y="2361"/>
                    <a:pt x="1016" y="2292"/>
                  </a:cubicBezTo>
                  <a:cubicBezTo>
                    <a:pt x="1046" y="2292"/>
                    <a:pt x="1092" y="2345"/>
                    <a:pt x="1123" y="2315"/>
                  </a:cubicBezTo>
                  <a:cubicBezTo>
                    <a:pt x="1146" y="2292"/>
                    <a:pt x="1207" y="2208"/>
                    <a:pt x="1230" y="2208"/>
                  </a:cubicBezTo>
                  <a:cubicBezTo>
                    <a:pt x="1238" y="2185"/>
                    <a:pt x="1314" y="2162"/>
                    <a:pt x="1337" y="2154"/>
                  </a:cubicBezTo>
                  <a:cubicBezTo>
                    <a:pt x="1390" y="2124"/>
                    <a:pt x="1360" y="2185"/>
                    <a:pt x="1352" y="2223"/>
                  </a:cubicBezTo>
                  <a:cubicBezTo>
                    <a:pt x="1344" y="2246"/>
                    <a:pt x="1375" y="2399"/>
                    <a:pt x="1383" y="2429"/>
                  </a:cubicBezTo>
                  <a:cubicBezTo>
                    <a:pt x="1406" y="2513"/>
                    <a:pt x="1413" y="2551"/>
                    <a:pt x="1467" y="2613"/>
                  </a:cubicBezTo>
                  <a:cubicBezTo>
                    <a:pt x="1490" y="2643"/>
                    <a:pt x="1543" y="2842"/>
                    <a:pt x="1505" y="2872"/>
                  </a:cubicBezTo>
                  <a:cubicBezTo>
                    <a:pt x="1436" y="2941"/>
                    <a:pt x="1383" y="3040"/>
                    <a:pt x="1268" y="3002"/>
                  </a:cubicBezTo>
                  <a:cubicBezTo>
                    <a:pt x="1222" y="2987"/>
                    <a:pt x="1207" y="3086"/>
                    <a:pt x="1184" y="3117"/>
                  </a:cubicBezTo>
                  <a:cubicBezTo>
                    <a:pt x="1092" y="3224"/>
                    <a:pt x="970" y="3056"/>
                    <a:pt x="1054" y="2995"/>
                  </a:cubicBezTo>
                  <a:cubicBezTo>
                    <a:pt x="1085" y="2972"/>
                    <a:pt x="1169" y="2956"/>
                    <a:pt x="1154" y="2911"/>
                  </a:cubicBezTo>
                  <a:cubicBezTo>
                    <a:pt x="1138" y="2872"/>
                    <a:pt x="1108" y="2826"/>
                    <a:pt x="1100" y="2788"/>
                  </a:cubicBezTo>
                  <a:cubicBezTo>
                    <a:pt x="1054" y="2773"/>
                    <a:pt x="1046" y="2735"/>
                    <a:pt x="1062" y="2697"/>
                  </a:cubicBezTo>
                  <a:cubicBezTo>
                    <a:pt x="1123" y="2697"/>
                    <a:pt x="1154" y="2643"/>
                    <a:pt x="1115" y="2590"/>
                  </a:cubicBezTo>
                  <a:cubicBezTo>
                    <a:pt x="1024" y="2468"/>
                    <a:pt x="894" y="3025"/>
                    <a:pt x="756" y="2857"/>
                  </a:cubicBezTo>
                  <a:cubicBezTo>
                    <a:pt x="749" y="2826"/>
                    <a:pt x="749" y="2826"/>
                    <a:pt x="749" y="2826"/>
                  </a:cubicBezTo>
                  <a:close/>
                  <a:moveTo>
                    <a:pt x="1436" y="2445"/>
                  </a:moveTo>
                  <a:lnTo>
                    <a:pt x="1436" y="2445"/>
                  </a:lnTo>
                  <a:cubicBezTo>
                    <a:pt x="1467" y="2506"/>
                    <a:pt x="1467" y="2506"/>
                    <a:pt x="1467" y="2506"/>
                  </a:cubicBezTo>
                  <a:cubicBezTo>
                    <a:pt x="1497" y="2544"/>
                    <a:pt x="1604" y="2551"/>
                    <a:pt x="1635" y="2513"/>
                  </a:cubicBezTo>
                  <a:cubicBezTo>
                    <a:pt x="1673" y="2460"/>
                    <a:pt x="1673" y="2376"/>
                    <a:pt x="1703" y="2315"/>
                  </a:cubicBezTo>
                  <a:cubicBezTo>
                    <a:pt x="1726" y="2261"/>
                    <a:pt x="1772" y="2238"/>
                    <a:pt x="1795" y="2177"/>
                  </a:cubicBezTo>
                  <a:cubicBezTo>
                    <a:pt x="1833" y="2101"/>
                    <a:pt x="1849" y="2017"/>
                    <a:pt x="1887" y="1940"/>
                  </a:cubicBezTo>
                  <a:cubicBezTo>
                    <a:pt x="1933" y="1849"/>
                    <a:pt x="2017" y="1734"/>
                    <a:pt x="2047" y="1650"/>
                  </a:cubicBezTo>
                  <a:cubicBezTo>
                    <a:pt x="2055" y="1627"/>
                    <a:pt x="2032" y="1520"/>
                    <a:pt x="2009" y="1551"/>
                  </a:cubicBezTo>
                  <a:cubicBezTo>
                    <a:pt x="1879" y="1673"/>
                    <a:pt x="1879" y="1673"/>
                    <a:pt x="1879" y="1673"/>
                  </a:cubicBezTo>
                  <a:cubicBezTo>
                    <a:pt x="1833" y="1719"/>
                    <a:pt x="1474" y="1986"/>
                    <a:pt x="1558" y="2055"/>
                  </a:cubicBezTo>
                  <a:cubicBezTo>
                    <a:pt x="1589" y="2070"/>
                    <a:pt x="1619" y="2086"/>
                    <a:pt x="1650" y="2101"/>
                  </a:cubicBezTo>
                  <a:cubicBezTo>
                    <a:pt x="1596" y="2101"/>
                    <a:pt x="1482" y="2132"/>
                    <a:pt x="1459" y="2177"/>
                  </a:cubicBezTo>
                  <a:cubicBezTo>
                    <a:pt x="1436" y="2231"/>
                    <a:pt x="1398" y="2391"/>
                    <a:pt x="1436" y="2445"/>
                  </a:cubicBezTo>
                  <a:close/>
                  <a:moveTo>
                    <a:pt x="1131" y="1902"/>
                  </a:moveTo>
                  <a:lnTo>
                    <a:pt x="1131" y="1902"/>
                  </a:lnTo>
                  <a:cubicBezTo>
                    <a:pt x="1115" y="1849"/>
                    <a:pt x="1169" y="1749"/>
                    <a:pt x="1199" y="1719"/>
                  </a:cubicBezTo>
                  <a:cubicBezTo>
                    <a:pt x="1230" y="1688"/>
                    <a:pt x="1299" y="1597"/>
                    <a:pt x="1337" y="1597"/>
                  </a:cubicBezTo>
                  <a:cubicBezTo>
                    <a:pt x="1360" y="1673"/>
                    <a:pt x="1276" y="1749"/>
                    <a:pt x="1253" y="1826"/>
                  </a:cubicBezTo>
                  <a:cubicBezTo>
                    <a:pt x="1245" y="1864"/>
                    <a:pt x="1184" y="2017"/>
                    <a:pt x="1131" y="1948"/>
                  </a:cubicBezTo>
                  <a:cubicBezTo>
                    <a:pt x="1131" y="1902"/>
                    <a:pt x="1131" y="1902"/>
                    <a:pt x="1131" y="1902"/>
                  </a:cubicBezTo>
                  <a:close/>
                  <a:moveTo>
                    <a:pt x="1978" y="1482"/>
                  </a:moveTo>
                  <a:lnTo>
                    <a:pt x="1978" y="1482"/>
                  </a:lnTo>
                  <a:cubicBezTo>
                    <a:pt x="1963" y="1459"/>
                    <a:pt x="2009" y="1444"/>
                    <a:pt x="2017" y="1429"/>
                  </a:cubicBezTo>
                  <a:cubicBezTo>
                    <a:pt x="2032" y="1398"/>
                    <a:pt x="2032" y="1368"/>
                    <a:pt x="2040" y="1337"/>
                  </a:cubicBezTo>
                  <a:cubicBezTo>
                    <a:pt x="2055" y="1360"/>
                    <a:pt x="2063" y="1383"/>
                    <a:pt x="2070" y="1406"/>
                  </a:cubicBezTo>
                  <a:cubicBezTo>
                    <a:pt x="2085" y="1436"/>
                    <a:pt x="2101" y="1459"/>
                    <a:pt x="2070" y="1482"/>
                  </a:cubicBezTo>
                  <a:cubicBezTo>
                    <a:pt x="2063" y="1482"/>
                    <a:pt x="2055" y="1497"/>
                    <a:pt x="2047" y="1497"/>
                  </a:cubicBezTo>
                  <a:cubicBezTo>
                    <a:pt x="2047" y="1505"/>
                    <a:pt x="2032" y="1505"/>
                    <a:pt x="2032" y="1505"/>
                  </a:cubicBezTo>
                  <a:cubicBezTo>
                    <a:pt x="2017" y="1505"/>
                    <a:pt x="2009" y="1513"/>
                    <a:pt x="1994" y="1513"/>
                  </a:cubicBezTo>
                  <a:cubicBezTo>
                    <a:pt x="1978" y="1482"/>
                    <a:pt x="1978" y="1482"/>
                    <a:pt x="1978" y="1482"/>
                  </a:cubicBezTo>
                  <a:close/>
                  <a:moveTo>
                    <a:pt x="31" y="642"/>
                  </a:moveTo>
                  <a:lnTo>
                    <a:pt x="31" y="642"/>
                  </a:lnTo>
                  <a:cubicBezTo>
                    <a:pt x="8" y="627"/>
                    <a:pt x="0" y="527"/>
                    <a:pt x="23" y="512"/>
                  </a:cubicBezTo>
                  <a:cubicBezTo>
                    <a:pt x="54" y="482"/>
                    <a:pt x="107" y="497"/>
                    <a:pt x="145" y="504"/>
                  </a:cubicBezTo>
                  <a:cubicBezTo>
                    <a:pt x="206" y="512"/>
                    <a:pt x="222" y="459"/>
                    <a:pt x="268" y="459"/>
                  </a:cubicBezTo>
                  <a:cubicBezTo>
                    <a:pt x="313" y="459"/>
                    <a:pt x="352" y="443"/>
                    <a:pt x="367" y="398"/>
                  </a:cubicBezTo>
                  <a:lnTo>
                    <a:pt x="367" y="398"/>
                  </a:lnTo>
                  <a:cubicBezTo>
                    <a:pt x="374" y="421"/>
                    <a:pt x="397" y="428"/>
                    <a:pt x="405" y="459"/>
                  </a:cubicBezTo>
                  <a:cubicBezTo>
                    <a:pt x="382" y="474"/>
                    <a:pt x="252" y="474"/>
                    <a:pt x="298" y="527"/>
                  </a:cubicBezTo>
                  <a:cubicBezTo>
                    <a:pt x="313" y="550"/>
                    <a:pt x="283" y="581"/>
                    <a:pt x="260" y="573"/>
                  </a:cubicBezTo>
                  <a:cubicBezTo>
                    <a:pt x="245" y="565"/>
                    <a:pt x="168" y="588"/>
                    <a:pt x="183" y="611"/>
                  </a:cubicBezTo>
                  <a:cubicBezTo>
                    <a:pt x="160" y="650"/>
                    <a:pt x="206" y="696"/>
                    <a:pt x="153" y="718"/>
                  </a:cubicBezTo>
                  <a:cubicBezTo>
                    <a:pt x="130" y="726"/>
                    <a:pt x="115" y="711"/>
                    <a:pt x="99" y="696"/>
                  </a:cubicBezTo>
                  <a:cubicBezTo>
                    <a:pt x="84" y="673"/>
                    <a:pt x="77" y="680"/>
                    <a:pt x="54" y="680"/>
                  </a:cubicBezTo>
                  <a:cubicBezTo>
                    <a:pt x="54" y="688"/>
                    <a:pt x="31" y="696"/>
                    <a:pt x="23" y="696"/>
                  </a:cubicBezTo>
                  <a:cubicBezTo>
                    <a:pt x="31" y="642"/>
                    <a:pt x="31" y="642"/>
                    <a:pt x="31" y="642"/>
                  </a:cubicBezTo>
                  <a:close/>
                  <a:moveTo>
                    <a:pt x="466" y="321"/>
                  </a:moveTo>
                  <a:lnTo>
                    <a:pt x="466" y="321"/>
                  </a:lnTo>
                  <a:cubicBezTo>
                    <a:pt x="497" y="283"/>
                    <a:pt x="542" y="290"/>
                    <a:pt x="565" y="245"/>
                  </a:cubicBezTo>
                  <a:cubicBezTo>
                    <a:pt x="581" y="214"/>
                    <a:pt x="588" y="191"/>
                    <a:pt x="619" y="168"/>
                  </a:cubicBezTo>
                  <a:cubicBezTo>
                    <a:pt x="657" y="130"/>
                    <a:pt x="703" y="107"/>
                    <a:pt x="741" y="61"/>
                  </a:cubicBezTo>
                  <a:cubicBezTo>
                    <a:pt x="772" y="38"/>
                    <a:pt x="810" y="23"/>
                    <a:pt x="840" y="0"/>
                  </a:cubicBezTo>
                  <a:cubicBezTo>
                    <a:pt x="856" y="38"/>
                    <a:pt x="840" y="168"/>
                    <a:pt x="794" y="184"/>
                  </a:cubicBezTo>
                  <a:cubicBezTo>
                    <a:pt x="772" y="199"/>
                    <a:pt x="772" y="184"/>
                    <a:pt x="749" y="207"/>
                  </a:cubicBezTo>
                  <a:cubicBezTo>
                    <a:pt x="710" y="252"/>
                    <a:pt x="672" y="352"/>
                    <a:pt x="596" y="329"/>
                  </a:cubicBezTo>
                  <a:cubicBezTo>
                    <a:pt x="573" y="321"/>
                    <a:pt x="542" y="298"/>
                    <a:pt x="520" y="329"/>
                  </a:cubicBezTo>
                  <a:cubicBezTo>
                    <a:pt x="504" y="352"/>
                    <a:pt x="520" y="390"/>
                    <a:pt x="466" y="352"/>
                  </a:cubicBezTo>
                  <a:cubicBezTo>
                    <a:pt x="466" y="321"/>
                    <a:pt x="466" y="321"/>
                    <a:pt x="466" y="321"/>
                  </a:cubicBezTo>
                  <a:close/>
                  <a:moveTo>
                    <a:pt x="1551" y="1093"/>
                  </a:moveTo>
                  <a:lnTo>
                    <a:pt x="1551" y="1093"/>
                  </a:lnTo>
                  <a:cubicBezTo>
                    <a:pt x="1596" y="1070"/>
                    <a:pt x="1665" y="1085"/>
                    <a:pt x="1688" y="1054"/>
                  </a:cubicBezTo>
                  <a:cubicBezTo>
                    <a:pt x="1696" y="1039"/>
                    <a:pt x="1772" y="917"/>
                    <a:pt x="1772" y="986"/>
                  </a:cubicBezTo>
                  <a:cubicBezTo>
                    <a:pt x="1780" y="1032"/>
                    <a:pt x="1742" y="1062"/>
                    <a:pt x="1742" y="1077"/>
                  </a:cubicBezTo>
                  <a:cubicBezTo>
                    <a:pt x="1818" y="1077"/>
                    <a:pt x="1856" y="1093"/>
                    <a:pt x="1917" y="1047"/>
                  </a:cubicBezTo>
                  <a:cubicBezTo>
                    <a:pt x="1940" y="1032"/>
                    <a:pt x="2093" y="902"/>
                    <a:pt x="2063" y="894"/>
                  </a:cubicBezTo>
                  <a:cubicBezTo>
                    <a:pt x="2017" y="894"/>
                    <a:pt x="1986" y="917"/>
                    <a:pt x="1948" y="917"/>
                  </a:cubicBezTo>
                  <a:cubicBezTo>
                    <a:pt x="1948" y="879"/>
                    <a:pt x="1994" y="772"/>
                    <a:pt x="2024" y="848"/>
                  </a:cubicBezTo>
                  <a:cubicBezTo>
                    <a:pt x="2040" y="909"/>
                    <a:pt x="2108" y="840"/>
                    <a:pt x="2085" y="787"/>
                  </a:cubicBezTo>
                  <a:cubicBezTo>
                    <a:pt x="2070" y="734"/>
                    <a:pt x="2047" y="757"/>
                    <a:pt x="2101" y="779"/>
                  </a:cubicBezTo>
                  <a:cubicBezTo>
                    <a:pt x="2131" y="787"/>
                    <a:pt x="2131" y="772"/>
                    <a:pt x="2131" y="749"/>
                  </a:cubicBezTo>
                  <a:cubicBezTo>
                    <a:pt x="2116" y="588"/>
                    <a:pt x="1810" y="512"/>
                    <a:pt x="1681" y="482"/>
                  </a:cubicBezTo>
                  <a:cubicBezTo>
                    <a:pt x="1612" y="474"/>
                    <a:pt x="1619" y="405"/>
                    <a:pt x="1596" y="344"/>
                  </a:cubicBezTo>
                  <a:cubicBezTo>
                    <a:pt x="1574" y="283"/>
                    <a:pt x="1497" y="260"/>
                    <a:pt x="1482" y="191"/>
                  </a:cubicBezTo>
                  <a:cubicBezTo>
                    <a:pt x="1474" y="138"/>
                    <a:pt x="1360" y="115"/>
                    <a:pt x="1314" y="153"/>
                  </a:cubicBezTo>
                  <a:cubicBezTo>
                    <a:pt x="1238" y="214"/>
                    <a:pt x="1161" y="153"/>
                    <a:pt x="1230" y="283"/>
                  </a:cubicBezTo>
                  <a:cubicBezTo>
                    <a:pt x="1230" y="283"/>
                    <a:pt x="1131" y="229"/>
                    <a:pt x="1077" y="252"/>
                  </a:cubicBezTo>
                  <a:cubicBezTo>
                    <a:pt x="1062" y="260"/>
                    <a:pt x="1054" y="306"/>
                    <a:pt x="1069" y="313"/>
                  </a:cubicBezTo>
                  <a:cubicBezTo>
                    <a:pt x="1085" y="329"/>
                    <a:pt x="1100" y="321"/>
                    <a:pt x="1115" y="321"/>
                  </a:cubicBezTo>
                  <a:cubicBezTo>
                    <a:pt x="1138" y="336"/>
                    <a:pt x="1085" y="390"/>
                    <a:pt x="1069" y="398"/>
                  </a:cubicBezTo>
                  <a:cubicBezTo>
                    <a:pt x="1062" y="405"/>
                    <a:pt x="1016" y="413"/>
                    <a:pt x="1016" y="428"/>
                  </a:cubicBezTo>
                  <a:cubicBezTo>
                    <a:pt x="1024" y="451"/>
                    <a:pt x="1085" y="459"/>
                    <a:pt x="1100" y="466"/>
                  </a:cubicBezTo>
                  <a:cubicBezTo>
                    <a:pt x="1131" y="482"/>
                    <a:pt x="1169" y="482"/>
                    <a:pt x="1207" y="482"/>
                  </a:cubicBezTo>
                  <a:cubicBezTo>
                    <a:pt x="1253" y="482"/>
                    <a:pt x="1276" y="520"/>
                    <a:pt x="1306" y="543"/>
                  </a:cubicBezTo>
                  <a:cubicBezTo>
                    <a:pt x="1321" y="550"/>
                    <a:pt x="1337" y="565"/>
                    <a:pt x="1352" y="565"/>
                  </a:cubicBezTo>
                  <a:cubicBezTo>
                    <a:pt x="1352" y="573"/>
                    <a:pt x="1352" y="573"/>
                    <a:pt x="1352" y="573"/>
                  </a:cubicBezTo>
                  <a:cubicBezTo>
                    <a:pt x="1344" y="573"/>
                    <a:pt x="1337" y="581"/>
                    <a:pt x="1337" y="581"/>
                  </a:cubicBezTo>
                  <a:lnTo>
                    <a:pt x="1337" y="581"/>
                  </a:lnTo>
                  <a:cubicBezTo>
                    <a:pt x="1383" y="596"/>
                    <a:pt x="1352" y="642"/>
                    <a:pt x="1421" y="611"/>
                  </a:cubicBezTo>
                  <a:cubicBezTo>
                    <a:pt x="1451" y="596"/>
                    <a:pt x="1520" y="558"/>
                    <a:pt x="1558" y="558"/>
                  </a:cubicBezTo>
                  <a:cubicBezTo>
                    <a:pt x="1596" y="734"/>
                    <a:pt x="1375" y="680"/>
                    <a:pt x="1367" y="726"/>
                  </a:cubicBezTo>
                  <a:cubicBezTo>
                    <a:pt x="1367" y="810"/>
                    <a:pt x="1260" y="840"/>
                    <a:pt x="1268" y="925"/>
                  </a:cubicBezTo>
                  <a:cubicBezTo>
                    <a:pt x="1268" y="993"/>
                    <a:pt x="1413" y="909"/>
                    <a:pt x="1444" y="894"/>
                  </a:cubicBezTo>
                  <a:cubicBezTo>
                    <a:pt x="1459" y="886"/>
                    <a:pt x="1558" y="848"/>
                    <a:pt x="1558" y="863"/>
                  </a:cubicBezTo>
                  <a:cubicBezTo>
                    <a:pt x="1551" y="940"/>
                    <a:pt x="1474" y="978"/>
                    <a:pt x="1398" y="978"/>
                  </a:cubicBezTo>
                  <a:cubicBezTo>
                    <a:pt x="1344" y="986"/>
                    <a:pt x="1276" y="1093"/>
                    <a:pt x="1222" y="993"/>
                  </a:cubicBezTo>
                  <a:lnTo>
                    <a:pt x="1222" y="993"/>
                  </a:lnTo>
                  <a:cubicBezTo>
                    <a:pt x="1222" y="1077"/>
                    <a:pt x="1192" y="1077"/>
                    <a:pt x="1138" y="1024"/>
                  </a:cubicBezTo>
                  <a:cubicBezTo>
                    <a:pt x="1085" y="970"/>
                    <a:pt x="1046" y="978"/>
                    <a:pt x="1001" y="1024"/>
                  </a:cubicBezTo>
                  <a:cubicBezTo>
                    <a:pt x="955" y="1100"/>
                    <a:pt x="1008" y="1115"/>
                    <a:pt x="1046" y="1169"/>
                  </a:cubicBezTo>
                  <a:cubicBezTo>
                    <a:pt x="1077" y="1215"/>
                    <a:pt x="1085" y="1222"/>
                    <a:pt x="1138" y="1200"/>
                  </a:cubicBezTo>
                  <a:cubicBezTo>
                    <a:pt x="1177" y="1184"/>
                    <a:pt x="1192" y="1161"/>
                    <a:pt x="1245" y="1154"/>
                  </a:cubicBezTo>
                  <a:cubicBezTo>
                    <a:pt x="1268" y="1154"/>
                    <a:pt x="1299" y="1154"/>
                    <a:pt x="1321" y="1161"/>
                  </a:cubicBezTo>
                  <a:cubicBezTo>
                    <a:pt x="1360" y="1169"/>
                    <a:pt x="1390" y="1123"/>
                    <a:pt x="1429" y="1123"/>
                  </a:cubicBezTo>
                  <a:cubicBezTo>
                    <a:pt x="1474" y="1123"/>
                    <a:pt x="1482" y="1161"/>
                    <a:pt x="1520" y="1115"/>
                  </a:cubicBezTo>
                  <a:cubicBezTo>
                    <a:pt x="1551" y="1093"/>
                    <a:pt x="1551" y="1093"/>
                    <a:pt x="1551" y="1093"/>
                  </a:cubicBezTo>
                  <a:close/>
                  <a:moveTo>
                    <a:pt x="947" y="986"/>
                  </a:moveTo>
                  <a:lnTo>
                    <a:pt x="947" y="986"/>
                  </a:lnTo>
                  <a:cubicBezTo>
                    <a:pt x="955" y="1009"/>
                    <a:pt x="955" y="1009"/>
                    <a:pt x="955" y="1009"/>
                  </a:cubicBezTo>
                  <a:cubicBezTo>
                    <a:pt x="955" y="1024"/>
                    <a:pt x="947" y="1039"/>
                    <a:pt x="940" y="1054"/>
                  </a:cubicBezTo>
                  <a:cubicBezTo>
                    <a:pt x="940" y="1062"/>
                    <a:pt x="940" y="1070"/>
                    <a:pt x="932" y="1077"/>
                  </a:cubicBezTo>
                  <a:cubicBezTo>
                    <a:pt x="932" y="1085"/>
                    <a:pt x="924" y="1093"/>
                    <a:pt x="917" y="1093"/>
                  </a:cubicBezTo>
                  <a:cubicBezTo>
                    <a:pt x="879" y="1108"/>
                    <a:pt x="871" y="1077"/>
                    <a:pt x="902" y="1054"/>
                  </a:cubicBezTo>
                  <a:cubicBezTo>
                    <a:pt x="909" y="1047"/>
                    <a:pt x="917" y="1039"/>
                    <a:pt x="917" y="1024"/>
                  </a:cubicBezTo>
                  <a:cubicBezTo>
                    <a:pt x="917" y="1001"/>
                    <a:pt x="940" y="1001"/>
                    <a:pt x="947" y="986"/>
                  </a:cubicBezTo>
                  <a:close/>
                  <a:moveTo>
                    <a:pt x="1268" y="573"/>
                  </a:moveTo>
                  <a:lnTo>
                    <a:pt x="1268" y="573"/>
                  </a:lnTo>
                  <a:cubicBezTo>
                    <a:pt x="1283" y="588"/>
                    <a:pt x="1283" y="588"/>
                    <a:pt x="1283" y="588"/>
                  </a:cubicBezTo>
                  <a:cubicBezTo>
                    <a:pt x="1299" y="596"/>
                    <a:pt x="1337" y="627"/>
                    <a:pt x="1329" y="642"/>
                  </a:cubicBezTo>
                  <a:cubicBezTo>
                    <a:pt x="1321" y="642"/>
                    <a:pt x="1314" y="650"/>
                    <a:pt x="1299" y="642"/>
                  </a:cubicBezTo>
                  <a:cubicBezTo>
                    <a:pt x="1283" y="642"/>
                    <a:pt x="1260" y="642"/>
                    <a:pt x="1245" y="634"/>
                  </a:cubicBezTo>
                  <a:cubicBezTo>
                    <a:pt x="1207" y="634"/>
                    <a:pt x="1177" y="619"/>
                    <a:pt x="1138" y="611"/>
                  </a:cubicBezTo>
                  <a:cubicBezTo>
                    <a:pt x="1123" y="604"/>
                    <a:pt x="1077" y="596"/>
                    <a:pt x="1077" y="581"/>
                  </a:cubicBezTo>
                  <a:cubicBezTo>
                    <a:pt x="1085" y="543"/>
                    <a:pt x="1146" y="573"/>
                    <a:pt x="1161" y="573"/>
                  </a:cubicBezTo>
                  <a:cubicBezTo>
                    <a:pt x="1184" y="573"/>
                    <a:pt x="1199" y="565"/>
                    <a:pt x="1215" y="558"/>
                  </a:cubicBezTo>
                  <a:cubicBezTo>
                    <a:pt x="1238" y="550"/>
                    <a:pt x="1245" y="581"/>
                    <a:pt x="1268" y="573"/>
                  </a:cubicBezTo>
                  <a:close/>
                  <a:moveTo>
                    <a:pt x="2223" y="650"/>
                  </a:moveTo>
                  <a:lnTo>
                    <a:pt x="2223" y="650"/>
                  </a:lnTo>
                  <a:cubicBezTo>
                    <a:pt x="2223" y="627"/>
                    <a:pt x="2230" y="588"/>
                    <a:pt x="2253" y="573"/>
                  </a:cubicBezTo>
                  <a:cubicBezTo>
                    <a:pt x="2269" y="558"/>
                    <a:pt x="2292" y="543"/>
                    <a:pt x="2307" y="527"/>
                  </a:cubicBezTo>
                  <a:cubicBezTo>
                    <a:pt x="2330" y="504"/>
                    <a:pt x="2345" y="466"/>
                    <a:pt x="2368" y="451"/>
                  </a:cubicBezTo>
                  <a:cubicBezTo>
                    <a:pt x="2383" y="436"/>
                    <a:pt x="2429" y="398"/>
                    <a:pt x="2452" y="390"/>
                  </a:cubicBezTo>
                  <a:cubicBezTo>
                    <a:pt x="2452" y="421"/>
                    <a:pt x="2414" y="443"/>
                    <a:pt x="2399" y="466"/>
                  </a:cubicBezTo>
                  <a:cubicBezTo>
                    <a:pt x="2376" y="497"/>
                    <a:pt x="2345" y="535"/>
                    <a:pt x="2315" y="565"/>
                  </a:cubicBezTo>
                  <a:cubicBezTo>
                    <a:pt x="2292" y="588"/>
                    <a:pt x="2284" y="611"/>
                    <a:pt x="2261" y="627"/>
                  </a:cubicBezTo>
                  <a:cubicBezTo>
                    <a:pt x="2223" y="650"/>
                    <a:pt x="2223" y="650"/>
                    <a:pt x="2223" y="650"/>
                  </a:cubicBezTo>
                  <a:close/>
                  <a:moveTo>
                    <a:pt x="2643" y="199"/>
                  </a:moveTo>
                  <a:lnTo>
                    <a:pt x="2643" y="199"/>
                  </a:lnTo>
                  <a:cubicBezTo>
                    <a:pt x="2620" y="222"/>
                    <a:pt x="2590" y="245"/>
                    <a:pt x="2574" y="252"/>
                  </a:cubicBezTo>
                  <a:cubicBezTo>
                    <a:pt x="2528" y="275"/>
                    <a:pt x="2544" y="313"/>
                    <a:pt x="2513" y="352"/>
                  </a:cubicBezTo>
                  <a:cubicBezTo>
                    <a:pt x="2490" y="413"/>
                    <a:pt x="2498" y="497"/>
                    <a:pt x="2574" y="459"/>
                  </a:cubicBezTo>
                  <a:cubicBezTo>
                    <a:pt x="2643" y="428"/>
                    <a:pt x="2559" y="543"/>
                    <a:pt x="2505" y="482"/>
                  </a:cubicBezTo>
                  <a:cubicBezTo>
                    <a:pt x="2467" y="443"/>
                    <a:pt x="2460" y="489"/>
                    <a:pt x="2437" y="543"/>
                  </a:cubicBezTo>
                  <a:cubicBezTo>
                    <a:pt x="2429" y="550"/>
                    <a:pt x="2376" y="611"/>
                    <a:pt x="2406" y="611"/>
                  </a:cubicBezTo>
                  <a:cubicBezTo>
                    <a:pt x="2452" y="611"/>
                    <a:pt x="2475" y="550"/>
                    <a:pt x="2475" y="627"/>
                  </a:cubicBezTo>
                  <a:cubicBezTo>
                    <a:pt x="2475" y="673"/>
                    <a:pt x="2521" y="665"/>
                    <a:pt x="2551" y="657"/>
                  </a:cubicBezTo>
                  <a:cubicBezTo>
                    <a:pt x="2528" y="680"/>
                    <a:pt x="2498" y="688"/>
                    <a:pt x="2460" y="688"/>
                  </a:cubicBezTo>
                  <a:cubicBezTo>
                    <a:pt x="2452" y="688"/>
                    <a:pt x="2315" y="802"/>
                    <a:pt x="2276" y="818"/>
                  </a:cubicBezTo>
                  <a:cubicBezTo>
                    <a:pt x="2238" y="833"/>
                    <a:pt x="2177" y="894"/>
                    <a:pt x="2246" y="902"/>
                  </a:cubicBezTo>
                  <a:cubicBezTo>
                    <a:pt x="2315" y="917"/>
                    <a:pt x="2269" y="909"/>
                    <a:pt x="2284" y="955"/>
                  </a:cubicBezTo>
                  <a:cubicBezTo>
                    <a:pt x="2292" y="986"/>
                    <a:pt x="2230" y="1070"/>
                    <a:pt x="2200" y="1077"/>
                  </a:cubicBezTo>
                  <a:cubicBezTo>
                    <a:pt x="2093" y="1093"/>
                    <a:pt x="2146" y="1123"/>
                    <a:pt x="2131" y="1200"/>
                  </a:cubicBezTo>
                  <a:cubicBezTo>
                    <a:pt x="2101" y="1253"/>
                    <a:pt x="2108" y="1307"/>
                    <a:pt x="2116" y="1352"/>
                  </a:cubicBezTo>
                  <a:cubicBezTo>
                    <a:pt x="2124" y="1368"/>
                    <a:pt x="2116" y="1452"/>
                    <a:pt x="2131" y="1429"/>
                  </a:cubicBezTo>
                  <a:cubicBezTo>
                    <a:pt x="2162" y="1390"/>
                    <a:pt x="2154" y="1291"/>
                    <a:pt x="2177" y="1245"/>
                  </a:cubicBezTo>
                  <a:cubicBezTo>
                    <a:pt x="2200" y="1184"/>
                    <a:pt x="2185" y="1253"/>
                    <a:pt x="2207" y="1261"/>
                  </a:cubicBezTo>
                  <a:cubicBezTo>
                    <a:pt x="2223" y="1268"/>
                    <a:pt x="2299" y="1245"/>
                    <a:pt x="2315" y="1230"/>
                  </a:cubicBezTo>
                  <a:cubicBezTo>
                    <a:pt x="2315" y="1268"/>
                    <a:pt x="2246" y="1329"/>
                    <a:pt x="2246" y="1375"/>
                  </a:cubicBezTo>
                  <a:cubicBezTo>
                    <a:pt x="2246" y="1429"/>
                    <a:pt x="2207" y="1513"/>
                    <a:pt x="2185" y="1559"/>
                  </a:cubicBezTo>
                  <a:cubicBezTo>
                    <a:pt x="2169" y="1582"/>
                    <a:pt x="2154" y="1627"/>
                    <a:pt x="2200" y="1597"/>
                  </a:cubicBezTo>
                  <a:cubicBezTo>
                    <a:pt x="2223" y="1574"/>
                    <a:pt x="2246" y="1505"/>
                    <a:pt x="2276" y="1505"/>
                  </a:cubicBezTo>
                  <a:cubicBezTo>
                    <a:pt x="2261" y="1536"/>
                    <a:pt x="2238" y="1589"/>
                    <a:pt x="2238" y="1627"/>
                  </a:cubicBezTo>
                  <a:cubicBezTo>
                    <a:pt x="2238" y="1650"/>
                    <a:pt x="2269" y="1688"/>
                    <a:pt x="2253" y="1711"/>
                  </a:cubicBezTo>
                  <a:cubicBezTo>
                    <a:pt x="2238" y="1727"/>
                    <a:pt x="2207" y="1727"/>
                    <a:pt x="2200" y="1749"/>
                  </a:cubicBezTo>
                  <a:cubicBezTo>
                    <a:pt x="2055" y="2017"/>
                    <a:pt x="2055" y="2017"/>
                    <a:pt x="2055" y="2017"/>
                  </a:cubicBezTo>
                  <a:cubicBezTo>
                    <a:pt x="2055" y="2047"/>
                    <a:pt x="2017" y="2116"/>
                    <a:pt x="2040" y="2139"/>
                  </a:cubicBezTo>
                  <a:cubicBezTo>
                    <a:pt x="2063" y="2162"/>
                    <a:pt x="2078" y="2307"/>
                    <a:pt x="2093" y="2284"/>
                  </a:cubicBezTo>
                  <a:cubicBezTo>
                    <a:pt x="2101" y="2269"/>
                    <a:pt x="2185" y="2147"/>
                    <a:pt x="2177" y="2215"/>
                  </a:cubicBezTo>
                  <a:cubicBezTo>
                    <a:pt x="2162" y="2269"/>
                    <a:pt x="2154" y="2299"/>
                    <a:pt x="2131" y="2345"/>
                  </a:cubicBezTo>
                  <a:cubicBezTo>
                    <a:pt x="2093" y="2422"/>
                    <a:pt x="2070" y="2468"/>
                    <a:pt x="2108" y="2544"/>
                  </a:cubicBezTo>
                  <a:cubicBezTo>
                    <a:pt x="2131" y="2590"/>
                    <a:pt x="2154" y="2636"/>
                    <a:pt x="2200" y="2636"/>
                  </a:cubicBezTo>
                  <a:cubicBezTo>
                    <a:pt x="2200" y="2674"/>
                    <a:pt x="2185" y="2804"/>
                    <a:pt x="2139" y="2811"/>
                  </a:cubicBezTo>
                  <a:cubicBezTo>
                    <a:pt x="2009" y="2834"/>
                    <a:pt x="2124" y="2903"/>
                    <a:pt x="2070" y="2979"/>
                  </a:cubicBezTo>
                  <a:cubicBezTo>
                    <a:pt x="2063" y="3010"/>
                    <a:pt x="2063" y="3033"/>
                    <a:pt x="2063" y="3063"/>
                  </a:cubicBezTo>
                  <a:cubicBezTo>
                    <a:pt x="1978" y="3170"/>
                    <a:pt x="2032" y="3346"/>
                    <a:pt x="2017" y="3476"/>
                  </a:cubicBezTo>
                  <a:cubicBezTo>
                    <a:pt x="2001" y="3583"/>
                    <a:pt x="1917" y="3575"/>
                    <a:pt x="1887" y="3659"/>
                  </a:cubicBezTo>
                  <a:cubicBezTo>
                    <a:pt x="1864" y="3720"/>
                    <a:pt x="1879" y="3843"/>
                    <a:pt x="1879" y="3904"/>
                  </a:cubicBezTo>
                  <a:cubicBezTo>
                    <a:pt x="1925" y="3934"/>
                    <a:pt x="1986" y="3972"/>
                    <a:pt x="2047" y="3934"/>
                  </a:cubicBezTo>
                  <a:cubicBezTo>
                    <a:pt x="2078" y="3911"/>
                    <a:pt x="2124" y="3896"/>
                    <a:pt x="2154" y="3904"/>
                  </a:cubicBezTo>
                  <a:cubicBezTo>
                    <a:pt x="2215" y="3904"/>
                    <a:pt x="2276" y="3835"/>
                    <a:pt x="2307" y="3797"/>
                  </a:cubicBezTo>
                  <a:cubicBezTo>
                    <a:pt x="2353" y="3751"/>
                    <a:pt x="2299" y="3674"/>
                    <a:pt x="2292" y="3621"/>
                  </a:cubicBezTo>
                  <a:cubicBezTo>
                    <a:pt x="2269" y="3598"/>
                    <a:pt x="2238" y="3590"/>
                    <a:pt x="2207" y="3590"/>
                  </a:cubicBezTo>
                  <a:cubicBezTo>
                    <a:pt x="2207" y="3568"/>
                    <a:pt x="2315" y="3575"/>
                    <a:pt x="2299" y="3506"/>
                  </a:cubicBezTo>
                  <a:cubicBezTo>
                    <a:pt x="2292" y="3460"/>
                    <a:pt x="2338" y="3437"/>
                    <a:pt x="2345" y="3392"/>
                  </a:cubicBezTo>
                  <a:cubicBezTo>
                    <a:pt x="2353" y="3315"/>
                    <a:pt x="2376" y="3247"/>
                    <a:pt x="2376" y="3170"/>
                  </a:cubicBezTo>
                  <a:cubicBezTo>
                    <a:pt x="2376" y="3109"/>
                    <a:pt x="2444" y="3201"/>
                    <a:pt x="2414" y="3101"/>
                  </a:cubicBezTo>
                  <a:cubicBezTo>
                    <a:pt x="2391" y="3010"/>
                    <a:pt x="2421" y="2888"/>
                    <a:pt x="2452" y="2804"/>
                  </a:cubicBezTo>
                  <a:cubicBezTo>
                    <a:pt x="2475" y="2750"/>
                    <a:pt x="2498" y="2697"/>
                    <a:pt x="2544" y="2666"/>
                  </a:cubicBezTo>
                  <a:cubicBezTo>
                    <a:pt x="2582" y="2636"/>
                    <a:pt x="2635" y="2636"/>
                    <a:pt x="2651" y="2582"/>
                  </a:cubicBezTo>
                  <a:cubicBezTo>
                    <a:pt x="2651" y="2483"/>
                    <a:pt x="2513" y="2338"/>
                    <a:pt x="2482" y="2246"/>
                  </a:cubicBezTo>
                  <a:cubicBezTo>
                    <a:pt x="2444" y="2124"/>
                    <a:pt x="2437" y="2024"/>
                    <a:pt x="2437" y="1902"/>
                  </a:cubicBezTo>
                  <a:cubicBezTo>
                    <a:pt x="2544" y="1963"/>
                    <a:pt x="2574" y="1948"/>
                    <a:pt x="2620" y="1834"/>
                  </a:cubicBezTo>
                  <a:cubicBezTo>
                    <a:pt x="2635" y="1795"/>
                    <a:pt x="2681" y="1788"/>
                    <a:pt x="2696" y="1734"/>
                  </a:cubicBezTo>
                  <a:cubicBezTo>
                    <a:pt x="2704" y="1704"/>
                    <a:pt x="2750" y="1665"/>
                    <a:pt x="2765" y="1627"/>
                  </a:cubicBezTo>
                  <a:cubicBezTo>
                    <a:pt x="2788" y="1574"/>
                    <a:pt x="2849" y="1551"/>
                    <a:pt x="2895" y="1536"/>
                  </a:cubicBezTo>
                  <a:cubicBezTo>
                    <a:pt x="2964" y="1505"/>
                    <a:pt x="2979" y="1383"/>
                    <a:pt x="3010" y="1329"/>
                  </a:cubicBezTo>
                  <a:cubicBezTo>
                    <a:pt x="3025" y="1299"/>
                    <a:pt x="3162" y="1261"/>
                    <a:pt x="3185" y="1261"/>
                  </a:cubicBezTo>
                  <a:cubicBezTo>
                    <a:pt x="3178" y="1261"/>
                    <a:pt x="3086" y="1337"/>
                    <a:pt x="3071" y="1352"/>
                  </a:cubicBezTo>
                  <a:cubicBezTo>
                    <a:pt x="3010" y="1436"/>
                    <a:pt x="3017" y="1520"/>
                    <a:pt x="2910" y="1574"/>
                  </a:cubicBezTo>
                  <a:cubicBezTo>
                    <a:pt x="2887" y="1582"/>
                    <a:pt x="2849" y="1582"/>
                    <a:pt x="2834" y="1612"/>
                  </a:cubicBezTo>
                  <a:cubicBezTo>
                    <a:pt x="2803" y="1673"/>
                    <a:pt x="2811" y="1688"/>
                    <a:pt x="2750" y="1727"/>
                  </a:cubicBezTo>
                  <a:cubicBezTo>
                    <a:pt x="2704" y="1757"/>
                    <a:pt x="2681" y="1879"/>
                    <a:pt x="2643" y="1925"/>
                  </a:cubicBezTo>
                  <a:cubicBezTo>
                    <a:pt x="2597" y="1986"/>
                    <a:pt x="2590" y="2086"/>
                    <a:pt x="2590" y="2162"/>
                  </a:cubicBezTo>
                  <a:cubicBezTo>
                    <a:pt x="2620" y="2276"/>
                    <a:pt x="2597" y="2345"/>
                    <a:pt x="2719" y="2399"/>
                  </a:cubicBezTo>
                  <a:cubicBezTo>
                    <a:pt x="2750" y="2414"/>
                    <a:pt x="2773" y="2445"/>
                    <a:pt x="2803" y="2452"/>
                  </a:cubicBezTo>
                  <a:cubicBezTo>
                    <a:pt x="2849" y="2468"/>
                    <a:pt x="2811" y="2414"/>
                    <a:pt x="2796" y="2391"/>
                  </a:cubicBezTo>
                  <a:cubicBezTo>
                    <a:pt x="2765" y="2322"/>
                    <a:pt x="2757" y="2276"/>
                    <a:pt x="2803" y="2223"/>
                  </a:cubicBezTo>
                  <a:cubicBezTo>
                    <a:pt x="2826" y="2185"/>
                    <a:pt x="2811" y="2078"/>
                    <a:pt x="2872" y="2154"/>
                  </a:cubicBezTo>
                  <a:cubicBezTo>
                    <a:pt x="2903" y="2185"/>
                    <a:pt x="2941" y="2200"/>
                    <a:pt x="2979" y="2231"/>
                  </a:cubicBezTo>
                  <a:cubicBezTo>
                    <a:pt x="3032" y="2292"/>
                    <a:pt x="3025" y="2208"/>
                    <a:pt x="3010" y="2170"/>
                  </a:cubicBezTo>
                  <a:cubicBezTo>
                    <a:pt x="2994" y="2139"/>
                    <a:pt x="2987" y="2101"/>
                    <a:pt x="2971" y="2070"/>
                  </a:cubicBezTo>
                  <a:cubicBezTo>
                    <a:pt x="2949" y="2032"/>
                    <a:pt x="2941" y="1986"/>
                    <a:pt x="2987" y="2055"/>
                  </a:cubicBezTo>
                  <a:cubicBezTo>
                    <a:pt x="3032" y="2101"/>
                    <a:pt x="3055" y="2185"/>
                    <a:pt x="3071" y="2246"/>
                  </a:cubicBezTo>
                  <a:cubicBezTo>
                    <a:pt x="3086" y="2284"/>
                    <a:pt x="3048" y="2338"/>
                    <a:pt x="3094" y="2338"/>
                  </a:cubicBezTo>
                  <a:cubicBezTo>
                    <a:pt x="3116" y="2338"/>
                    <a:pt x="3162" y="2361"/>
                    <a:pt x="3178" y="2345"/>
                  </a:cubicBezTo>
                  <a:cubicBezTo>
                    <a:pt x="3208" y="2307"/>
                    <a:pt x="3231" y="2193"/>
                    <a:pt x="3254" y="2139"/>
                  </a:cubicBezTo>
                  <a:cubicBezTo>
                    <a:pt x="3269" y="2116"/>
                    <a:pt x="3277" y="2086"/>
                    <a:pt x="3277" y="2055"/>
                  </a:cubicBezTo>
                  <a:cubicBezTo>
                    <a:pt x="3285" y="2032"/>
                    <a:pt x="3239" y="2040"/>
                    <a:pt x="3231" y="2017"/>
                  </a:cubicBezTo>
                  <a:cubicBezTo>
                    <a:pt x="3330" y="2040"/>
                    <a:pt x="3292" y="1986"/>
                    <a:pt x="3285" y="1918"/>
                  </a:cubicBezTo>
                  <a:cubicBezTo>
                    <a:pt x="3300" y="1841"/>
                    <a:pt x="3338" y="1772"/>
                    <a:pt x="3315" y="1704"/>
                  </a:cubicBezTo>
                  <a:cubicBezTo>
                    <a:pt x="3300" y="1650"/>
                    <a:pt x="3292" y="1627"/>
                    <a:pt x="3292" y="1574"/>
                  </a:cubicBezTo>
                  <a:cubicBezTo>
                    <a:pt x="3285" y="1444"/>
                    <a:pt x="3338" y="1643"/>
                    <a:pt x="3353" y="1673"/>
                  </a:cubicBezTo>
                  <a:cubicBezTo>
                    <a:pt x="3353" y="1688"/>
                    <a:pt x="3430" y="1520"/>
                    <a:pt x="3460" y="1490"/>
                  </a:cubicBezTo>
                  <a:cubicBezTo>
                    <a:pt x="3460" y="1551"/>
                    <a:pt x="3399" y="1673"/>
                    <a:pt x="3376" y="1727"/>
                  </a:cubicBezTo>
                  <a:cubicBezTo>
                    <a:pt x="3353" y="1780"/>
                    <a:pt x="3338" y="2032"/>
                    <a:pt x="3399" y="2017"/>
                  </a:cubicBezTo>
                  <a:cubicBezTo>
                    <a:pt x="3445" y="2009"/>
                    <a:pt x="3552" y="2009"/>
                    <a:pt x="3476" y="1956"/>
                  </a:cubicBezTo>
                  <a:cubicBezTo>
                    <a:pt x="3437" y="1925"/>
                    <a:pt x="3407" y="1857"/>
                    <a:pt x="3407" y="1811"/>
                  </a:cubicBezTo>
                  <a:cubicBezTo>
                    <a:pt x="3445" y="1841"/>
                    <a:pt x="3499" y="1933"/>
                    <a:pt x="3537" y="1948"/>
                  </a:cubicBezTo>
                  <a:cubicBezTo>
                    <a:pt x="3590" y="1963"/>
                    <a:pt x="3590" y="1979"/>
                    <a:pt x="3605" y="2024"/>
                  </a:cubicBezTo>
                  <a:cubicBezTo>
                    <a:pt x="3628" y="2086"/>
                    <a:pt x="3720" y="2109"/>
                    <a:pt x="3804" y="2132"/>
                  </a:cubicBezTo>
                  <a:lnTo>
                    <a:pt x="3804" y="2132"/>
                  </a:lnTo>
                  <a:cubicBezTo>
                    <a:pt x="3804" y="2124"/>
                    <a:pt x="3804" y="2124"/>
                    <a:pt x="3804" y="2124"/>
                  </a:cubicBezTo>
                  <a:lnTo>
                    <a:pt x="3804" y="2124"/>
                  </a:lnTo>
                  <a:cubicBezTo>
                    <a:pt x="3819" y="2101"/>
                    <a:pt x="3842" y="2078"/>
                    <a:pt x="3842" y="2055"/>
                  </a:cubicBezTo>
                  <a:cubicBezTo>
                    <a:pt x="3850" y="2040"/>
                    <a:pt x="3842" y="2017"/>
                    <a:pt x="3835" y="2001"/>
                  </a:cubicBezTo>
                  <a:cubicBezTo>
                    <a:pt x="3819" y="1979"/>
                    <a:pt x="3781" y="1963"/>
                    <a:pt x="3781" y="1940"/>
                  </a:cubicBezTo>
                  <a:cubicBezTo>
                    <a:pt x="3781" y="1925"/>
                    <a:pt x="3819" y="1940"/>
                    <a:pt x="3835" y="1933"/>
                  </a:cubicBezTo>
                  <a:cubicBezTo>
                    <a:pt x="3850" y="1925"/>
                    <a:pt x="3865" y="1910"/>
                    <a:pt x="3865" y="1895"/>
                  </a:cubicBezTo>
                  <a:cubicBezTo>
                    <a:pt x="3873" y="1872"/>
                    <a:pt x="3850" y="1849"/>
                    <a:pt x="3842" y="1826"/>
                  </a:cubicBezTo>
                  <a:cubicBezTo>
                    <a:pt x="3842" y="1795"/>
                    <a:pt x="3857" y="1765"/>
                    <a:pt x="3865" y="1734"/>
                  </a:cubicBezTo>
                  <a:lnTo>
                    <a:pt x="3865" y="1734"/>
                  </a:lnTo>
                  <a:cubicBezTo>
                    <a:pt x="3850" y="1704"/>
                    <a:pt x="3842" y="1665"/>
                    <a:pt x="3819" y="1650"/>
                  </a:cubicBezTo>
                  <a:cubicBezTo>
                    <a:pt x="3789" y="1627"/>
                    <a:pt x="3735" y="1658"/>
                    <a:pt x="3705" y="1627"/>
                  </a:cubicBezTo>
                  <a:cubicBezTo>
                    <a:pt x="3674" y="1597"/>
                    <a:pt x="3674" y="1543"/>
                    <a:pt x="3659" y="1505"/>
                  </a:cubicBezTo>
                  <a:cubicBezTo>
                    <a:pt x="3643" y="1475"/>
                    <a:pt x="3621" y="1444"/>
                    <a:pt x="3621" y="1406"/>
                  </a:cubicBezTo>
                  <a:cubicBezTo>
                    <a:pt x="3613" y="1383"/>
                    <a:pt x="3628" y="1352"/>
                    <a:pt x="3628" y="1322"/>
                  </a:cubicBezTo>
                  <a:cubicBezTo>
                    <a:pt x="3628" y="1276"/>
                    <a:pt x="3598" y="1230"/>
                    <a:pt x="3613" y="1184"/>
                  </a:cubicBezTo>
                  <a:cubicBezTo>
                    <a:pt x="3613" y="1169"/>
                    <a:pt x="3659" y="1200"/>
                    <a:pt x="3659" y="1184"/>
                  </a:cubicBezTo>
                  <a:cubicBezTo>
                    <a:pt x="3674" y="1161"/>
                    <a:pt x="3643" y="1138"/>
                    <a:pt x="3643" y="1115"/>
                  </a:cubicBezTo>
                  <a:cubicBezTo>
                    <a:pt x="3643" y="1093"/>
                    <a:pt x="3682" y="1070"/>
                    <a:pt x="3666" y="1054"/>
                  </a:cubicBezTo>
                  <a:cubicBezTo>
                    <a:pt x="3636" y="1032"/>
                    <a:pt x="3590" y="1039"/>
                    <a:pt x="3560" y="1039"/>
                  </a:cubicBezTo>
                  <a:cubicBezTo>
                    <a:pt x="3529" y="1032"/>
                    <a:pt x="3499" y="1054"/>
                    <a:pt x="3476" y="1047"/>
                  </a:cubicBezTo>
                  <a:cubicBezTo>
                    <a:pt x="3460" y="1039"/>
                    <a:pt x="3483" y="1016"/>
                    <a:pt x="3476" y="1009"/>
                  </a:cubicBezTo>
                  <a:cubicBezTo>
                    <a:pt x="3453" y="970"/>
                    <a:pt x="3399" y="955"/>
                    <a:pt x="3384" y="917"/>
                  </a:cubicBezTo>
                  <a:cubicBezTo>
                    <a:pt x="3376" y="894"/>
                    <a:pt x="3407" y="871"/>
                    <a:pt x="3414" y="856"/>
                  </a:cubicBezTo>
                  <a:cubicBezTo>
                    <a:pt x="3445" y="818"/>
                    <a:pt x="3476" y="772"/>
                    <a:pt x="3514" y="741"/>
                  </a:cubicBezTo>
                  <a:cubicBezTo>
                    <a:pt x="3521" y="734"/>
                    <a:pt x="3544" y="757"/>
                    <a:pt x="3552" y="741"/>
                  </a:cubicBezTo>
                  <a:cubicBezTo>
                    <a:pt x="3567" y="726"/>
                    <a:pt x="3552" y="696"/>
                    <a:pt x="3567" y="680"/>
                  </a:cubicBezTo>
                  <a:cubicBezTo>
                    <a:pt x="3575" y="673"/>
                    <a:pt x="3582" y="665"/>
                    <a:pt x="3598" y="665"/>
                  </a:cubicBezTo>
                  <a:cubicBezTo>
                    <a:pt x="3621" y="665"/>
                    <a:pt x="3636" y="688"/>
                    <a:pt x="3651" y="680"/>
                  </a:cubicBezTo>
                  <a:cubicBezTo>
                    <a:pt x="3674" y="680"/>
                    <a:pt x="3682" y="650"/>
                    <a:pt x="3697" y="634"/>
                  </a:cubicBezTo>
                  <a:lnTo>
                    <a:pt x="3697" y="634"/>
                  </a:lnTo>
                  <a:cubicBezTo>
                    <a:pt x="3674" y="627"/>
                    <a:pt x="3636" y="627"/>
                    <a:pt x="3636" y="596"/>
                  </a:cubicBezTo>
                  <a:cubicBezTo>
                    <a:pt x="3628" y="558"/>
                    <a:pt x="3689" y="527"/>
                    <a:pt x="3682" y="482"/>
                  </a:cubicBezTo>
                  <a:cubicBezTo>
                    <a:pt x="3682" y="459"/>
                    <a:pt x="3636" y="466"/>
                    <a:pt x="3621" y="443"/>
                  </a:cubicBezTo>
                  <a:cubicBezTo>
                    <a:pt x="3613" y="436"/>
                    <a:pt x="3613" y="421"/>
                    <a:pt x="3628" y="413"/>
                  </a:cubicBezTo>
                  <a:cubicBezTo>
                    <a:pt x="3674" y="398"/>
                    <a:pt x="3720" y="382"/>
                    <a:pt x="3773" y="367"/>
                  </a:cubicBezTo>
                  <a:cubicBezTo>
                    <a:pt x="3796" y="367"/>
                    <a:pt x="3842" y="398"/>
                    <a:pt x="3842" y="367"/>
                  </a:cubicBezTo>
                  <a:cubicBezTo>
                    <a:pt x="3850" y="336"/>
                    <a:pt x="3812" y="306"/>
                    <a:pt x="3789" y="283"/>
                  </a:cubicBezTo>
                  <a:cubicBezTo>
                    <a:pt x="3773" y="268"/>
                    <a:pt x="3751" y="260"/>
                    <a:pt x="3735" y="245"/>
                  </a:cubicBezTo>
                  <a:lnTo>
                    <a:pt x="3735" y="245"/>
                  </a:lnTo>
                  <a:cubicBezTo>
                    <a:pt x="3697" y="252"/>
                    <a:pt x="3651" y="252"/>
                    <a:pt x="3621" y="268"/>
                  </a:cubicBezTo>
                  <a:cubicBezTo>
                    <a:pt x="3598" y="275"/>
                    <a:pt x="3590" y="313"/>
                    <a:pt x="3567" y="321"/>
                  </a:cubicBezTo>
                  <a:cubicBezTo>
                    <a:pt x="3552" y="329"/>
                    <a:pt x="3521" y="313"/>
                    <a:pt x="3499" y="321"/>
                  </a:cubicBezTo>
                  <a:cubicBezTo>
                    <a:pt x="3476" y="329"/>
                    <a:pt x="3468" y="352"/>
                    <a:pt x="3445" y="359"/>
                  </a:cubicBezTo>
                  <a:cubicBezTo>
                    <a:pt x="3414" y="375"/>
                    <a:pt x="3376" y="375"/>
                    <a:pt x="3346" y="367"/>
                  </a:cubicBezTo>
                  <a:cubicBezTo>
                    <a:pt x="3315" y="367"/>
                    <a:pt x="3277" y="336"/>
                    <a:pt x="3239" y="344"/>
                  </a:cubicBezTo>
                  <a:cubicBezTo>
                    <a:pt x="3216" y="352"/>
                    <a:pt x="3216" y="375"/>
                    <a:pt x="3201" y="390"/>
                  </a:cubicBezTo>
                  <a:cubicBezTo>
                    <a:pt x="3178" y="413"/>
                    <a:pt x="3155" y="443"/>
                    <a:pt x="3132" y="451"/>
                  </a:cubicBezTo>
                  <a:cubicBezTo>
                    <a:pt x="3101" y="466"/>
                    <a:pt x="3071" y="474"/>
                    <a:pt x="3040" y="474"/>
                  </a:cubicBezTo>
                  <a:cubicBezTo>
                    <a:pt x="3025" y="474"/>
                    <a:pt x="3010" y="474"/>
                    <a:pt x="2994" y="466"/>
                  </a:cubicBezTo>
                  <a:cubicBezTo>
                    <a:pt x="2979" y="459"/>
                    <a:pt x="2971" y="436"/>
                    <a:pt x="2971" y="421"/>
                  </a:cubicBezTo>
                  <a:cubicBezTo>
                    <a:pt x="2971" y="405"/>
                    <a:pt x="2994" y="405"/>
                    <a:pt x="2994" y="390"/>
                  </a:cubicBezTo>
                  <a:cubicBezTo>
                    <a:pt x="3002" y="367"/>
                    <a:pt x="2971" y="352"/>
                    <a:pt x="2971" y="329"/>
                  </a:cubicBezTo>
                  <a:cubicBezTo>
                    <a:pt x="2979" y="298"/>
                    <a:pt x="3017" y="283"/>
                    <a:pt x="3017" y="252"/>
                  </a:cubicBezTo>
                  <a:cubicBezTo>
                    <a:pt x="3017" y="237"/>
                    <a:pt x="2994" y="237"/>
                    <a:pt x="2979" y="237"/>
                  </a:cubicBezTo>
                  <a:cubicBezTo>
                    <a:pt x="2956" y="229"/>
                    <a:pt x="2933" y="245"/>
                    <a:pt x="2910" y="229"/>
                  </a:cubicBezTo>
                  <a:cubicBezTo>
                    <a:pt x="2903" y="222"/>
                    <a:pt x="2926" y="199"/>
                    <a:pt x="2910" y="199"/>
                  </a:cubicBezTo>
                  <a:cubicBezTo>
                    <a:pt x="2887" y="184"/>
                    <a:pt x="2849" y="168"/>
                    <a:pt x="2819" y="184"/>
                  </a:cubicBezTo>
                  <a:cubicBezTo>
                    <a:pt x="2803" y="199"/>
                    <a:pt x="2826" y="229"/>
                    <a:pt x="2819" y="252"/>
                  </a:cubicBezTo>
                  <a:cubicBezTo>
                    <a:pt x="2819" y="260"/>
                    <a:pt x="2819" y="283"/>
                    <a:pt x="2803" y="283"/>
                  </a:cubicBezTo>
                  <a:cubicBezTo>
                    <a:pt x="2780" y="283"/>
                    <a:pt x="2757" y="268"/>
                    <a:pt x="2727" y="268"/>
                  </a:cubicBezTo>
                  <a:cubicBezTo>
                    <a:pt x="2719" y="268"/>
                    <a:pt x="2704" y="283"/>
                    <a:pt x="2689" y="275"/>
                  </a:cubicBezTo>
                  <a:cubicBezTo>
                    <a:pt x="2666" y="252"/>
                    <a:pt x="2658" y="222"/>
                    <a:pt x="2643" y="19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9" name="Freeform 191"/>
            <p:cNvSpPr>
              <a:spLocks noChangeArrowheads="1"/>
            </p:cNvSpPr>
            <p:nvPr/>
          </p:nvSpPr>
          <p:spPr bwMode="auto">
            <a:xfrm>
              <a:off x="6043220" y="3697289"/>
              <a:ext cx="547651" cy="530225"/>
            </a:xfrm>
            <a:custGeom>
              <a:avLst/>
              <a:gdLst>
                <a:gd name="T0" fmla="*/ 869 w 1520"/>
                <a:gd name="T1" fmla="*/ 1436 h 1475"/>
                <a:gd name="T2" fmla="*/ 869 w 1520"/>
                <a:gd name="T3" fmla="*/ 1436 h 1475"/>
                <a:gd name="T4" fmla="*/ 801 w 1520"/>
                <a:gd name="T5" fmla="*/ 1336 h 1475"/>
                <a:gd name="T6" fmla="*/ 602 w 1520"/>
                <a:gd name="T7" fmla="*/ 1344 h 1475"/>
                <a:gd name="T8" fmla="*/ 526 w 1520"/>
                <a:gd name="T9" fmla="*/ 1359 h 1475"/>
                <a:gd name="T10" fmla="*/ 449 w 1520"/>
                <a:gd name="T11" fmla="*/ 1390 h 1475"/>
                <a:gd name="T12" fmla="*/ 449 w 1520"/>
                <a:gd name="T13" fmla="*/ 1390 h 1475"/>
                <a:gd name="T14" fmla="*/ 312 w 1520"/>
                <a:gd name="T15" fmla="*/ 1352 h 1475"/>
                <a:gd name="T16" fmla="*/ 296 w 1520"/>
                <a:gd name="T17" fmla="*/ 1291 h 1475"/>
                <a:gd name="T18" fmla="*/ 342 w 1520"/>
                <a:gd name="T19" fmla="*/ 1275 h 1475"/>
                <a:gd name="T20" fmla="*/ 350 w 1520"/>
                <a:gd name="T21" fmla="*/ 1245 h 1475"/>
                <a:gd name="T22" fmla="*/ 327 w 1520"/>
                <a:gd name="T23" fmla="*/ 1169 h 1475"/>
                <a:gd name="T24" fmla="*/ 449 w 1520"/>
                <a:gd name="T25" fmla="*/ 1084 h 1475"/>
                <a:gd name="T26" fmla="*/ 457 w 1520"/>
                <a:gd name="T27" fmla="*/ 1046 h 1475"/>
                <a:gd name="T28" fmla="*/ 358 w 1520"/>
                <a:gd name="T29" fmla="*/ 1077 h 1475"/>
                <a:gd name="T30" fmla="*/ 350 w 1520"/>
                <a:gd name="T31" fmla="*/ 1031 h 1475"/>
                <a:gd name="T32" fmla="*/ 358 w 1520"/>
                <a:gd name="T33" fmla="*/ 993 h 1475"/>
                <a:gd name="T34" fmla="*/ 373 w 1520"/>
                <a:gd name="T35" fmla="*/ 939 h 1475"/>
                <a:gd name="T36" fmla="*/ 175 w 1520"/>
                <a:gd name="T37" fmla="*/ 878 h 1475"/>
                <a:gd name="T38" fmla="*/ 122 w 1520"/>
                <a:gd name="T39" fmla="*/ 779 h 1475"/>
                <a:gd name="T40" fmla="*/ 84 w 1520"/>
                <a:gd name="T41" fmla="*/ 748 h 1475"/>
                <a:gd name="T42" fmla="*/ 45 w 1520"/>
                <a:gd name="T43" fmla="*/ 657 h 1475"/>
                <a:gd name="T44" fmla="*/ 7 w 1520"/>
                <a:gd name="T45" fmla="*/ 611 h 1475"/>
                <a:gd name="T46" fmla="*/ 61 w 1520"/>
                <a:gd name="T47" fmla="*/ 504 h 1475"/>
                <a:gd name="T48" fmla="*/ 45 w 1520"/>
                <a:gd name="T49" fmla="*/ 443 h 1475"/>
                <a:gd name="T50" fmla="*/ 7 w 1520"/>
                <a:gd name="T51" fmla="*/ 405 h 1475"/>
                <a:gd name="T52" fmla="*/ 15 w 1520"/>
                <a:gd name="T53" fmla="*/ 313 h 1475"/>
                <a:gd name="T54" fmla="*/ 15 w 1520"/>
                <a:gd name="T55" fmla="*/ 313 h 1475"/>
                <a:gd name="T56" fmla="*/ 61 w 1520"/>
                <a:gd name="T57" fmla="*/ 252 h 1475"/>
                <a:gd name="T58" fmla="*/ 160 w 1520"/>
                <a:gd name="T59" fmla="*/ 214 h 1475"/>
                <a:gd name="T60" fmla="*/ 153 w 1520"/>
                <a:gd name="T61" fmla="*/ 160 h 1475"/>
                <a:gd name="T62" fmla="*/ 198 w 1520"/>
                <a:gd name="T63" fmla="*/ 175 h 1475"/>
                <a:gd name="T64" fmla="*/ 304 w 1520"/>
                <a:gd name="T65" fmla="*/ 214 h 1475"/>
                <a:gd name="T66" fmla="*/ 365 w 1520"/>
                <a:gd name="T67" fmla="*/ 214 h 1475"/>
                <a:gd name="T68" fmla="*/ 404 w 1520"/>
                <a:gd name="T69" fmla="*/ 267 h 1475"/>
                <a:gd name="T70" fmla="*/ 434 w 1520"/>
                <a:gd name="T71" fmla="*/ 252 h 1475"/>
                <a:gd name="T72" fmla="*/ 449 w 1520"/>
                <a:gd name="T73" fmla="*/ 145 h 1475"/>
                <a:gd name="T74" fmla="*/ 480 w 1520"/>
                <a:gd name="T75" fmla="*/ 76 h 1475"/>
                <a:gd name="T76" fmla="*/ 526 w 1520"/>
                <a:gd name="T77" fmla="*/ 53 h 1475"/>
                <a:gd name="T78" fmla="*/ 717 w 1520"/>
                <a:gd name="T79" fmla="*/ 23 h 1475"/>
                <a:gd name="T80" fmla="*/ 778 w 1520"/>
                <a:gd name="T81" fmla="*/ 0 h 1475"/>
                <a:gd name="T82" fmla="*/ 862 w 1520"/>
                <a:gd name="T83" fmla="*/ 23 h 1475"/>
                <a:gd name="T84" fmla="*/ 915 w 1520"/>
                <a:gd name="T85" fmla="*/ 69 h 1475"/>
                <a:gd name="T86" fmla="*/ 984 w 1520"/>
                <a:gd name="T87" fmla="*/ 69 h 1475"/>
                <a:gd name="T88" fmla="*/ 1038 w 1520"/>
                <a:gd name="T89" fmla="*/ 160 h 1475"/>
                <a:gd name="T90" fmla="*/ 1083 w 1520"/>
                <a:gd name="T91" fmla="*/ 198 h 1475"/>
                <a:gd name="T92" fmla="*/ 1099 w 1520"/>
                <a:gd name="T93" fmla="*/ 260 h 1475"/>
                <a:gd name="T94" fmla="*/ 1129 w 1520"/>
                <a:gd name="T95" fmla="*/ 267 h 1475"/>
                <a:gd name="T96" fmla="*/ 1106 w 1520"/>
                <a:gd name="T97" fmla="*/ 359 h 1475"/>
                <a:gd name="T98" fmla="*/ 1144 w 1520"/>
                <a:gd name="T99" fmla="*/ 481 h 1475"/>
                <a:gd name="T100" fmla="*/ 1190 w 1520"/>
                <a:gd name="T101" fmla="*/ 557 h 1475"/>
                <a:gd name="T102" fmla="*/ 1366 w 1520"/>
                <a:gd name="T103" fmla="*/ 580 h 1475"/>
                <a:gd name="T104" fmla="*/ 1511 w 1520"/>
                <a:gd name="T105" fmla="*/ 672 h 1475"/>
                <a:gd name="T106" fmla="*/ 1511 w 1520"/>
                <a:gd name="T107" fmla="*/ 672 h 1475"/>
                <a:gd name="T108" fmla="*/ 1488 w 1520"/>
                <a:gd name="T109" fmla="*/ 802 h 1475"/>
                <a:gd name="T110" fmla="*/ 1412 w 1520"/>
                <a:gd name="T111" fmla="*/ 939 h 1475"/>
                <a:gd name="T112" fmla="*/ 1182 w 1520"/>
                <a:gd name="T113" fmla="*/ 1237 h 1475"/>
                <a:gd name="T114" fmla="*/ 1022 w 1520"/>
                <a:gd name="T115" fmla="*/ 1413 h 1475"/>
                <a:gd name="T116" fmla="*/ 869 w 1520"/>
                <a:gd name="T117" fmla="*/ 1436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20" h="1475">
                  <a:moveTo>
                    <a:pt x="869" y="1436"/>
                  </a:moveTo>
                  <a:lnTo>
                    <a:pt x="869" y="1436"/>
                  </a:lnTo>
                  <a:cubicBezTo>
                    <a:pt x="854" y="1413"/>
                    <a:pt x="831" y="1344"/>
                    <a:pt x="801" y="1336"/>
                  </a:cubicBezTo>
                  <a:cubicBezTo>
                    <a:pt x="740" y="1321"/>
                    <a:pt x="671" y="1336"/>
                    <a:pt x="602" y="1344"/>
                  </a:cubicBezTo>
                  <a:cubicBezTo>
                    <a:pt x="571" y="1344"/>
                    <a:pt x="549" y="1352"/>
                    <a:pt x="526" y="1359"/>
                  </a:cubicBezTo>
                  <a:cubicBezTo>
                    <a:pt x="503" y="1367"/>
                    <a:pt x="480" y="1375"/>
                    <a:pt x="449" y="1390"/>
                  </a:cubicBezTo>
                  <a:lnTo>
                    <a:pt x="449" y="1390"/>
                  </a:lnTo>
                  <a:cubicBezTo>
                    <a:pt x="404" y="1375"/>
                    <a:pt x="350" y="1382"/>
                    <a:pt x="312" y="1352"/>
                  </a:cubicBezTo>
                  <a:cubicBezTo>
                    <a:pt x="290" y="1344"/>
                    <a:pt x="282" y="1314"/>
                    <a:pt x="296" y="1291"/>
                  </a:cubicBezTo>
                  <a:cubicBezTo>
                    <a:pt x="296" y="1275"/>
                    <a:pt x="327" y="1291"/>
                    <a:pt x="342" y="1275"/>
                  </a:cubicBezTo>
                  <a:cubicBezTo>
                    <a:pt x="350" y="1275"/>
                    <a:pt x="350" y="1260"/>
                    <a:pt x="350" y="1245"/>
                  </a:cubicBezTo>
                  <a:cubicBezTo>
                    <a:pt x="342" y="1222"/>
                    <a:pt x="312" y="1192"/>
                    <a:pt x="327" y="1169"/>
                  </a:cubicBezTo>
                  <a:cubicBezTo>
                    <a:pt x="350" y="1123"/>
                    <a:pt x="411" y="1115"/>
                    <a:pt x="449" y="1084"/>
                  </a:cubicBezTo>
                  <a:cubicBezTo>
                    <a:pt x="457" y="1077"/>
                    <a:pt x="472" y="1054"/>
                    <a:pt x="457" y="1046"/>
                  </a:cubicBezTo>
                  <a:cubicBezTo>
                    <a:pt x="426" y="1046"/>
                    <a:pt x="388" y="1084"/>
                    <a:pt x="358" y="1077"/>
                  </a:cubicBezTo>
                  <a:cubicBezTo>
                    <a:pt x="342" y="1077"/>
                    <a:pt x="350" y="1046"/>
                    <a:pt x="350" y="1031"/>
                  </a:cubicBezTo>
                  <a:cubicBezTo>
                    <a:pt x="350" y="1016"/>
                    <a:pt x="350" y="1000"/>
                    <a:pt x="358" y="993"/>
                  </a:cubicBezTo>
                  <a:cubicBezTo>
                    <a:pt x="358" y="970"/>
                    <a:pt x="388" y="947"/>
                    <a:pt x="373" y="939"/>
                  </a:cubicBezTo>
                  <a:cubicBezTo>
                    <a:pt x="319" y="901"/>
                    <a:pt x="244" y="901"/>
                    <a:pt x="175" y="878"/>
                  </a:cubicBezTo>
                  <a:cubicBezTo>
                    <a:pt x="114" y="855"/>
                    <a:pt x="122" y="779"/>
                    <a:pt x="122" y="779"/>
                  </a:cubicBezTo>
                  <a:cubicBezTo>
                    <a:pt x="107" y="771"/>
                    <a:pt x="91" y="764"/>
                    <a:pt x="84" y="748"/>
                  </a:cubicBezTo>
                  <a:cubicBezTo>
                    <a:pt x="61" y="725"/>
                    <a:pt x="61" y="687"/>
                    <a:pt x="45" y="657"/>
                  </a:cubicBezTo>
                  <a:cubicBezTo>
                    <a:pt x="38" y="642"/>
                    <a:pt x="7" y="634"/>
                    <a:pt x="7" y="611"/>
                  </a:cubicBezTo>
                  <a:cubicBezTo>
                    <a:pt x="15" y="573"/>
                    <a:pt x="45" y="542"/>
                    <a:pt x="61" y="504"/>
                  </a:cubicBezTo>
                  <a:cubicBezTo>
                    <a:pt x="61" y="481"/>
                    <a:pt x="61" y="458"/>
                    <a:pt x="45" y="443"/>
                  </a:cubicBezTo>
                  <a:cubicBezTo>
                    <a:pt x="38" y="428"/>
                    <a:pt x="7" y="428"/>
                    <a:pt x="7" y="405"/>
                  </a:cubicBezTo>
                  <a:cubicBezTo>
                    <a:pt x="0" y="374"/>
                    <a:pt x="15" y="344"/>
                    <a:pt x="15" y="313"/>
                  </a:cubicBezTo>
                  <a:lnTo>
                    <a:pt x="15" y="313"/>
                  </a:lnTo>
                  <a:cubicBezTo>
                    <a:pt x="30" y="290"/>
                    <a:pt x="45" y="267"/>
                    <a:pt x="61" y="252"/>
                  </a:cubicBezTo>
                  <a:cubicBezTo>
                    <a:pt x="91" y="237"/>
                    <a:pt x="137" y="244"/>
                    <a:pt x="160" y="214"/>
                  </a:cubicBezTo>
                  <a:cubicBezTo>
                    <a:pt x="168" y="198"/>
                    <a:pt x="137" y="168"/>
                    <a:pt x="153" y="160"/>
                  </a:cubicBezTo>
                  <a:cubicBezTo>
                    <a:pt x="160" y="145"/>
                    <a:pt x="183" y="175"/>
                    <a:pt x="198" y="175"/>
                  </a:cubicBezTo>
                  <a:cubicBezTo>
                    <a:pt x="236" y="191"/>
                    <a:pt x="267" y="206"/>
                    <a:pt x="304" y="214"/>
                  </a:cubicBezTo>
                  <a:cubicBezTo>
                    <a:pt x="319" y="214"/>
                    <a:pt x="342" y="206"/>
                    <a:pt x="365" y="214"/>
                  </a:cubicBezTo>
                  <a:cubicBezTo>
                    <a:pt x="381" y="229"/>
                    <a:pt x="381" y="260"/>
                    <a:pt x="404" y="267"/>
                  </a:cubicBezTo>
                  <a:cubicBezTo>
                    <a:pt x="411" y="275"/>
                    <a:pt x="426" y="260"/>
                    <a:pt x="434" y="252"/>
                  </a:cubicBezTo>
                  <a:cubicBezTo>
                    <a:pt x="449" y="214"/>
                    <a:pt x="442" y="175"/>
                    <a:pt x="449" y="145"/>
                  </a:cubicBezTo>
                  <a:cubicBezTo>
                    <a:pt x="457" y="122"/>
                    <a:pt x="465" y="99"/>
                    <a:pt x="480" y="76"/>
                  </a:cubicBezTo>
                  <a:cubicBezTo>
                    <a:pt x="495" y="61"/>
                    <a:pt x="510" y="53"/>
                    <a:pt x="526" y="53"/>
                  </a:cubicBezTo>
                  <a:cubicBezTo>
                    <a:pt x="587" y="38"/>
                    <a:pt x="656" y="31"/>
                    <a:pt x="717" y="23"/>
                  </a:cubicBezTo>
                  <a:cubicBezTo>
                    <a:pt x="740" y="15"/>
                    <a:pt x="755" y="0"/>
                    <a:pt x="778" y="0"/>
                  </a:cubicBezTo>
                  <a:cubicBezTo>
                    <a:pt x="808" y="0"/>
                    <a:pt x="839" y="8"/>
                    <a:pt x="862" y="23"/>
                  </a:cubicBezTo>
                  <a:cubicBezTo>
                    <a:pt x="885" y="31"/>
                    <a:pt x="892" y="61"/>
                    <a:pt x="915" y="69"/>
                  </a:cubicBezTo>
                  <a:cubicBezTo>
                    <a:pt x="930" y="76"/>
                    <a:pt x="961" y="53"/>
                    <a:pt x="984" y="69"/>
                  </a:cubicBezTo>
                  <a:cubicBezTo>
                    <a:pt x="1015" y="92"/>
                    <a:pt x="1015" y="137"/>
                    <a:pt x="1038" y="160"/>
                  </a:cubicBezTo>
                  <a:cubicBezTo>
                    <a:pt x="1045" y="175"/>
                    <a:pt x="1076" y="183"/>
                    <a:pt x="1083" y="198"/>
                  </a:cubicBezTo>
                  <a:cubicBezTo>
                    <a:pt x="1091" y="214"/>
                    <a:pt x="1083" y="244"/>
                    <a:pt x="1099" y="260"/>
                  </a:cubicBezTo>
                  <a:cubicBezTo>
                    <a:pt x="1099" y="275"/>
                    <a:pt x="1129" y="260"/>
                    <a:pt x="1129" y="267"/>
                  </a:cubicBezTo>
                  <a:cubicBezTo>
                    <a:pt x="1129" y="298"/>
                    <a:pt x="1106" y="328"/>
                    <a:pt x="1106" y="359"/>
                  </a:cubicBezTo>
                  <a:cubicBezTo>
                    <a:pt x="1106" y="405"/>
                    <a:pt x="1121" y="443"/>
                    <a:pt x="1144" y="481"/>
                  </a:cubicBezTo>
                  <a:cubicBezTo>
                    <a:pt x="1152" y="512"/>
                    <a:pt x="1167" y="542"/>
                    <a:pt x="1190" y="557"/>
                  </a:cubicBezTo>
                  <a:cubicBezTo>
                    <a:pt x="1244" y="580"/>
                    <a:pt x="1313" y="565"/>
                    <a:pt x="1366" y="580"/>
                  </a:cubicBezTo>
                  <a:cubicBezTo>
                    <a:pt x="1419" y="603"/>
                    <a:pt x="1465" y="642"/>
                    <a:pt x="1511" y="672"/>
                  </a:cubicBezTo>
                  <a:lnTo>
                    <a:pt x="1511" y="672"/>
                  </a:lnTo>
                  <a:cubicBezTo>
                    <a:pt x="1511" y="725"/>
                    <a:pt x="1519" y="771"/>
                    <a:pt x="1488" y="802"/>
                  </a:cubicBezTo>
                  <a:cubicBezTo>
                    <a:pt x="1457" y="825"/>
                    <a:pt x="1358" y="901"/>
                    <a:pt x="1412" y="939"/>
                  </a:cubicBezTo>
                  <a:cubicBezTo>
                    <a:pt x="1496" y="1008"/>
                    <a:pt x="1244" y="1176"/>
                    <a:pt x="1182" y="1237"/>
                  </a:cubicBezTo>
                  <a:cubicBezTo>
                    <a:pt x="1022" y="1413"/>
                    <a:pt x="1022" y="1413"/>
                    <a:pt x="1022" y="1413"/>
                  </a:cubicBezTo>
                  <a:cubicBezTo>
                    <a:pt x="961" y="1474"/>
                    <a:pt x="923" y="1444"/>
                    <a:pt x="869" y="14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0" name="Freeform 192"/>
            <p:cNvSpPr>
              <a:spLocks noChangeArrowheads="1"/>
            </p:cNvSpPr>
            <p:nvPr/>
          </p:nvSpPr>
          <p:spPr bwMode="auto">
            <a:xfrm>
              <a:off x="6205134" y="4173538"/>
              <a:ext cx="150802" cy="55562"/>
            </a:xfrm>
            <a:custGeom>
              <a:avLst/>
              <a:gdLst>
                <a:gd name="T0" fmla="*/ 54 w 421"/>
                <a:gd name="T1" fmla="*/ 153 h 154"/>
                <a:gd name="T2" fmla="*/ 54 w 421"/>
                <a:gd name="T3" fmla="*/ 153 h 154"/>
                <a:gd name="T4" fmla="*/ 145 w 421"/>
                <a:gd name="T5" fmla="*/ 146 h 154"/>
                <a:gd name="T6" fmla="*/ 298 w 421"/>
                <a:gd name="T7" fmla="*/ 100 h 154"/>
                <a:gd name="T8" fmla="*/ 375 w 421"/>
                <a:gd name="T9" fmla="*/ 115 h 154"/>
                <a:gd name="T10" fmla="*/ 420 w 421"/>
                <a:gd name="T11" fmla="*/ 115 h 154"/>
                <a:gd name="T12" fmla="*/ 420 w 421"/>
                <a:gd name="T13" fmla="*/ 115 h 154"/>
                <a:gd name="T14" fmla="*/ 352 w 421"/>
                <a:gd name="T15" fmla="*/ 15 h 154"/>
                <a:gd name="T16" fmla="*/ 153 w 421"/>
                <a:gd name="T17" fmla="*/ 23 h 154"/>
                <a:gd name="T18" fmla="*/ 77 w 421"/>
                <a:gd name="T19" fmla="*/ 38 h 154"/>
                <a:gd name="T20" fmla="*/ 0 w 421"/>
                <a:gd name="T21" fmla="*/ 69 h 154"/>
                <a:gd name="T22" fmla="*/ 0 w 421"/>
                <a:gd name="T23" fmla="*/ 69 h 154"/>
                <a:gd name="T24" fmla="*/ 54 w 421"/>
                <a:gd name="T25" fmla="*/ 15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1" h="154">
                  <a:moveTo>
                    <a:pt x="54" y="153"/>
                  </a:moveTo>
                  <a:lnTo>
                    <a:pt x="54" y="153"/>
                  </a:lnTo>
                  <a:cubicBezTo>
                    <a:pt x="77" y="138"/>
                    <a:pt x="107" y="138"/>
                    <a:pt x="145" y="146"/>
                  </a:cubicBezTo>
                  <a:cubicBezTo>
                    <a:pt x="207" y="146"/>
                    <a:pt x="245" y="115"/>
                    <a:pt x="298" y="100"/>
                  </a:cubicBezTo>
                  <a:cubicBezTo>
                    <a:pt x="321" y="92"/>
                    <a:pt x="359" y="123"/>
                    <a:pt x="375" y="115"/>
                  </a:cubicBezTo>
                  <a:cubicBezTo>
                    <a:pt x="390" y="107"/>
                    <a:pt x="405" y="107"/>
                    <a:pt x="420" y="115"/>
                  </a:cubicBezTo>
                  <a:lnTo>
                    <a:pt x="420" y="115"/>
                  </a:lnTo>
                  <a:cubicBezTo>
                    <a:pt x="405" y="92"/>
                    <a:pt x="382" y="23"/>
                    <a:pt x="352" y="15"/>
                  </a:cubicBezTo>
                  <a:cubicBezTo>
                    <a:pt x="291" y="0"/>
                    <a:pt x="222" y="15"/>
                    <a:pt x="153" y="23"/>
                  </a:cubicBezTo>
                  <a:cubicBezTo>
                    <a:pt x="122" y="23"/>
                    <a:pt x="100" y="31"/>
                    <a:pt x="77" y="38"/>
                  </a:cubicBezTo>
                  <a:cubicBezTo>
                    <a:pt x="54" y="46"/>
                    <a:pt x="31" y="54"/>
                    <a:pt x="0" y="69"/>
                  </a:cubicBezTo>
                  <a:lnTo>
                    <a:pt x="0" y="69"/>
                  </a:lnTo>
                  <a:cubicBezTo>
                    <a:pt x="54" y="153"/>
                    <a:pt x="54" y="153"/>
                    <a:pt x="54" y="15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1" name="Freeform 193"/>
            <p:cNvSpPr>
              <a:spLocks noChangeArrowheads="1"/>
            </p:cNvSpPr>
            <p:nvPr/>
          </p:nvSpPr>
          <p:spPr bwMode="auto">
            <a:xfrm>
              <a:off x="5813047" y="2909888"/>
              <a:ext cx="1160387" cy="1028700"/>
            </a:xfrm>
            <a:custGeom>
              <a:avLst/>
              <a:gdLst>
                <a:gd name="T0" fmla="*/ 2695 w 3223"/>
                <a:gd name="T1" fmla="*/ 1391 h 2858"/>
                <a:gd name="T2" fmla="*/ 2481 w 3223"/>
                <a:gd name="T3" fmla="*/ 1368 h 2858"/>
                <a:gd name="T4" fmla="*/ 2481 w 3223"/>
                <a:gd name="T5" fmla="*/ 1658 h 2858"/>
                <a:gd name="T6" fmla="*/ 2466 w 3223"/>
                <a:gd name="T7" fmla="*/ 1765 h 2858"/>
                <a:gd name="T8" fmla="*/ 2558 w 3223"/>
                <a:gd name="T9" fmla="*/ 1772 h 2858"/>
                <a:gd name="T10" fmla="*/ 2733 w 3223"/>
                <a:gd name="T11" fmla="*/ 1772 h 2858"/>
                <a:gd name="T12" fmla="*/ 2520 w 3223"/>
                <a:gd name="T13" fmla="*/ 2185 h 2858"/>
                <a:gd name="T14" fmla="*/ 2153 w 3223"/>
                <a:gd name="T15" fmla="*/ 2857 h 2858"/>
                <a:gd name="T16" fmla="*/ 1832 w 3223"/>
                <a:gd name="T17" fmla="*/ 2742 h 2858"/>
                <a:gd name="T18" fmla="*/ 1771 w 3223"/>
                <a:gd name="T19" fmla="*/ 2452 h 2858"/>
                <a:gd name="T20" fmla="*/ 1680 w 3223"/>
                <a:gd name="T21" fmla="*/ 2345 h 2858"/>
                <a:gd name="T22" fmla="*/ 1504 w 3223"/>
                <a:gd name="T23" fmla="*/ 2208 h 2858"/>
                <a:gd name="T24" fmla="*/ 1168 w 3223"/>
                <a:gd name="T25" fmla="*/ 2238 h 2858"/>
                <a:gd name="T26" fmla="*/ 1076 w 3223"/>
                <a:gd name="T27" fmla="*/ 2437 h 2858"/>
                <a:gd name="T28" fmla="*/ 946 w 3223"/>
                <a:gd name="T29" fmla="*/ 2399 h 2858"/>
                <a:gd name="T30" fmla="*/ 802 w 3223"/>
                <a:gd name="T31" fmla="*/ 2399 h 2858"/>
                <a:gd name="T32" fmla="*/ 657 w 3223"/>
                <a:gd name="T33" fmla="*/ 2498 h 2858"/>
                <a:gd name="T34" fmla="*/ 420 w 3223"/>
                <a:gd name="T35" fmla="*/ 2452 h 2858"/>
                <a:gd name="T36" fmla="*/ 374 w 3223"/>
                <a:gd name="T37" fmla="*/ 2422 h 2858"/>
                <a:gd name="T38" fmla="*/ 214 w 3223"/>
                <a:gd name="T39" fmla="*/ 2330 h 2858"/>
                <a:gd name="T40" fmla="*/ 107 w 3223"/>
                <a:gd name="T41" fmla="*/ 2322 h 2858"/>
                <a:gd name="T42" fmla="*/ 0 w 3223"/>
                <a:gd name="T43" fmla="*/ 2330 h 2858"/>
                <a:gd name="T44" fmla="*/ 84 w 3223"/>
                <a:gd name="T45" fmla="*/ 2040 h 2858"/>
                <a:gd name="T46" fmla="*/ 153 w 3223"/>
                <a:gd name="T47" fmla="*/ 1902 h 2858"/>
                <a:gd name="T48" fmla="*/ 283 w 3223"/>
                <a:gd name="T49" fmla="*/ 1849 h 2858"/>
                <a:gd name="T50" fmla="*/ 474 w 3223"/>
                <a:gd name="T51" fmla="*/ 1841 h 2858"/>
                <a:gd name="T52" fmla="*/ 764 w 3223"/>
                <a:gd name="T53" fmla="*/ 1788 h 2858"/>
                <a:gd name="T54" fmla="*/ 795 w 3223"/>
                <a:gd name="T55" fmla="*/ 1558 h 2858"/>
                <a:gd name="T56" fmla="*/ 1191 w 3223"/>
                <a:gd name="T57" fmla="*/ 1268 h 2858"/>
                <a:gd name="T58" fmla="*/ 1374 w 3223"/>
                <a:gd name="T59" fmla="*/ 1138 h 2858"/>
                <a:gd name="T60" fmla="*/ 1298 w 3223"/>
                <a:gd name="T61" fmla="*/ 886 h 2858"/>
                <a:gd name="T62" fmla="*/ 1366 w 3223"/>
                <a:gd name="T63" fmla="*/ 642 h 2858"/>
                <a:gd name="T64" fmla="*/ 1588 w 3223"/>
                <a:gd name="T65" fmla="*/ 512 h 2858"/>
                <a:gd name="T66" fmla="*/ 1763 w 3223"/>
                <a:gd name="T67" fmla="*/ 604 h 2858"/>
                <a:gd name="T68" fmla="*/ 1824 w 3223"/>
                <a:gd name="T69" fmla="*/ 497 h 2858"/>
                <a:gd name="T70" fmla="*/ 1710 w 3223"/>
                <a:gd name="T71" fmla="*/ 374 h 2858"/>
                <a:gd name="T72" fmla="*/ 1641 w 3223"/>
                <a:gd name="T73" fmla="*/ 69 h 2858"/>
                <a:gd name="T74" fmla="*/ 2367 w 3223"/>
                <a:gd name="T75" fmla="*/ 38 h 2858"/>
                <a:gd name="T76" fmla="*/ 2642 w 3223"/>
                <a:gd name="T77" fmla="*/ 38 h 2858"/>
                <a:gd name="T78" fmla="*/ 2970 w 3223"/>
                <a:gd name="T79" fmla="*/ 107 h 2858"/>
                <a:gd name="T80" fmla="*/ 3116 w 3223"/>
                <a:gd name="T81" fmla="*/ 283 h 2858"/>
                <a:gd name="T82" fmla="*/ 3131 w 3223"/>
                <a:gd name="T83" fmla="*/ 848 h 2858"/>
                <a:gd name="T84" fmla="*/ 2924 w 3223"/>
                <a:gd name="T85" fmla="*/ 1100 h 2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3" h="2858">
                  <a:moveTo>
                    <a:pt x="2756" y="1398"/>
                  </a:moveTo>
                  <a:lnTo>
                    <a:pt x="2756" y="1398"/>
                  </a:lnTo>
                  <a:cubicBezTo>
                    <a:pt x="2733" y="1391"/>
                    <a:pt x="2718" y="1383"/>
                    <a:pt x="2695" y="1391"/>
                  </a:cubicBezTo>
                  <a:cubicBezTo>
                    <a:pt x="2672" y="1391"/>
                    <a:pt x="2657" y="1436"/>
                    <a:pt x="2627" y="1436"/>
                  </a:cubicBezTo>
                  <a:cubicBezTo>
                    <a:pt x="2596" y="1429"/>
                    <a:pt x="2588" y="1391"/>
                    <a:pt x="2566" y="1375"/>
                  </a:cubicBezTo>
                  <a:cubicBezTo>
                    <a:pt x="2535" y="1368"/>
                    <a:pt x="2504" y="1352"/>
                    <a:pt x="2481" y="1368"/>
                  </a:cubicBezTo>
                  <a:cubicBezTo>
                    <a:pt x="2459" y="1383"/>
                    <a:pt x="2436" y="1421"/>
                    <a:pt x="2443" y="1459"/>
                  </a:cubicBezTo>
                  <a:cubicBezTo>
                    <a:pt x="2451" y="1505"/>
                    <a:pt x="2504" y="1536"/>
                    <a:pt x="2512" y="1581"/>
                  </a:cubicBezTo>
                  <a:cubicBezTo>
                    <a:pt x="2512" y="1612"/>
                    <a:pt x="2504" y="1643"/>
                    <a:pt x="2481" y="1658"/>
                  </a:cubicBezTo>
                  <a:cubicBezTo>
                    <a:pt x="2443" y="1673"/>
                    <a:pt x="2397" y="1627"/>
                    <a:pt x="2367" y="1650"/>
                  </a:cubicBezTo>
                  <a:cubicBezTo>
                    <a:pt x="2336" y="1681"/>
                    <a:pt x="2329" y="1742"/>
                    <a:pt x="2352" y="1772"/>
                  </a:cubicBezTo>
                  <a:cubicBezTo>
                    <a:pt x="2374" y="1803"/>
                    <a:pt x="2428" y="1742"/>
                    <a:pt x="2466" y="1765"/>
                  </a:cubicBezTo>
                  <a:cubicBezTo>
                    <a:pt x="2481" y="1772"/>
                    <a:pt x="2436" y="1803"/>
                    <a:pt x="2451" y="1818"/>
                  </a:cubicBezTo>
                  <a:cubicBezTo>
                    <a:pt x="2459" y="1833"/>
                    <a:pt x="2481" y="1826"/>
                    <a:pt x="2497" y="1818"/>
                  </a:cubicBezTo>
                  <a:cubicBezTo>
                    <a:pt x="2520" y="1810"/>
                    <a:pt x="2535" y="1788"/>
                    <a:pt x="2558" y="1772"/>
                  </a:cubicBezTo>
                  <a:cubicBezTo>
                    <a:pt x="2604" y="1749"/>
                    <a:pt x="2642" y="1704"/>
                    <a:pt x="2695" y="1711"/>
                  </a:cubicBezTo>
                  <a:cubicBezTo>
                    <a:pt x="2726" y="1711"/>
                    <a:pt x="2718" y="1749"/>
                    <a:pt x="2733" y="1772"/>
                  </a:cubicBezTo>
                  <a:lnTo>
                    <a:pt x="2733" y="1772"/>
                  </a:lnTo>
                  <a:cubicBezTo>
                    <a:pt x="2703" y="1864"/>
                    <a:pt x="2657" y="1963"/>
                    <a:pt x="2596" y="2040"/>
                  </a:cubicBezTo>
                  <a:cubicBezTo>
                    <a:pt x="2604" y="2070"/>
                    <a:pt x="2550" y="2170"/>
                    <a:pt x="2520" y="2177"/>
                  </a:cubicBezTo>
                  <a:cubicBezTo>
                    <a:pt x="2520" y="2177"/>
                    <a:pt x="2520" y="2177"/>
                    <a:pt x="2520" y="2185"/>
                  </a:cubicBezTo>
                  <a:cubicBezTo>
                    <a:pt x="2627" y="2208"/>
                    <a:pt x="2405" y="2552"/>
                    <a:pt x="2382" y="2597"/>
                  </a:cubicBezTo>
                  <a:cubicBezTo>
                    <a:pt x="2329" y="2666"/>
                    <a:pt x="2245" y="2689"/>
                    <a:pt x="2191" y="2750"/>
                  </a:cubicBezTo>
                  <a:cubicBezTo>
                    <a:pt x="2161" y="2781"/>
                    <a:pt x="2153" y="2819"/>
                    <a:pt x="2153" y="2857"/>
                  </a:cubicBezTo>
                  <a:lnTo>
                    <a:pt x="2153" y="2857"/>
                  </a:lnTo>
                  <a:cubicBezTo>
                    <a:pt x="2107" y="2827"/>
                    <a:pt x="2061" y="2788"/>
                    <a:pt x="2008" y="2765"/>
                  </a:cubicBezTo>
                  <a:cubicBezTo>
                    <a:pt x="1955" y="2750"/>
                    <a:pt x="1886" y="2765"/>
                    <a:pt x="1832" y="2742"/>
                  </a:cubicBezTo>
                  <a:cubicBezTo>
                    <a:pt x="1809" y="2727"/>
                    <a:pt x="1794" y="2697"/>
                    <a:pt x="1786" y="2666"/>
                  </a:cubicBezTo>
                  <a:cubicBezTo>
                    <a:pt x="1763" y="2628"/>
                    <a:pt x="1748" y="2590"/>
                    <a:pt x="1748" y="2544"/>
                  </a:cubicBezTo>
                  <a:cubicBezTo>
                    <a:pt x="1748" y="2513"/>
                    <a:pt x="1771" y="2483"/>
                    <a:pt x="1771" y="2452"/>
                  </a:cubicBezTo>
                  <a:cubicBezTo>
                    <a:pt x="1771" y="2445"/>
                    <a:pt x="1741" y="2460"/>
                    <a:pt x="1741" y="2445"/>
                  </a:cubicBezTo>
                  <a:cubicBezTo>
                    <a:pt x="1725" y="2429"/>
                    <a:pt x="1733" y="2399"/>
                    <a:pt x="1725" y="2383"/>
                  </a:cubicBezTo>
                  <a:cubicBezTo>
                    <a:pt x="1718" y="2368"/>
                    <a:pt x="1687" y="2360"/>
                    <a:pt x="1680" y="2345"/>
                  </a:cubicBezTo>
                  <a:cubicBezTo>
                    <a:pt x="1657" y="2322"/>
                    <a:pt x="1657" y="2277"/>
                    <a:pt x="1626" y="2254"/>
                  </a:cubicBezTo>
                  <a:cubicBezTo>
                    <a:pt x="1603" y="2238"/>
                    <a:pt x="1572" y="2261"/>
                    <a:pt x="1557" y="2254"/>
                  </a:cubicBezTo>
                  <a:cubicBezTo>
                    <a:pt x="1534" y="2246"/>
                    <a:pt x="1527" y="2216"/>
                    <a:pt x="1504" y="2208"/>
                  </a:cubicBezTo>
                  <a:cubicBezTo>
                    <a:pt x="1481" y="2193"/>
                    <a:pt x="1450" y="2185"/>
                    <a:pt x="1420" y="2185"/>
                  </a:cubicBezTo>
                  <a:cubicBezTo>
                    <a:pt x="1397" y="2185"/>
                    <a:pt x="1382" y="2200"/>
                    <a:pt x="1359" y="2208"/>
                  </a:cubicBezTo>
                  <a:cubicBezTo>
                    <a:pt x="1298" y="2216"/>
                    <a:pt x="1229" y="2223"/>
                    <a:pt x="1168" y="2238"/>
                  </a:cubicBezTo>
                  <a:cubicBezTo>
                    <a:pt x="1152" y="2238"/>
                    <a:pt x="1137" y="2246"/>
                    <a:pt x="1122" y="2261"/>
                  </a:cubicBezTo>
                  <a:cubicBezTo>
                    <a:pt x="1107" y="2284"/>
                    <a:pt x="1099" y="2307"/>
                    <a:pt x="1091" y="2330"/>
                  </a:cubicBezTo>
                  <a:cubicBezTo>
                    <a:pt x="1084" y="2360"/>
                    <a:pt x="1091" y="2399"/>
                    <a:pt x="1076" y="2437"/>
                  </a:cubicBezTo>
                  <a:cubicBezTo>
                    <a:pt x="1068" y="2445"/>
                    <a:pt x="1053" y="2460"/>
                    <a:pt x="1046" y="2452"/>
                  </a:cubicBezTo>
                  <a:cubicBezTo>
                    <a:pt x="1023" y="2445"/>
                    <a:pt x="1023" y="2414"/>
                    <a:pt x="1007" y="2399"/>
                  </a:cubicBezTo>
                  <a:cubicBezTo>
                    <a:pt x="984" y="2391"/>
                    <a:pt x="961" y="2399"/>
                    <a:pt x="946" y="2399"/>
                  </a:cubicBezTo>
                  <a:cubicBezTo>
                    <a:pt x="909" y="2391"/>
                    <a:pt x="878" y="2376"/>
                    <a:pt x="840" y="2360"/>
                  </a:cubicBezTo>
                  <a:cubicBezTo>
                    <a:pt x="825" y="2360"/>
                    <a:pt x="802" y="2330"/>
                    <a:pt x="795" y="2345"/>
                  </a:cubicBezTo>
                  <a:cubicBezTo>
                    <a:pt x="779" y="2353"/>
                    <a:pt x="810" y="2383"/>
                    <a:pt x="802" y="2399"/>
                  </a:cubicBezTo>
                  <a:cubicBezTo>
                    <a:pt x="779" y="2429"/>
                    <a:pt x="733" y="2422"/>
                    <a:pt x="703" y="2437"/>
                  </a:cubicBezTo>
                  <a:cubicBezTo>
                    <a:pt x="687" y="2452"/>
                    <a:pt x="672" y="2475"/>
                    <a:pt x="657" y="2498"/>
                  </a:cubicBezTo>
                  <a:lnTo>
                    <a:pt x="657" y="2498"/>
                  </a:lnTo>
                  <a:cubicBezTo>
                    <a:pt x="626" y="2483"/>
                    <a:pt x="596" y="2460"/>
                    <a:pt x="565" y="2460"/>
                  </a:cubicBezTo>
                  <a:cubicBezTo>
                    <a:pt x="542" y="2460"/>
                    <a:pt x="535" y="2490"/>
                    <a:pt x="520" y="2490"/>
                  </a:cubicBezTo>
                  <a:cubicBezTo>
                    <a:pt x="481" y="2490"/>
                    <a:pt x="451" y="2452"/>
                    <a:pt x="420" y="2452"/>
                  </a:cubicBezTo>
                  <a:cubicBezTo>
                    <a:pt x="405" y="2445"/>
                    <a:pt x="390" y="2460"/>
                    <a:pt x="374" y="2460"/>
                  </a:cubicBezTo>
                  <a:cubicBezTo>
                    <a:pt x="367" y="2460"/>
                    <a:pt x="374" y="2452"/>
                    <a:pt x="374" y="2445"/>
                  </a:cubicBezTo>
                  <a:cubicBezTo>
                    <a:pt x="374" y="2437"/>
                    <a:pt x="382" y="2429"/>
                    <a:pt x="374" y="2422"/>
                  </a:cubicBezTo>
                  <a:cubicBezTo>
                    <a:pt x="374" y="2391"/>
                    <a:pt x="374" y="2353"/>
                    <a:pt x="344" y="2338"/>
                  </a:cubicBezTo>
                  <a:cubicBezTo>
                    <a:pt x="321" y="2322"/>
                    <a:pt x="290" y="2345"/>
                    <a:pt x="260" y="2345"/>
                  </a:cubicBezTo>
                  <a:cubicBezTo>
                    <a:pt x="245" y="2345"/>
                    <a:pt x="229" y="2322"/>
                    <a:pt x="214" y="2330"/>
                  </a:cubicBezTo>
                  <a:cubicBezTo>
                    <a:pt x="199" y="2338"/>
                    <a:pt x="206" y="2368"/>
                    <a:pt x="191" y="2376"/>
                  </a:cubicBezTo>
                  <a:cubicBezTo>
                    <a:pt x="176" y="2383"/>
                    <a:pt x="153" y="2383"/>
                    <a:pt x="138" y="2376"/>
                  </a:cubicBezTo>
                  <a:cubicBezTo>
                    <a:pt x="122" y="2360"/>
                    <a:pt x="122" y="2330"/>
                    <a:pt x="107" y="2322"/>
                  </a:cubicBezTo>
                  <a:cubicBezTo>
                    <a:pt x="76" y="2322"/>
                    <a:pt x="61" y="2360"/>
                    <a:pt x="38" y="2360"/>
                  </a:cubicBezTo>
                  <a:cubicBezTo>
                    <a:pt x="23" y="2360"/>
                    <a:pt x="15" y="2338"/>
                    <a:pt x="0" y="2330"/>
                  </a:cubicBezTo>
                  <a:lnTo>
                    <a:pt x="0" y="2330"/>
                  </a:lnTo>
                  <a:cubicBezTo>
                    <a:pt x="23" y="2284"/>
                    <a:pt x="53" y="2254"/>
                    <a:pt x="69" y="2208"/>
                  </a:cubicBezTo>
                  <a:cubicBezTo>
                    <a:pt x="84" y="2170"/>
                    <a:pt x="84" y="2124"/>
                    <a:pt x="92" y="2085"/>
                  </a:cubicBezTo>
                  <a:cubicBezTo>
                    <a:pt x="92" y="2070"/>
                    <a:pt x="84" y="2055"/>
                    <a:pt x="84" y="2040"/>
                  </a:cubicBezTo>
                  <a:cubicBezTo>
                    <a:pt x="92" y="2024"/>
                    <a:pt x="107" y="2009"/>
                    <a:pt x="99" y="2002"/>
                  </a:cubicBezTo>
                  <a:cubicBezTo>
                    <a:pt x="99" y="1979"/>
                    <a:pt x="69" y="1956"/>
                    <a:pt x="84" y="1933"/>
                  </a:cubicBezTo>
                  <a:cubicBezTo>
                    <a:pt x="92" y="1910"/>
                    <a:pt x="130" y="1910"/>
                    <a:pt x="153" y="1902"/>
                  </a:cubicBezTo>
                  <a:cubicBezTo>
                    <a:pt x="160" y="1895"/>
                    <a:pt x="168" y="1887"/>
                    <a:pt x="176" y="1879"/>
                  </a:cubicBezTo>
                  <a:lnTo>
                    <a:pt x="176" y="1879"/>
                  </a:lnTo>
                  <a:cubicBezTo>
                    <a:pt x="214" y="1872"/>
                    <a:pt x="245" y="1849"/>
                    <a:pt x="283" y="1849"/>
                  </a:cubicBezTo>
                  <a:cubicBezTo>
                    <a:pt x="290" y="1849"/>
                    <a:pt x="298" y="1864"/>
                    <a:pt x="306" y="1864"/>
                  </a:cubicBezTo>
                  <a:cubicBezTo>
                    <a:pt x="359" y="1856"/>
                    <a:pt x="397" y="1826"/>
                    <a:pt x="443" y="1818"/>
                  </a:cubicBezTo>
                  <a:cubicBezTo>
                    <a:pt x="458" y="1818"/>
                    <a:pt x="458" y="1841"/>
                    <a:pt x="474" y="1841"/>
                  </a:cubicBezTo>
                  <a:cubicBezTo>
                    <a:pt x="512" y="1849"/>
                    <a:pt x="550" y="1841"/>
                    <a:pt x="588" y="1833"/>
                  </a:cubicBezTo>
                  <a:cubicBezTo>
                    <a:pt x="619" y="1826"/>
                    <a:pt x="649" y="1795"/>
                    <a:pt x="687" y="1788"/>
                  </a:cubicBezTo>
                  <a:cubicBezTo>
                    <a:pt x="710" y="1780"/>
                    <a:pt x="741" y="1795"/>
                    <a:pt x="764" y="1788"/>
                  </a:cubicBezTo>
                  <a:cubicBezTo>
                    <a:pt x="787" y="1780"/>
                    <a:pt x="817" y="1765"/>
                    <a:pt x="825" y="1742"/>
                  </a:cubicBezTo>
                  <a:cubicBezTo>
                    <a:pt x="840" y="1704"/>
                    <a:pt x="810" y="1666"/>
                    <a:pt x="802" y="1627"/>
                  </a:cubicBezTo>
                  <a:cubicBezTo>
                    <a:pt x="802" y="1604"/>
                    <a:pt x="779" y="1574"/>
                    <a:pt x="795" y="1558"/>
                  </a:cubicBezTo>
                  <a:cubicBezTo>
                    <a:pt x="840" y="1528"/>
                    <a:pt x="909" y="1543"/>
                    <a:pt x="946" y="1497"/>
                  </a:cubicBezTo>
                  <a:cubicBezTo>
                    <a:pt x="992" y="1452"/>
                    <a:pt x="961" y="1368"/>
                    <a:pt x="1007" y="1322"/>
                  </a:cubicBezTo>
                  <a:cubicBezTo>
                    <a:pt x="1053" y="1276"/>
                    <a:pt x="1130" y="1268"/>
                    <a:pt x="1191" y="1268"/>
                  </a:cubicBezTo>
                  <a:cubicBezTo>
                    <a:pt x="1229" y="1261"/>
                    <a:pt x="1267" y="1314"/>
                    <a:pt x="1298" y="1306"/>
                  </a:cubicBezTo>
                  <a:cubicBezTo>
                    <a:pt x="1336" y="1299"/>
                    <a:pt x="1351" y="1253"/>
                    <a:pt x="1374" y="1222"/>
                  </a:cubicBezTo>
                  <a:cubicBezTo>
                    <a:pt x="1374" y="1222"/>
                    <a:pt x="1374" y="1154"/>
                    <a:pt x="1374" y="1138"/>
                  </a:cubicBezTo>
                  <a:cubicBezTo>
                    <a:pt x="1374" y="1123"/>
                    <a:pt x="1374" y="1024"/>
                    <a:pt x="1374" y="1024"/>
                  </a:cubicBezTo>
                  <a:cubicBezTo>
                    <a:pt x="1382" y="1001"/>
                    <a:pt x="1412" y="986"/>
                    <a:pt x="1405" y="970"/>
                  </a:cubicBezTo>
                  <a:cubicBezTo>
                    <a:pt x="1382" y="932"/>
                    <a:pt x="1298" y="932"/>
                    <a:pt x="1298" y="886"/>
                  </a:cubicBezTo>
                  <a:cubicBezTo>
                    <a:pt x="1290" y="841"/>
                    <a:pt x="1389" y="833"/>
                    <a:pt x="1397" y="787"/>
                  </a:cubicBezTo>
                  <a:cubicBezTo>
                    <a:pt x="1397" y="757"/>
                    <a:pt x="1313" y="780"/>
                    <a:pt x="1305" y="749"/>
                  </a:cubicBezTo>
                  <a:cubicBezTo>
                    <a:pt x="1298" y="711"/>
                    <a:pt x="1336" y="672"/>
                    <a:pt x="1366" y="642"/>
                  </a:cubicBezTo>
                  <a:cubicBezTo>
                    <a:pt x="1389" y="627"/>
                    <a:pt x="1427" y="649"/>
                    <a:pt x="1450" y="634"/>
                  </a:cubicBezTo>
                  <a:cubicBezTo>
                    <a:pt x="1481" y="611"/>
                    <a:pt x="1481" y="558"/>
                    <a:pt x="1511" y="535"/>
                  </a:cubicBezTo>
                  <a:cubicBezTo>
                    <a:pt x="1534" y="520"/>
                    <a:pt x="1565" y="505"/>
                    <a:pt x="1588" y="512"/>
                  </a:cubicBezTo>
                  <a:cubicBezTo>
                    <a:pt x="1618" y="527"/>
                    <a:pt x="1618" y="573"/>
                    <a:pt x="1649" y="588"/>
                  </a:cubicBezTo>
                  <a:cubicBezTo>
                    <a:pt x="1664" y="596"/>
                    <a:pt x="1664" y="558"/>
                    <a:pt x="1672" y="558"/>
                  </a:cubicBezTo>
                  <a:cubicBezTo>
                    <a:pt x="1710" y="558"/>
                    <a:pt x="1733" y="604"/>
                    <a:pt x="1763" y="604"/>
                  </a:cubicBezTo>
                  <a:cubicBezTo>
                    <a:pt x="1794" y="604"/>
                    <a:pt x="1809" y="566"/>
                    <a:pt x="1832" y="550"/>
                  </a:cubicBezTo>
                  <a:cubicBezTo>
                    <a:pt x="1840" y="543"/>
                    <a:pt x="1863" y="535"/>
                    <a:pt x="1863" y="520"/>
                  </a:cubicBezTo>
                  <a:cubicBezTo>
                    <a:pt x="1863" y="505"/>
                    <a:pt x="1840" y="497"/>
                    <a:pt x="1824" y="497"/>
                  </a:cubicBezTo>
                  <a:cubicBezTo>
                    <a:pt x="1809" y="489"/>
                    <a:pt x="1786" y="512"/>
                    <a:pt x="1771" y="505"/>
                  </a:cubicBezTo>
                  <a:cubicBezTo>
                    <a:pt x="1748" y="497"/>
                    <a:pt x="1718" y="489"/>
                    <a:pt x="1702" y="466"/>
                  </a:cubicBezTo>
                  <a:cubicBezTo>
                    <a:pt x="1687" y="436"/>
                    <a:pt x="1725" y="405"/>
                    <a:pt x="1710" y="374"/>
                  </a:cubicBezTo>
                  <a:cubicBezTo>
                    <a:pt x="1687" y="336"/>
                    <a:pt x="1626" y="336"/>
                    <a:pt x="1618" y="298"/>
                  </a:cubicBezTo>
                  <a:cubicBezTo>
                    <a:pt x="1603" y="245"/>
                    <a:pt x="1649" y="199"/>
                    <a:pt x="1657" y="153"/>
                  </a:cubicBezTo>
                  <a:cubicBezTo>
                    <a:pt x="1657" y="107"/>
                    <a:pt x="1649" y="115"/>
                    <a:pt x="1641" y="69"/>
                  </a:cubicBezTo>
                  <a:lnTo>
                    <a:pt x="1641" y="69"/>
                  </a:lnTo>
                  <a:cubicBezTo>
                    <a:pt x="1664" y="77"/>
                    <a:pt x="1687" y="77"/>
                    <a:pt x="1702" y="77"/>
                  </a:cubicBezTo>
                  <a:cubicBezTo>
                    <a:pt x="1817" y="54"/>
                    <a:pt x="2321" y="214"/>
                    <a:pt x="2367" y="38"/>
                  </a:cubicBezTo>
                  <a:lnTo>
                    <a:pt x="2367" y="38"/>
                  </a:lnTo>
                  <a:cubicBezTo>
                    <a:pt x="2405" y="38"/>
                    <a:pt x="2451" y="92"/>
                    <a:pt x="2497" y="92"/>
                  </a:cubicBezTo>
                  <a:cubicBezTo>
                    <a:pt x="2558" y="100"/>
                    <a:pt x="2604" y="92"/>
                    <a:pt x="2642" y="38"/>
                  </a:cubicBezTo>
                  <a:cubicBezTo>
                    <a:pt x="2672" y="0"/>
                    <a:pt x="2672" y="0"/>
                    <a:pt x="2672" y="0"/>
                  </a:cubicBezTo>
                  <a:cubicBezTo>
                    <a:pt x="2711" y="0"/>
                    <a:pt x="2756" y="61"/>
                    <a:pt x="2802" y="77"/>
                  </a:cubicBezTo>
                  <a:cubicBezTo>
                    <a:pt x="2863" y="92"/>
                    <a:pt x="2902" y="107"/>
                    <a:pt x="2970" y="107"/>
                  </a:cubicBezTo>
                  <a:cubicBezTo>
                    <a:pt x="2970" y="107"/>
                    <a:pt x="2970" y="107"/>
                    <a:pt x="2970" y="115"/>
                  </a:cubicBezTo>
                  <a:cubicBezTo>
                    <a:pt x="2993" y="168"/>
                    <a:pt x="2993" y="168"/>
                    <a:pt x="2993" y="168"/>
                  </a:cubicBezTo>
                  <a:cubicBezTo>
                    <a:pt x="3008" y="214"/>
                    <a:pt x="3070" y="268"/>
                    <a:pt x="3116" y="283"/>
                  </a:cubicBezTo>
                  <a:cubicBezTo>
                    <a:pt x="3116" y="367"/>
                    <a:pt x="3123" y="382"/>
                    <a:pt x="3146" y="466"/>
                  </a:cubicBezTo>
                  <a:cubicBezTo>
                    <a:pt x="3169" y="535"/>
                    <a:pt x="3161" y="604"/>
                    <a:pt x="3177" y="672"/>
                  </a:cubicBezTo>
                  <a:cubicBezTo>
                    <a:pt x="3222" y="680"/>
                    <a:pt x="3138" y="818"/>
                    <a:pt x="3131" y="848"/>
                  </a:cubicBezTo>
                  <a:cubicBezTo>
                    <a:pt x="3116" y="871"/>
                    <a:pt x="3085" y="879"/>
                    <a:pt x="3062" y="902"/>
                  </a:cubicBezTo>
                  <a:cubicBezTo>
                    <a:pt x="3039" y="932"/>
                    <a:pt x="3062" y="970"/>
                    <a:pt x="3008" y="993"/>
                  </a:cubicBezTo>
                  <a:cubicBezTo>
                    <a:pt x="3001" y="1016"/>
                    <a:pt x="2940" y="1077"/>
                    <a:pt x="2924" y="1100"/>
                  </a:cubicBezTo>
                  <a:cubicBezTo>
                    <a:pt x="2863" y="1184"/>
                    <a:pt x="2802" y="1291"/>
                    <a:pt x="2756" y="139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2" name="Freeform 194"/>
            <p:cNvSpPr>
              <a:spLocks noChangeArrowheads="1"/>
            </p:cNvSpPr>
            <p:nvPr/>
          </p:nvSpPr>
          <p:spPr bwMode="auto">
            <a:xfrm>
              <a:off x="4119295" y="1876425"/>
              <a:ext cx="2136636" cy="2298700"/>
            </a:xfrm>
            <a:custGeom>
              <a:avLst/>
              <a:gdLst>
                <a:gd name="T0" fmla="*/ 1039 w 5935"/>
                <a:gd name="T1" fmla="*/ 5240 h 6387"/>
                <a:gd name="T2" fmla="*/ 840 w 5935"/>
                <a:gd name="T3" fmla="*/ 5401 h 6387"/>
                <a:gd name="T4" fmla="*/ 817 w 5935"/>
                <a:gd name="T5" fmla="*/ 4835 h 6387"/>
                <a:gd name="T6" fmla="*/ 321 w 5935"/>
                <a:gd name="T7" fmla="*/ 4767 h 6387"/>
                <a:gd name="T8" fmla="*/ 306 w 5935"/>
                <a:gd name="T9" fmla="*/ 4782 h 6387"/>
                <a:gd name="T10" fmla="*/ 1046 w 5935"/>
                <a:gd name="T11" fmla="*/ 3919 h 6387"/>
                <a:gd name="T12" fmla="*/ 710 w 5935"/>
                <a:gd name="T13" fmla="*/ 2910 h 6387"/>
                <a:gd name="T14" fmla="*/ 535 w 5935"/>
                <a:gd name="T15" fmla="*/ 3506 h 6387"/>
                <a:gd name="T16" fmla="*/ 244 w 5935"/>
                <a:gd name="T17" fmla="*/ 3483 h 6387"/>
                <a:gd name="T18" fmla="*/ 374 w 5935"/>
                <a:gd name="T19" fmla="*/ 3926 h 6387"/>
                <a:gd name="T20" fmla="*/ 794 w 5935"/>
                <a:gd name="T21" fmla="*/ 4392 h 6387"/>
                <a:gd name="T22" fmla="*/ 1482 w 5935"/>
                <a:gd name="T23" fmla="*/ 4430 h 6387"/>
                <a:gd name="T24" fmla="*/ 1772 w 5935"/>
                <a:gd name="T25" fmla="*/ 4194 h 6387"/>
                <a:gd name="T26" fmla="*/ 1260 w 5935"/>
                <a:gd name="T27" fmla="*/ 4094 h 6387"/>
                <a:gd name="T28" fmla="*/ 1268 w 5935"/>
                <a:gd name="T29" fmla="*/ 3552 h 6387"/>
                <a:gd name="T30" fmla="*/ 1115 w 5935"/>
                <a:gd name="T31" fmla="*/ 3743 h 6387"/>
                <a:gd name="T32" fmla="*/ 1268 w 5935"/>
                <a:gd name="T33" fmla="*/ 3308 h 6387"/>
                <a:gd name="T34" fmla="*/ 1253 w 5935"/>
                <a:gd name="T35" fmla="*/ 3399 h 6387"/>
                <a:gd name="T36" fmla="*/ 932 w 5935"/>
                <a:gd name="T37" fmla="*/ 4538 h 6387"/>
                <a:gd name="T38" fmla="*/ 4270 w 5935"/>
                <a:gd name="T39" fmla="*/ 3231 h 6387"/>
                <a:gd name="T40" fmla="*/ 4231 w 5935"/>
                <a:gd name="T41" fmla="*/ 3269 h 6387"/>
                <a:gd name="T42" fmla="*/ 3842 w 5935"/>
                <a:gd name="T43" fmla="*/ 3079 h 6387"/>
                <a:gd name="T44" fmla="*/ 4438 w 5935"/>
                <a:gd name="T45" fmla="*/ 2941 h 6387"/>
                <a:gd name="T46" fmla="*/ 3995 w 5935"/>
                <a:gd name="T47" fmla="*/ 2429 h 6387"/>
                <a:gd name="T48" fmla="*/ 4644 w 5935"/>
                <a:gd name="T49" fmla="*/ 1933 h 6387"/>
                <a:gd name="T50" fmla="*/ 5674 w 5935"/>
                <a:gd name="T51" fmla="*/ 1024 h 6387"/>
                <a:gd name="T52" fmla="*/ 5622 w 5935"/>
                <a:gd name="T53" fmla="*/ 54 h 6387"/>
                <a:gd name="T54" fmla="*/ 4682 w 5935"/>
                <a:gd name="T55" fmla="*/ 313 h 6387"/>
                <a:gd name="T56" fmla="*/ 3712 w 5935"/>
                <a:gd name="T57" fmla="*/ 367 h 6387"/>
                <a:gd name="T58" fmla="*/ 3101 w 5935"/>
                <a:gd name="T59" fmla="*/ 451 h 6387"/>
                <a:gd name="T60" fmla="*/ 2704 w 5935"/>
                <a:gd name="T61" fmla="*/ 619 h 6387"/>
                <a:gd name="T62" fmla="*/ 2696 w 5935"/>
                <a:gd name="T63" fmla="*/ 1253 h 6387"/>
                <a:gd name="T64" fmla="*/ 2368 w 5935"/>
                <a:gd name="T65" fmla="*/ 1650 h 6387"/>
                <a:gd name="T66" fmla="*/ 2475 w 5935"/>
                <a:gd name="T67" fmla="*/ 2246 h 6387"/>
                <a:gd name="T68" fmla="*/ 2436 w 5935"/>
                <a:gd name="T69" fmla="*/ 2468 h 6387"/>
                <a:gd name="T70" fmla="*/ 1871 w 5935"/>
                <a:gd name="T71" fmla="*/ 2674 h 6387"/>
                <a:gd name="T72" fmla="*/ 1535 w 5935"/>
                <a:gd name="T73" fmla="*/ 3025 h 6387"/>
                <a:gd name="T74" fmla="*/ 1772 w 5935"/>
                <a:gd name="T75" fmla="*/ 3384 h 6387"/>
                <a:gd name="T76" fmla="*/ 1467 w 5935"/>
                <a:gd name="T77" fmla="*/ 3667 h 6387"/>
                <a:gd name="T78" fmla="*/ 1978 w 5935"/>
                <a:gd name="T79" fmla="*/ 3911 h 6387"/>
                <a:gd name="T80" fmla="*/ 1803 w 5935"/>
                <a:gd name="T81" fmla="*/ 4232 h 6387"/>
                <a:gd name="T82" fmla="*/ 1688 w 5935"/>
                <a:gd name="T83" fmla="*/ 4835 h 6387"/>
                <a:gd name="T84" fmla="*/ 1421 w 5935"/>
                <a:gd name="T85" fmla="*/ 5301 h 6387"/>
                <a:gd name="T86" fmla="*/ 1062 w 5935"/>
                <a:gd name="T87" fmla="*/ 5630 h 6387"/>
                <a:gd name="T88" fmla="*/ 1444 w 5935"/>
                <a:gd name="T89" fmla="*/ 5912 h 6387"/>
                <a:gd name="T90" fmla="*/ 2253 w 5935"/>
                <a:gd name="T91" fmla="*/ 5889 h 6387"/>
                <a:gd name="T92" fmla="*/ 2482 w 5935"/>
                <a:gd name="T93" fmla="*/ 5805 h 6387"/>
                <a:gd name="T94" fmla="*/ 2482 w 5935"/>
                <a:gd name="T95" fmla="*/ 6111 h 6387"/>
                <a:gd name="T96" fmla="*/ 2673 w 5935"/>
                <a:gd name="T97" fmla="*/ 6218 h 6387"/>
                <a:gd name="T98" fmla="*/ 3124 w 5935"/>
                <a:gd name="T99" fmla="*/ 6187 h 6387"/>
                <a:gd name="T100" fmla="*/ 3261 w 5935"/>
                <a:gd name="T101" fmla="*/ 5989 h 6387"/>
                <a:gd name="T102" fmla="*/ 3544 w 5935"/>
                <a:gd name="T103" fmla="*/ 5637 h 6387"/>
                <a:gd name="T104" fmla="*/ 4041 w 5935"/>
                <a:gd name="T105" fmla="*/ 5408 h 6387"/>
                <a:gd name="T106" fmla="*/ 4407 w 5935"/>
                <a:gd name="T107" fmla="*/ 5294 h 6387"/>
                <a:gd name="T108" fmla="*/ 4659 w 5935"/>
                <a:gd name="T109" fmla="*/ 5187 h 6387"/>
                <a:gd name="T110" fmla="*/ 4858 w 5935"/>
                <a:gd name="T111" fmla="*/ 4774 h 6387"/>
                <a:gd name="T112" fmla="*/ 5347 w 5935"/>
                <a:gd name="T113" fmla="*/ 4377 h 6387"/>
                <a:gd name="T114" fmla="*/ 5301 w 5935"/>
                <a:gd name="T115" fmla="*/ 3697 h 6387"/>
                <a:gd name="T116" fmla="*/ 4904 w 5935"/>
                <a:gd name="T117" fmla="*/ 3399 h 6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935" h="6387">
                  <a:moveTo>
                    <a:pt x="955" y="5294"/>
                  </a:moveTo>
                  <a:lnTo>
                    <a:pt x="955" y="5294"/>
                  </a:lnTo>
                  <a:cubicBezTo>
                    <a:pt x="932" y="5294"/>
                    <a:pt x="901" y="5248"/>
                    <a:pt x="909" y="5225"/>
                  </a:cubicBezTo>
                  <a:cubicBezTo>
                    <a:pt x="917" y="5210"/>
                    <a:pt x="939" y="5202"/>
                    <a:pt x="955" y="5202"/>
                  </a:cubicBezTo>
                  <a:cubicBezTo>
                    <a:pt x="993" y="5202"/>
                    <a:pt x="985" y="5171"/>
                    <a:pt x="993" y="5141"/>
                  </a:cubicBezTo>
                  <a:cubicBezTo>
                    <a:pt x="993" y="5133"/>
                    <a:pt x="993" y="5110"/>
                    <a:pt x="1008" y="5110"/>
                  </a:cubicBezTo>
                  <a:cubicBezTo>
                    <a:pt x="1023" y="5110"/>
                    <a:pt x="1039" y="5103"/>
                    <a:pt x="1046" y="5103"/>
                  </a:cubicBezTo>
                  <a:cubicBezTo>
                    <a:pt x="1054" y="5141"/>
                    <a:pt x="1054" y="5210"/>
                    <a:pt x="1039" y="5240"/>
                  </a:cubicBezTo>
                  <a:cubicBezTo>
                    <a:pt x="1039" y="5248"/>
                    <a:pt x="1031" y="5255"/>
                    <a:pt x="1031" y="5271"/>
                  </a:cubicBezTo>
                  <a:cubicBezTo>
                    <a:pt x="1031" y="5286"/>
                    <a:pt x="1046" y="5294"/>
                    <a:pt x="1031" y="5301"/>
                  </a:cubicBezTo>
                  <a:cubicBezTo>
                    <a:pt x="1016" y="5317"/>
                    <a:pt x="993" y="5317"/>
                    <a:pt x="970" y="5309"/>
                  </a:cubicBezTo>
                  <a:cubicBezTo>
                    <a:pt x="955" y="5294"/>
                    <a:pt x="955" y="5294"/>
                    <a:pt x="955" y="5294"/>
                  </a:cubicBezTo>
                  <a:close/>
                  <a:moveTo>
                    <a:pt x="886" y="5393"/>
                  </a:moveTo>
                  <a:lnTo>
                    <a:pt x="886" y="5393"/>
                  </a:lnTo>
                  <a:cubicBezTo>
                    <a:pt x="878" y="5401"/>
                    <a:pt x="871" y="5393"/>
                    <a:pt x="863" y="5393"/>
                  </a:cubicBezTo>
                  <a:cubicBezTo>
                    <a:pt x="856" y="5393"/>
                    <a:pt x="848" y="5401"/>
                    <a:pt x="840" y="5401"/>
                  </a:cubicBezTo>
                  <a:cubicBezTo>
                    <a:pt x="833" y="5408"/>
                    <a:pt x="840" y="5431"/>
                    <a:pt x="848" y="5439"/>
                  </a:cubicBezTo>
                  <a:cubicBezTo>
                    <a:pt x="863" y="5439"/>
                    <a:pt x="863" y="5439"/>
                    <a:pt x="878" y="5439"/>
                  </a:cubicBezTo>
                  <a:cubicBezTo>
                    <a:pt x="894" y="5439"/>
                    <a:pt x="901" y="5416"/>
                    <a:pt x="909" y="5408"/>
                  </a:cubicBezTo>
                  <a:cubicBezTo>
                    <a:pt x="886" y="5393"/>
                    <a:pt x="886" y="5393"/>
                    <a:pt x="886" y="5393"/>
                  </a:cubicBezTo>
                  <a:close/>
                  <a:moveTo>
                    <a:pt x="550" y="4904"/>
                  </a:moveTo>
                  <a:lnTo>
                    <a:pt x="550" y="4904"/>
                  </a:lnTo>
                  <a:cubicBezTo>
                    <a:pt x="603" y="4889"/>
                    <a:pt x="672" y="4751"/>
                    <a:pt x="733" y="4782"/>
                  </a:cubicBezTo>
                  <a:cubicBezTo>
                    <a:pt x="764" y="4790"/>
                    <a:pt x="802" y="4813"/>
                    <a:pt x="817" y="4835"/>
                  </a:cubicBezTo>
                  <a:cubicBezTo>
                    <a:pt x="871" y="4889"/>
                    <a:pt x="817" y="4858"/>
                    <a:pt x="817" y="4904"/>
                  </a:cubicBezTo>
                  <a:cubicBezTo>
                    <a:pt x="886" y="4919"/>
                    <a:pt x="878" y="4942"/>
                    <a:pt x="863" y="5003"/>
                  </a:cubicBezTo>
                  <a:cubicBezTo>
                    <a:pt x="848" y="5049"/>
                    <a:pt x="825" y="5057"/>
                    <a:pt x="802" y="5095"/>
                  </a:cubicBezTo>
                  <a:cubicBezTo>
                    <a:pt x="779" y="5126"/>
                    <a:pt x="779" y="5156"/>
                    <a:pt x="725" y="5133"/>
                  </a:cubicBezTo>
                  <a:cubicBezTo>
                    <a:pt x="680" y="5110"/>
                    <a:pt x="672" y="5034"/>
                    <a:pt x="634" y="5011"/>
                  </a:cubicBezTo>
                  <a:cubicBezTo>
                    <a:pt x="611" y="4988"/>
                    <a:pt x="558" y="4950"/>
                    <a:pt x="535" y="4927"/>
                  </a:cubicBezTo>
                  <a:cubicBezTo>
                    <a:pt x="550" y="4904"/>
                    <a:pt x="550" y="4904"/>
                    <a:pt x="550" y="4904"/>
                  </a:cubicBezTo>
                  <a:close/>
                  <a:moveTo>
                    <a:pt x="321" y="4767"/>
                  </a:moveTo>
                  <a:lnTo>
                    <a:pt x="321" y="4767"/>
                  </a:lnTo>
                  <a:cubicBezTo>
                    <a:pt x="351" y="4767"/>
                    <a:pt x="389" y="4744"/>
                    <a:pt x="420" y="4744"/>
                  </a:cubicBezTo>
                  <a:cubicBezTo>
                    <a:pt x="435" y="4744"/>
                    <a:pt x="451" y="4744"/>
                    <a:pt x="458" y="4744"/>
                  </a:cubicBezTo>
                  <a:cubicBezTo>
                    <a:pt x="473" y="4751"/>
                    <a:pt x="512" y="4774"/>
                    <a:pt x="466" y="4774"/>
                  </a:cubicBezTo>
                  <a:cubicBezTo>
                    <a:pt x="451" y="4774"/>
                    <a:pt x="428" y="4774"/>
                    <a:pt x="412" y="4774"/>
                  </a:cubicBezTo>
                  <a:cubicBezTo>
                    <a:pt x="389" y="4782"/>
                    <a:pt x="374" y="4805"/>
                    <a:pt x="359" y="4813"/>
                  </a:cubicBezTo>
                  <a:cubicBezTo>
                    <a:pt x="351" y="4813"/>
                    <a:pt x="336" y="4820"/>
                    <a:pt x="321" y="4820"/>
                  </a:cubicBezTo>
                  <a:cubicBezTo>
                    <a:pt x="306" y="4820"/>
                    <a:pt x="306" y="4797"/>
                    <a:pt x="306" y="4782"/>
                  </a:cubicBezTo>
                  <a:cubicBezTo>
                    <a:pt x="321" y="4767"/>
                    <a:pt x="321" y="4767"/>
                    <a:pt x="321" y="4767"/>
                  </a:cubicBezTo>
                  <a:close/>
                  <a:moveTo>
                    <a:pt x="1291" y="4163"/>
                  </a:moveTo>
                  <a:lnTo>
                    <a:pt x="1291" y="4163"/>
                  </a:lnTo>
                  <a:cubicBezTo>
                    <a:pt x="1268" y="4148"/>
                    <a:pt x="1268" y="4148"/>
                    <a:pt x="1268" y="4148"/>
                  </a:cubicBezTo>
                  <a:cubicBezTo>
                    <a:pt x="1237" y="4140"/>
                    <a:pt x="1230" y="4125"/>
                    <a:pt x="1207" y="4125"/>
                  </a:cubicBezTo>
                  <a:cubicBezTo>
                    <a:pt x="1184" y="4125"/>
                    <a:pt x="1169" y="4148"/>
                    <a:pt x="1153" y="4148"/>
                  </a:cubicBezTo>
                  <a:cubicBezTo>
                    <a:pt x="1153" y="4110"/>
                    <a:pt x="1184" y="4010"/>
                    <a:pt x="1108" y="4026"/>
                  </a:cubicBezTo>
                  <a:cubicBezTo>
                    <a:pt x="1023" y="4041"/>
                    <a:pt x="1100" y="3965"/>
                    <a:pt x="1046" y="3919"/>
                  </a:cubicBezTo>
                  <a:cubicBezTo>
                    <a:pt x="1008" y="3873"/>
                    <a:pt x="1039" y="3850"/>
                    <a:pt x="1039" y="3804"/>
                  </a:cubicBezTo>
                  <a:cubicBezTo>
                    <a:pt x="1039" y="3758"/>
                    <a:pt x="939" y="3751"/>
                    <a:pt x="978" y="3728"/>
                  </a:cubicBezTo>
                  <a:cubicBezTo>
                    <a:pt x="1008" y="3713"/>
                    <a:pt x="1008" y="3705"/>
                    <a:pt x="1008" y="3674"/>
                  </a:cubicBezTo>
                  <a:cubicBezTo>
                    <a:pt x="1008" y="3514"/>
                    <a:pt x="1054" y="3254"/>
                    <a:pt x="955" y="3117"/>
                  </a:cubicBezTo>
                  <a:cubicBezTo>
                    <a:pt x="932" y="3079"/>
                    <a:pt x="878" y="3124"/>
                    <a:pt x="878" y="3071"/>
                  </a:cubicBezTo>
                  <a:cubicBezTo>
                    <a:pt x="878" y="2987"/>
                    <a:pt x="794" y="2964"/>
                    <a:pt x="787" y="2895"/>
                  </a:cubicBezTo>
                  <a:cubicBezTo>
                    <a:pt x="787" y="2865"/>
                    <a:pt x="733" y="2910"/>
                    <a:pt x="710" y="2910"/>
                  </a:cubicBezTo>
                  <a:lnTo>
                    <a:pt x="710" y="2910"/>
                  </a:lnTo>
                  <a:cubicBezTo>
                    <a:pt x="710" y="3002"/>
                    <a:pt x="672" y="3033"/>
                    <a:pt x="581" y="3056"/>
                  </a:cubicBezTo>
                  <a:cubicBezTo>
                    <a:pt x="581" y="3079"/>
                    <a:pt x="596" y="3102"/>
                    <a:pt x="603" y="3117"/>
                  </a:cubicBezTo>
                  <a:cubicBezTo>
                    <a:pt x="611" y="3147"/>
                    <a:pt x="611" y="3216"/>
                    <a:pt x="619" y="3231"/>
                  </a:cubicBezTo>
                  <a:cubicBezTo>
                    <a:pt x="642" y="3262"/>
                    <a:pt x="703" y="3246"/>
                    <a:pt x="649" y="3292"/>
                  </a:cubicBezTo>
                  <a:cubicBezTo>
                    <a:pt x="565" y="3361"/>
                    <a:pt x="703" y="3438"/>
                    <a:pt x="718" y="3521"/>
                  </a:cubicBezTo>
                  <a:cubicBezTo>
                    <a:pt x="695" y="3521"/>
                    <a:pt x="603" y="3453"/>
                    <a:pt x="603" y="3422"/>
                  </a:cubicBezTo>
                  <a:cubicBezTo>
                    <a:pt x="596" y="3430"/>
                    <a:pt x="603" y="3483"/>
                    <a:pt x="581" y="3491"/>
                  </a:cubicBezTo>
                  <a:cubicBezTo>
                    <a:pt x="565" y="3499"/>
                    <a:pt x="535" y="3521"/>
                    <a:pt x="535" y="3506"/>
                  </a:cubicBezTo>
                  <a:cubicBezTo>
                    <a:pt x="512" y="3453"/>
                    <a:pt x="473" y="3407"/>
                    <a:pt x="428" y="3377"/>
                  </a:cubicBezTo>
                  <a:cubicBezTo>
                    <a:pt x="351" y="3338"/>
                    <a:pt x="389" y="3331"/>
                    <a:pt x="344" y="3269"/>
                  </a:cubicBezTo>
                  <a:cubicBezTo>
                    <a:pt x="313" y="3224"/>
                    <a:pt x="267" y="3124"/>
                    <a:pt x="244" y="3216"/>
                  </a:cubicBezTo>
                  <a:cubicBezTo>
                    <a:pt x="237" y="3262"/>
                    <a:pt x="199" y="3354"/>
                    <a:pt x="260" y="3354"/>
                  </a:cubicBezTo>
                  <a:cubicBezTo>
                    <a:pt x="290" y="3354"/>
                    <a:pt x="298" y="3407"/>
                    <a:pt x="321" y="3422"/>
                  </a:cubicBezTo>
                  <a:cubicBezTo>
                    <a:pt x="374" y="3468"/>
                    <a:pt x="351" y="3460"/>
                    <a:pt x="351" y="3521"/>
                  </a:cubicBezTo>
                  <a:cubicBezTo>
                    <a:pt x="344" y="3521"/>
                    <a:pt x="313" y="3491"/>
                    <a:pt x="306" y="3483"/>
                  </a:cubicBezTo>
                  <a:cubicBezTo>
                    <a:pt x="283" y="3460"/>
                    <a:pt x="275" y="3483"/>
                    <a:pt x="244" y="3483"/>
                  </a:cubicBezTo>
                  <a:cubicBezTo>
                    <a:pt x="244" y="3567"/>
                    <a:pt x="321" y="3590"/>
                    <a:pt x="260" y="3682"/>
                  </a:cubicBezTo>
                  <a:cubicBezTo>
                    <a:pt x="229" y="3652"/>
                    <a:pt x="69" y="3308"/>
                    <a:pt x="69" y="3537"/>
                  </a:cubicBezTo>
                  <a:cubicBezTo>
                    <a:pt x="69" y="3575"/>
                    <a:pt x="99" y="3613"/>
                    <a:pt x="107" y="3644"/>
                  </a:cubicBezTo>
                  <a:cubicBezTo>
                    <a:pt x="76" y="3644"/>
                    <a:pt x="38" y="3613"/>
                    <a:pt x="8" y="3613"/>
                  </a:cubicBezTo>
                  <a:cubicBezTo>
                    <a:pt x="0" y="3613"/>
                    <a:pt x="0" y="3697"/>
                    <a:pt x="0" y="3720"/>
                  </a:cubicBezTo>
                  <a:cubicBezTo>
                    <a:pt x="61" y="3720"/>
                    <a:pt x="99" y="3667"/>
                    <a:pt x="99" y="3781"/>
                  </a:cubicBezTo>
                  <a:cubicBezTo>
                    <a:pt x="99" y="3850"/>
                    <a:pt x="145" y="3926"/>
                    <a:pt x="229" y="3911"/>
                  </a:cubicBezTo>
                  <a:cubicBezTo>
                    <a:pt x="298" y="3957"/>
                    <a:pt x="367" y="4033"/>
                    <a:pt x="374" y="3926"/>
                  </a:cubicBezTo>
                  <a:cubicBezTo>
                    <a:pt x="374" y="3881"/>
                    <a:pt x="351" y="3781"/>
                    <a:pt x="397" y="3781"/>
                  </a:cubicBezTo>
                  <a:cubicBezTo>
                    <a:pt x="428" y="3781"/>
                    <a:pt x="412" y="3873"/>
                    <a:pt x="451" y="3850"/>
                  </a:cubicBezTo>
                  <a:cubicBezTo>
                    <a:pt x="481" y="3835"/>
                    <a:pt x="489" y="3789"/>
                    <a:pt x="496" y="3865"/>
                  </a:cubicBezTo>
                  <a:cubicBezTo>
                    <a:pt x="504" y="3919"/>
                    <a:pt x="519" y="3965"/>
                    <a:pt x="558" y="3934"/>
                  </a:cubicBezTo>
                  <a:cubicBezTo>
                    <a:pt x="588" y="3919"/>
                    <a:pt x="779" y="4117"/>
                    <a:pt x="657" y="4026"/>
                  </a:cubicBezTo>
                  <a:cubicBezTo>
                    <a:pt x="542" y="3942"/>
                    <a:pt x="443" y="4041"/>
                    <a:pt x="535" y="4163"/>
                  </a:cubicBezTo>
                  <a:cubicBezTo>
                    <a:pt x="642" y="4324"/>
                    <a:pt x="642" y="4324"/>
                    <a:pt x="642" y="4324"/>
                  </a:cubicBezTo>
                  <a:cubicBezTo>
                    <a:pt x="710" y="4415"/>
                    <a:pt x="802" y="4362"/>
                    <a:pt x="794" y="4392"/>
                  </a:cubicBezTo>
                  <a:cubicBezTo>
                    <a:pt x="794" y="4408"/>
                    <a:pt x="733" y="4515"/>
                    <a:pt x="771" y="4484"/>
                  </a:cubicBezTo>
                  <a:cubicBezTo>
                    <a:pt x="802" y="4461"/>
                    <a:pt x="848" y="4453"/>
                    <a:pt x="878" y="4438"/>
                  </a:cubicBezTo>
                  <a:cubicBezTo>
                    <a:pt x="932" y="4408"/>
                    <a:pt x="962" y="4446"/>
                    <a:pt x="1008" y="4423"/>
                  </a:cubicBezTo>
                  <a:cubicBezTo>
                    <a:pt x="1023" y="4415"/>
                    <a:pt x="1039" y="4346"/>
                    <a:pt x="1069" y="4423"/>
                  </a:cubicBezTo>
                  <a:cubicBezTo>
                    <a:pt x="1077" y="4461"/>
                    <a:pt x="1062" y="4599"/>
                    <a:pt x="1115" y="4583"/>
                  </a:cubicBezTo>
                  <a:cubicBezTo>
                    <a:pt x="1138" y="4568"/>
                    <a:pt x="1214" y="4308"/>
                    <a:pt x="1214" y="4316"/>
                  </a:cubicBezTo>
                  <a:cubicBezTo>
                    <a:pt x="1245" y="4362"/>
                    <a:pt x="1237" y="4453"/>
                    <a:pt x="1291" y="4453"/>
                  </a:cubicBezTo>
                  <a:cubicBezTo>
                    <a:pt x="1352" y="4453"/>
                    <a:pt x="1428" y="4430"/>
                    <a:pt x="1482" y="4430"/>
                  </a:cubicBezTo>
                  <a:cubicBezTo>
                    <a:pt x="1321" y="4515"/>
                    <a:pt x="1321" y="4515"/>
                    <a:pt x="1321" y="4515"/>
                  </a:cubicBezTo>
                  <a:cubicBezTo>
                    <a:pt x="1222" y="4560"/>
                    <a:pt x="1275" y="4652"/>
                    <a:pt x="1230" y="4728"/>
                  </a:cubicBezTo>
                  <a:cubicBezTo>
                    <a:pt x="1123" y="4896"/>
                    <a:pt x="1275" y="4919"/>
                    <a:pt x="1367" y="4805"/>
                  </a:cubicBezTo>
                  <a:cubicBezTo>
                    <a:pt x="1398" y="4767"/>
                    <a:pt x="1474" y="4621"/>
                    <a:pt x="1505" y="4621"/>
                  </a:cubicBezTo>
                  <a:cubicBezTo>
                    <a:pt x="1535" y="4621"/>
                    <a:pt x="1596" y="4538"/>
                    <a:pt x="1581" y="4507"/>
                  </a:cubicBezTo>
                  <a:cubicBezTo>
                    <a:pt x="1528" y="4408"/>
                    <a:pt x="1581" y="4469"/>
                    <a:pt x="1642" y="4438"/>
                  </a:cubicBezTo>
                  <a:cubicBezTo>
                    <a:pt x="1665" y="4430"/>
                    <a:pt x="1696" y="4392"/>
                    <a:pt x="1719" y="4377"/>
                  </a:cubicBezTo>
                  <a:cubicBezTo>
                    <a:pt x="1787" y="4331"/>
                    <a:pt x="1772" y="4270"/>
                    <a:pt x="1772" y="4194"/>
                  </a:cubicBezTo>
                  <a:cubicBezTo>
                    <a:pt x="1780" y="4171"/>
                    <a:pt x="1619" y="4140"/>
                    <a:pt x="1581" y="4156"/>
                  </a:cubicBezTo>
                  <a:cubicBezTo>
                    <a:pt x="1444" y="4232"/>
                    <a:pt x="1421" y="4263"/>
                    <a:pt x="1291" y="4163"/>
                  </a:cubicBezTo>
                  <a:close/>
                  <a:moveTo>
                    <a:pt x="1329" y="4026"/>
                  </a:moveTo>
                  <a:lnTo>
                    <a:pt x="1329" y="4026"/>
                  </a:lnTo>
                  <a:cubicBezTo>
                    <a:pt x="1360" y="4056"/>
                    <a:pt x="1360" y="4056"/>
                    <a:pt x="1360" y="4056"/>
                  </a:cubicBezTo>
                  <a:cubicBezTo>
                    <a:pt x="1360" y="4079"/>
                    <a:pt x="1367" y="4110"/>
                    <a:pt x="1360" y="4133"/>
                  </a:cubicBezTo>
                  <a:cubicBezTo>
                    <a:pt x="1344" y="4148"/>
                    <a:pt x="1321" y="4140"/>
                    <a:pt x="1306" y="4140"/>
                  </a:cubicBezTo>
                  <a:cubicBezTo>
                    <a:pt x="1306" y="4125"/>
                    <a:pt x="1268" y="4102"/>
                    <a:pt x="1260" y="4094"/>
                  </a:cubicBezTo>
                  <a:cubicBezTo>
                    <a:pt x="1245" y="4079"/>
                    <a:pt x="1207" y="4056"/>
                    <a:pt x="1214" y="4041"/>
                  </a:cubicBezTo>
                  <a:cubicBezTo>
                    <a:pt x="1214" y="4026"/>
                    <a:pt x="1222" y="4018"/>
                    <a:pt x="1237" y="4010"/>
                  </a:cubicBezTo>
                  <a:cubicBezTo>
                    <a:pt x="1253" y="4010"/>
                    <a:pt x="1283" y="4003"/>
                    <a:pt x="1298" y="4010"/>
                  </a:cubicBezTo>
                  <a:cubicBezTo>
                    <a:pt x="1306" y="4010"/>
                    <a:pt x="1321" y="4026"/>
                    <a:pt x="1329" y="4026"/>
                  </a:cubicBezTo>
                  <a:close/>
                  <a:moveTo>
                    <a:pt x="1253" y="3499"/>
                  </a:moveTo>
                  <a:lnTo>
                    <a:pt x="1253" y="3499"/>
                  </a:lnTo>
                  <a:cubicBezTo>
                    <a:pt x="1260" y="3468"/>
                    <a:pt x="1260" y="3468"/>
                    <a:pt x="1260" y="3468"/>
                  </a:cubicBezTo>
                  <a:cubicBezTo>
                    <a:pt x="1314" y="3476"/>
                    <a:pt x="1268" y="3514"/>
                    <a:pt x="1268" y="3552"/>
                  </a:cubicBezTo>
                  <a:cubicBezTo>
                    <a:pt x="1268" y="3613"/>
                    <a:pt x="1222" y="3636"/>
                    <a:pt x="1199" y="3690"/>
                  </a:cubicBezTo>
                  <a:cubicBezTo>
                    <a:pt x="1184" y="3735"/>
                    <a:pt x="1199" y="3774"/>
                    <a:pt x="1214" y="3812"/>
                  </a:cubicBezTo>
                  <a:cubicBezTo>
                    <a:pt x="1214" y="3835"/>
                    <a:pt x="1298" y="3934"/>
                    <a:pt x="1245" y="3957"/>
                  </a:cubicBezTo>
                  <a:cubicBezTo>
                    <a:pt x="1230" y="3957"/>
                    <a:pt x="1184" y="3995"/>
                    <a:pt x="1176" y="3995"/>
                  </a:cubicBezTo>
                  <a:cubicBezTo>
                    <a:pt x="1146" y="3995"/>
                    <a:pt x="1146" y="3957"/>
                    <a:pt x="1138" y="3942"/>
                  </a:cubicBezTo>
                  <a:cubicBezTo>
                    <a:pt x="1130" y="3926"/>
                    <a:pt x="1123" y="3919"/>
                    <a:pt x="1115" y="3911"/>
                  </a:cubicBezTo>
                  <a:cubicBezTo>
                    <a:pt x="1115" y="3896"/>
                    <a:pt x="1123" y="3888"/>
                    <a:pt x="1123" y="3873"/>
                  </a:cubicBezTo>
                  <a:cubicBezTo>
                    <a:pt x="1123" y="3827"/>
                    <a:pt x="1130" y="3781"/>
                    <a:pt x="1115" y="3743"/>
                  </a:cubicBezTo>
                  <a:cubicBezTo>
                    <a:pt x="1108" y="3690"/>
                    <a:pt x="1130" y="3652"/>
                    <a:pt x="1130" y="3613"/>
                  </a:cubicBezTo>
                  <a:cubicBezTo>
                    <a:pt x="1169" y="3606"/>
                    <a:pt x="1161" y="3636"/>
                    <a:pt x="1192" y="3636"/>
                  </a:cubicBezTo>
                  <a:cubicBezTo>
                    <a:pt x="1214" y="3636"/>
                    <a:pt x="1222" y="3583"/>
                    <a:pt x="1222" y="3560"/>
                  </a:cubicBezTo>
                  <a:cubicBezTo>
                    <a:pt x="1222" y="3529"/>
                    <a:pt x="1230" y="3537"/>
                    <a:pt x="1245" y="3521"/>
                  </a:cubicBezTo>
                  <a:cubicBezTo>
                    <a:pt x="1253" y="3514"/>
                    <a:pt x="1245" y="3506"/>
                    <a:pt x="1253" y="3499"/>
                  </a:cubicBezTo>
                  <a:close/>
                  <a:moveTo>
                    <a:pt x="1253" y="3399"/>
                  </a:moveTo>
                  <a:lnTo>
                    <a:pt x="1253" y="3399"/>
                  </a:lnTo>
                  <a:cubicBezTo>
                    <a:pt x="1260" y="3369"/>
                    <a:pt x="1268" y="3338"/>
                    <a:pt x="1268" y="3308"/>
                  </a:cubicBezTo>
                  <a:cubicBezTo>
                    <a:pt x="1275" y="3285"/>
                    <a:pt x="1268" y="3246"/>
                    <a:pt x="1298" y="3246"/>
                  </a:cubicBezTo>
                  <a:cubicBezTo>
                    <a:pt x="1306" y="3254"/>
                    <a:pt x="1306" y="3254"/>
                    <a:pt x="1306" y="3262"/>
                  </a:cubicBezTo>
                  <a:cubicBezTo>
                    <a:pt x="1306" y="3285"/>
                    <a:pt x="1306" y="3308"/>
                    <a:pt x="1306" y="3331"/>
                  </a:cubicBezTo>
                  <a:cubicBezTo>
                    <a:pt x="1298" y="3346"/>
                    <a:pt x="1298" y="3369"/>
                    <a:pt x="1298" y="3392"/>
                  </a:cubicBezTo>
                  <a:cubicBezTo>
                    <a:pt x="1291" y="3407"/>
                    <a:pt x="1291" y="3422"/>
                    <a:pt x="1291" y="3438"/>
                  </a:cubicBezTo>
                  <a:lnTo>
                    <a:pt x="1291" y="3438"/>
                  </a:lnTo>
                  <a:cubicBezTo>
                    <a:pt x="1275" y="3438"/>
                    <a:pt x="1260" y="3445"/>
                    <a:pt x="1253" y="3430"/>
                  </a:cubicBezTo>
                  <a:cubicBezTo>
                    <a:pt x="1253" y="3399"/>
                    <a:pt x="1253" y="3399"/>
                    <a:pt x="1253" y="3399"/>
                  </a:cubicBezTo>
                  <a:close/>
                  <a:moveTo>
                    <a:pt x="871" y="4553"/>
                  </a:moveTo>
                  <a:lnTo>
                    <a:pt x="871" y="4553"/>
                  </a:lnTo>
                  <a:cubicBezTo>
                    <a:pt x="863" y="4538"/>
                    <a:pt x="856" y="4522"/>
                    <a:pt x="863" y="4507"/>
                  </a:cubicBezTo>
                  <a:cubicBezTo>
                    <a:pt x="863" y="4499"/>
                    <a:pt x="871" y="4507"/>
                    <a:pt x="878" y="4507"/>
                  </a:cubicBezTo>
                  <a:cubicBezTo>
                    <a:pt x="894" y="4499"/>
                    <a:pt x="894" y="4492"/>
                    <a:pt x="901" y="4484"/>
                  </a:cubicBezTo>
                  <a:cubicBezTo>
                    <a:pt x="917" y="4469"/>
                    <a:pt x="939" y="4461"/>
                    <a:pt x="955" y="4476"/>
                  </a:cubicBezTo>
                  <a:cubicBezTo>
                    <a:pt x="970" y="4492"/>
                    <a:pt x="962" y="4492"/>
                    <a:pt x="947" y="4492"/>
                  </a:cubicBezTo>
                  <a:cubicBezTo>
                    <a:pt x="917" y="4499"/>
                    <a:pt x="932" y="4522"/>
                    <a:pt x="932" y="4538"/>
                  </a:cubicBezTo>
                  <a:cubicBezTo>
                    <a:pt x="932" y="4545"/>
                    <a:pt x="924" y="4560"/>
                    <a:pt x="917" y="4560"/>
                  </a:cubicBezTo>
                  <a:cubicBezTo>
                    <a:pt x="909" y="4568"/>
                    <a:pt x="894" y="4568"/>
                    <a:pt x="878" y="4560"/>
                  </a:cubicBezTo>
                  <a:cubicBezTo>
                    <a:pt x="871" y="4553"/>
                    <a:pt x="871" y="4553"/>
                    <a:pt x="871" y="4553"/>
                  </a:cubicBezTo>
                  <a:close/>
                  <a:moveTo>
                    <a:pt x="4812" y="3056"/>
                  </a:moveTo>
                  <a:lnTo>
                    <a:pt x="4812" y="3056"/>
                  </a:lnTo>
                  <a:cubicBezTo>
                    <a:pt x="4766" y="3094"/>
                    <a:pt x="4728" y="3147"/>
                    <a:pt x="4682" y="3178"/>
                  </a:cubicBezTo>
                  <a:cubicBezTo>
                    <a:pt x="4552" y="3254"/>
                    <a:pt x="4529" y="3216"/>
                    <a:pt x="4407" y="3193"/>
                  </a:cubicBezTo>
                  <a:cubicBezTo>
                    <a:pt x="4361" y="3185"/>
                    <a:pt x="4331" y="3231"/>
                    <a:pt x="4270" y="3231"/>
                  </a:cubicBezTo>
                  <a:cubicBezTo>
                    <a:pt x="4270" y="3269"/>
                    <a:pt x="4361" y="3277"/>
                    <a:pt x="4323" y="3323"/>
                  </a:cubicBezTo>
                  <a:cubicBezTo>
                    <a:pt x="4208" y="3438"/>
                    <a:pt x="4208" y="3438"/>
                    <a:pt x="4208" y="3438"/>
                  </a:cubicBezTo>
                  <a:cubicBezTo>
                    <a:pt x="4178" y="3468"/>
                    <a:pt x="4147" y="3422"/>
                    <a:pt x="4147" y="3483"/>
                  </a:cubicBezTo>
                  <a:cubicBezTo>
                    <a:pt x="4140" y="3560"/>
                    <a:pt x="4079" y="3506"/>
                    <a:pt x="4048" y="3506"/>
                  </a:cubicBezTo>
                  <a:cubicBezTo>
                    <a:pt x="3979" y="3506"/>
                    <a:pt x="3911" y="3537"/>
                    <a:pt x="3834" y="3537"/>
                  </a:cubicBezTo>
                  <a:cubicBezTo>
                    <a:pt x="3789" y="3537"/>
                    <a:pt x="3781" y="3491"/>
                    <a:pt x="3743" y="3483"/>
                  </a:cubicBezTo>
                  <a:cubicBezTo>
                    <a:pt x="3758" y="3422"/>
                    <a:pt x="3979" y="3514"/>
                    <a:pt x="4041" y="3468"/>
                  </a:cubicBezTo>
                  <a:cubicBezTo>
                    <a:pt x="4125" y="3392"/>
                    <a:pt x="4056" y="3269"/>
                    <a:pt x="4231" y="3269"/>
                  </a:cubicBezTo>
                  <a:cubicBezTo>
                    <a:pt x="4201" y="3178"/>
                    <a:pt x="4293" y="3102"/>
                    <a:pt x="4354" y="3025"/>
                  </a:cubicBezTo>
                  <a:cubicBezTo>
                    <a:pt x="4377" y="3017"/>
                    <a:pt x="4430" y="2979"/>
                    <a:pt x="4392" y="2964"/>
                  </a:cubicBezTo>
                  <a:cubicBezTo>
                    <a:pt x="4346" y="2949"/>
                    <a:pt x="4346" y="2941"/>
                    <a:pt x="4300" y="2964"/>
                  </a:cubicBezTo>
                  <a:cubicBezTo>
                    <a:pt x="4254" y="2994"/>
                    <a:pt x="4186" y="3048"/>
                    <a:pt x="4125" y="2994"/>
                  </a:cubicBezTo>
                  <a:cubicBezTo>
                    <a:pt x="4079" y="2941"/>
                    <a:pt x="3911" y="3102"/>
                    <a:pt x="3872" y="3140"/>
                  </a:cubicBezTo>
                  <a:cubicBezTo>
                    <a:pt x="3827" y="3185"/>
                    <a:pt x="3773" y="3224"/>
                    <a:pt x="3727" y="3269"/>
                  </a:cubicBezTo>
                  <a:cubicBezTo>
                    <a:pt x="3735" y="3231"/>
                    <a:pt x="3743" y="3193"/>
                    <a:pt x="3766" y="3162"/>
                  </a:cubicBezTo>
                  <a:cubicBezTo>
                    <a:pt x="3789" y="3132"/>
                    <a:pt x="3827" y="3117"/>
                    <a:pt x="3842" y="3079"/>
                  </a:cubicBezTo>
                  <a:cubicBezTo>
                    <a:pt x="3857" y="3048"/>
                    <a:pt x="3872" y="3048"/>
                    <a:pt x="3903" y="3025"/>
                  </a:cubicBezTo>
                  <a:cubicBezTo>
                    <a:pt x="3941" y="3002"/>
                    <a:pt x="3926" y="2972"/>
                    <a:pt x="3987" y="2956"/>
                  </a:cubicBezTo>
                  <a:cubicBezTo>
                    <a:pt x="4155" y="2926"/>
                    <a:pt x="4155" y="2926"/>
                    <a:pt x="4155" y="2926"/>
                  </a:cubicBezTo>
                  <a:cubicBezTo>
                    <a:pt x="4224" y="2918"/>
                    <a:pt x="4224" y="2857"/>
                    <a:pt x="4270" y="2827"/>
                  </a:cubicBezTo>
                  <a:cubicBezTo>
                    <a:pt x="4293" y="2811"/>
                    <a:pt x="4323" y="2819"/>
                    <a:pt x="4354" y="2819"/>
                  </a:cubicBezTo>
                  <a:cubicBezTo>
                    <a:pt x="4354" y="2811"/>
                    <a:pt x="4384" y="2788"/>
                    <a:pt x="4384" y="2796"/>
                  </a:cubicBezTo>
                  <a:cubicBezTo>
                    <a:pt x="4384" y="2834"/>
                    <a:pt x="4354" y="2872"/>
                    <a:pt x="4354" y="2903"/>
                  </a:cubicBezTo>
                  <a:cubicBezTo>
                    <a:pt x="4354" y="2918"/>
                    <a:pt x="4438" y="2979"/>
                    <a:pt x="4438" y="2941"/>
                  </a:cubicBezTo>
                  <a:cubicBezTo>
                    <a:pt x="4438" y="2918"/>
                    <a:pt x="4468" y="2888"/>
                    <a:pt x="4476" y="2865"/>
                  </a:cubicBezTo>
                  <a:cubicBezTo>
                    <a:pt x="4514" y="2781"/>
                    <a:pt x="4583" y="2689"/>
                    <a:pt x="4636" y="2613"/>
                  </a:cubicBezTo>
                  <a:cubicBezTo>
                    <a:pt x="4667" y="2567"/>
                    <a:pt x="4843" y="2360"/>
                    <a:pt x="4690" y="2437"/>
                  </a:cubicBezTo>
                  <a:cubicBezTo>
                    <a:pt x="4629" y="2460"/>
                    <a:pt x="4675" y="2529"/>
                    <a:pt x="4568" y="2529"/>
                  </a:cubicBezTo>
                  <a:cubicBezTo>
                    <a:pt x="4476" y="2529"/>
                    <a:pt x="4499" y="2437"/>
                    <a:pt x="4392" y="2513"/>
                  </a:cubicBezTo>
                  <a:cubicBezTo>
                    <a:pt x="4331" y="2559"/>
                    <a:pt x="4331" y="2529"/>
                    <a:pt x="4270" y="2506"/>
                  </a:cubicBezTo>
                  <a:cubicBezTo>
                    <a:pt x="4224" y="2490"/>
                    <a:pt x="4147" y="2506"/>
                    <a:pt x="4117" y="2468"/>
                  </a:cubicBezTo>
                  <a:cubicBezTo>
                    <a:pt x="4071" y="2429"/>
                    <a:pt x="4048" y="2437"/>
                    <a:pt x="3995" y="2429"/>
                  </a:cubicBezTo>
                  <a:cubicBezTo>
                    <a:pt x="3956" y="2422"/>
                    <a:pt x="3842" y="2383"/>
                    <a:pt x="3842" y="2337"/>
                  </a:cubicBezTo>
                  <a:cubicBezTo>
                    <a:pt x="3857" y="2376"/>
                    <a:pt x="4132" y="2422"/>
                    <a:pt x="4186" y="2429"/>
                  </a:cubicBezTo>
                  <a:cubicBezTo>
                    <a:pt x="4231" y="2445"/>
                    <a:pt x="4254" y="2422"/>
                    <a:pt x="4293" y="2406"/>
                  </a:cubicBezTo>
                  <a:cubicBezTo>
                    <a:pt x="4369" y="2383"/>
                    <a:pt x="4377" y="2460"/>
                    <a:pt x="4377" y="2337"/>
                  </a:cubicBezTo>
                  <a:cubicBezTo>
                    <a:pt x="4377" y="2223"/>
                    <a:pt x="4445" y="2261"/>
                    <a:pt x="4331" y="2193"/>
                  </a:cubicBezTo>
                  <a:cubicBezTo>
                    <a:pt x="4262" y="2147"/>
                    <a:pt x="4369" y="2177"/>
                    <a:pt x="4377" y="2185"/>
                  </a:cubicBezTo>
                  <a:cubicBezTo>
                    <a:pt x="4407" y="2215"/>
                    <a:pt x="4415" y="2139"/>
                    <a:pt x="4430" y="2108"/>
                  </a:cubicBezTo>
                  <a:cubicBezTo>
                    <a:pt x="4537" y="2040"/>
                    <a:pt x="4606" y="2070"/>
                    <a:pt x="4644" y="1933"/>
                  </a:cubicBezTo>
                  <a:cubicBezTo>
                    <a:pt x="4659" y="1879"/>
                    <a:pt x="4888" y="1719"/>
                    <a:pt x="4942" y="1696"/>
                  </a:cubicBezTo>
                  <a:cubicBezTo>
                    <a:pt x="4995" y="1666"/>
                    <a:pt x="5072" y="1551"/>
                    <a:pt x="5117" y="1543"/>
                  </a:cubicBezTo>
                  <a:cubicBezTo>
                    <a:pt x="5125" y="1528"/>
                    <a:pt x="5194" y="1490"/>
                    <a:pt x="5209" y="1452"/>
                  </a:cubicBezTo>
                  <a:cubicBezTo>
                    <a:pt x="5263" y="1345"/>
                    <a:pt x="5263" y="1345"/>
                    <a:pt x="5263" y="1345"/>
                  </a:cubicBezTo>
                  <a:cubicBezTo>
                    <a:pt x="5278" y="1306"/>
                    <a:pt x="5415" y="1199"/>
                    <a:pt x="5415" y="1192"/>
                  </a:cubicBezTo>
                  <a:cubicBezTo>
                    <a:pt x="5431" y="1192"/>
                    <a:pt x="5461" y="1177"/>
                    <a:pt x="5477" y="1169"/>
                  </a:cubicBezTo>
                  <a:cubicBezTo>
                    <a:pt x="5515" y="1161"/>
                    <a:pt x="5568" y="1108"/>
                    <a:pt x="5614" y="1100"/>
                  </a:cubicBezTo>
                  <a:cubicBezTo>
                    <a:pt x="5643" y="1100"/>
                    <a:pt x="5659" y="1047"/>
                    <a:pt x="5674" y="1024"/>
                  </a:cubicBezTo>
                  <a:cubicBezTo>
                    <a:pt x="5712" y="993"/>
                    <a:pt x="5804" y="924"/>
                    <a:pt x="5819" y="879"/>
                  </a:cubicBezTo>
                  <a:cubicBezTo>
                    <a:pt x="5827" y="833"/>
                    <a:pt x="5842" y="779"/>
                    <a:pt x="5857" y="734"/>
                  </a:cubicBezTo>
                  <a:cubicBezTo>
                    <a:pt x="5880" y="665"/>
                    <a:pt x="5850" y="657"/>
                    <a:pt x="5827" y="611"/>
                  </a:cubicBezTo>
                  <a:cubicBezTo>
                    <a:pt x="5781" y="543"/>
                    <a:pt x="5743" y="512"/>
                    <a:pt x="5758" y="413"/>
                  </a:cubicBezTo>
                  <a:cubicBezTo>
                    <a:pt x="5857" y="359"/>
                    <a:pt x="5934" y="184"/>
                    <a:pt x="5934" y="69"/>
                  </a:cubicBezTo>
                  <a:cubicBezTo>
                    <a:pt x="5804" y="54"/>
                    <a:pt x="5804" y="54"/>
                    <a:pt x="5804" y="54"/>
                  </a:cubicBezTo>
                  <a:cubicBezTo>
                    <a:pt x="5781" y="46"/>
                    <a:pt x="5758" y="69"/>
                    <a:pt x="5743" y="115"/>
                  </a:cubicBezTo>
                  <a:cubicBezTo>
                    <a:pt x="5697" y="115"/>
                    <a:pt x="5697" y="38"/>
                    <a:pt x="5622" y="54"/>
                  </a:cubicBezTo>
                  <a:cubicBezTo>
                    <a:pt x="5561" y="61"/>
                    <a:pt x="5492" y="84"/>
                    <a:pt x="5431" y="69"/>
                  </a:cubicBezTo>
                  <a:cubicBezTo>
                    <a:pt x="5408" y="61"/>
                    <a:pt x="5362" y="0"/>
                    <a:pt x="5354" y="16"/>
                  </a:cubicBezTo>
                  <a:cubicBezTo>
                    <a:pt x="5331" y="46"/>
                    <a:pt x="5301" y="107"/>
                    <a:pt x="5347" y="122"/>
                  </a:cubicBezTo>
                  <a:cubicBezTo>
                    <a:pt x="5415" y="153"/>
                    <a:pt x="5400" y="199"/>
                    <a:pt x="5385" y="252"/>
                  </a:cubicBezTo>
                  <a:cubicBezTo>
                    <a:pt x="5339" y="245"/>
                    <a:pt x="5270" y="153"/>
                    <a:pt x="5186" y="176"/>
                  </a:cubicBezTo>
                  <a:cubicBezTo>
                    <a:pt x="5049" y="230"/>
                    <a:pt x="5186" y="122"/>
                    <a:pt x="5049" y="153"/>
                  </a:cubicBezTo>
                  <a:cubicBezTo>
                    <a:pt x="5003" y="168"/>
                    <a:pt x="4934" y="161"/>
                    <a:pt x="4896" y="191"/>
                  </a:cubicBezTo>
                  <a:cubicBezTo>
                    <a:pt x="4843" y="245"/>
                    <a:pt x="4758" y="306"/>
                    <a:pt x="4682" y="313"/>
                  </a:cubicBezTo>
                  <a:cubicBezTo>
                    <a:pt x="4636" y="313"/>
                    <a:pt x="4377" y="329"/>
                    <a:pt x="4361" y="260"/>
                  </a:cubicBezTo>
                  <a:cubicBezTo>
                    <a:pt x="4346" y="138"/>
                    <a:pt x="4293" y="374"/>
                    <a:pt x="4231" y="344"/>
                  </a:cubicBezTo>
                  <a:cubicBezTo>
                    <a:pt x="4163" y="306"/>
                    <a:pt x="4155" y="382"/>
                    <a:pt x="4086" y="382"/>
                  </a:cubicBezTo>
                  <a:cubicBezTo>
                    <a:pt x="4033" y="382"/>
                    <a:pt x="4056" y="405"/>
                    <a:pt x="4025" y="436"/>
                  </a:cubicBezTo>
                  <a:cubicBezTo>
                    <a:pt x="3995" y="459"/>
                    <a:pt x="3934" y="413"/>
                    <a:pt x="3911" y="405"/>
                  </a:cubicBezTo>
                  <a:cubicBezTo>
                    <a:pt x="3834" y="359"/>
                    <a:pt x="3674" y="611"/>
                    <a:pt x="3659" y="672"/>
                  </a:cubicBezTo>
                  <a:cubicBezTo>
                    <a:pt x="3659" y="649"/>
                    <a:pt x="3674" y="520"/>
                    <a:pt x="3682" y="505"/>
                  </a:cubicBezTo>
                  <a:cubicBezTo>
                    <a:pt x="3727" y="451"/>
                    <a:pt x="3735" y="436"/>
                    <a:pt x="3712" y="367"/>
                  </a:cubicBezTo>
                  <a:cubicBezTo>
                    <a:pt x="3689" y="306"/>
                    <a:pt x="3628" y="298"/>
                    <a:pt x="3567" y="291"/>
                  </a:cubicBezTo>
                  <a:cubicBezTo>
                    <a:pt x="3338" y="252"/>
                    <a:pt x="3529" y="428"/>
                    <a:pt x="3399" y="474"/>
                  </a:cubicBezTo>
                  <a:cubicBezTo>
                    <a:pt x="3322" y="497"/>
                    <a:pt x="3300" y="634"/>
                    <a:pt x="3216" y="665"/>
                  </a:cubicBezTo>
                  <a:cubicBezTo>
                    <a:pt x="3193" y="672"/>
                    <a:pt x="3216" y="619"/>
                    <a:pt x="3223" y="611"/>
                  </a:cubicBezTo>
                  <a:cubicBezTo>
                    <a:pt x="3254" y="566"/>
                    <a:pt x="3322" y="482"/>
                    <a:pt x="3338" y="428"/>
                  </a:cubicBezTo>
                  <a:cubicBezTo>
                    <a:pt x="3376" y="329"/>
                    <a:pt x="3200" y="313"/>
                    <a:pt x="3170" y="222"/>
                  </a:cubicBezTo>
                  <a:cubicBezTo>
                    <a:pt x="3162" y="222"/>
                    <a:pt x="3162" y="291"/>
                    <a:pt x="3155" y="306"/>
                  </a:cubicBezTo>
                  <a:cubicBezTo>
                    <a:pt x="3101" y="451"/>
                    <a:pt x="3101" y="451"/>
                    <a:pt x="3101" y="451"/>
                  </a:cubicBezTo>
                  <a:cubicBezTo>
                    <a:pt x="3109" y="420"/>
                    <a:pt x="3116" y="382"/>
                    <a:pt x="3116" y="352"/>
                  </a:cubicBezTo>
                  <a:cubicBezTo>
                    <a:pt x="3116" y="336"/>
                    <a:pt x="3086" y="313"/>
                    <a:pt x="3078" y="283"/>
                  </a:cubicBezTo>
                  <a:cubicBezTo>
                    <a:pt x="3070" y="191"/>
                    <a:pt x="3017" y="161"/>
                    <a:pt x="2925" y="161"/>
                  </a:cubicBezTo>
                  <a:cubicBezTo>
                    <a:pt x="2880" y="161"/>
                    <a:pt x="2811" y="107"/>
                    <a:pt x="2811" y="168"/>
                  </a:cubicBezTo>
                  <a:cubicBezTo>
                    <a:pt x="2811" y="230"/>
                    <a:pt x="2803" y="321"/>
                    <a:pt x="2765" y="367"/>
                  </a:cubicBezTo>
                  <a:cubicBezTo>
                    <a:pt x="2742" y="405"/>
                    <a:pt x="2696" y="390"/>
                    <a:pt x="2673" y="420"/>
                  </a:cubicBezTo>
                  <a:cubicBezTo>
                    <a:pt x="2643" y="459"/>
                    <a:pt x="2650" y="505"/>
                    <a:pt x="2628" y="550"/>
                  </a:cubicBezTo>
                  <a:cubicBezTo>
                    <a:pt x="2612" y="573"/>
                    <a:pt x="2681" y="604"/>
                    <a:pt x="2704" y="619"/>
                  </a:cubicBezTo>
                  <a:cubicBezTo>
                    <a:pt x="2788" y="665"/>
                    <a:pt x="2689" y="672"/>
                    <a:pt x="2650" y="703"/>
                  </a:cubicBezTo>
                  <a:cubicBezTo>
                    <a:pt x="2582" y="787"/>
                    <a:pt x="2704" y="795"/>
                    <a:pt x="2719" y="833"/>
                  </a:cubicBezTo>
                  <a:cubicBezTo>
                    <a:pt x="2650" y="833"/>
                    <a:pt x="2643" y="787"/>
                    <a:pt x="2605" y="787"/>
                  </a:cubicBezTo>
                  <a:cubicBezTo>
                    <a:pt x="2566" y="779"/>
                    <a:pt x="2612" y="871"/>
                    <a:pt x="2528" y="863"/>
                  </a:cubicBezTo>
                  <a:cubicBezTo>
                    <a:pt x="2482" y="863"/>
                    <a:pt x="2490" y="902"/>
                    <a:pt x="2528" y="902"/>
                  </a:cubicBezTo>
                  <a:cubicBezTo>
                    <a:pt x="2574" y="902"/>
                    <a:pt x="2543" y="932"/>
                    <a:pt x="2543" y="963"/>
                  </a:cubicBezTo>
                  <a:cubicBezTo>
                    <a:pt x="2543" y="1024"/>
                    <a:pt x="2582" y="1039"/>
                    <a:pt x="2582" y="1093"/>
                  </a:cubicBezTo>
                  <a:cubicBezTo>
                    <a:pt x="2582" y="1192"/>
                    <a:pt x="2673" y="1199"/>
                    <a:pt x="2696" y="1253"/>
                  </a:cubicBezTo>
                  <a:cubicBezTo>
                    <a:pt x="2643" y="1253"/>
                    <a:pt x="2635" y="1207"/>
                    <a:pt x="2582" y="1230"/>
                  </a:cubicBezTo>
                  <a:cubicBezTo>
                    <a:pt x="2543" y="1253"/>
                    <a:pt x="2490" y="1268"/>
                    <a:pt x="2444" y="1245"/>
                  </a:cubicBezTo>
                  <a:cubicBezTo>
                    <a:pt x="2406" y="1230"/>
                    <a:pt x="2375" y="1207"/>
                    <a:pt x="2414" y="1261"/>
                  </a:cubicBezTo>
                  <a:cubicBezTo>
                    <a:pt x="2429" y="1283"/>
                    <a:pt x="2345" y="1314"/>
                    <a:pt x="2322" y="1306"/>
                  </a:cubicBezTo>
                  <a:cubicBezTo>
                    <a:pt x="2253" y="1276"/>
                    <a:pt x="2253" y="1207"/>
                    <a:pt x="2200" y="1276"/>
                  </a:cubicBezTo>
                  <a:cubicBezTo>
                    <a:pt x="2169" y="1322"/>
                    <a:pt x="2192" y="1306"/>
                    <a:pt x="2223" y="1329"/>
                  </a:cubicBezTo>
                  <a:cubicBezTo>
                    <a:pt x="2299" y="1368"/>
                    <a:pt x="2284" y="1536"/>
                    <a:pt x="2345" y="1566"/>
                  </a:cubicBezTo>
                  <a:cubicBezTo>
                    <a:pt x="2436" y="1604"/>
                    <a:pt x="2330" y="1574"/>
                    <a:pt x="2368" y="1650"/>
                  </a:cubicBezTo>
                  <a:cubicBezTo>
                    <a:pt x="2383" y="1673"/>
                    <a:pt x="2398" y="1795"/>
                    <a:pt x="2360" y="1810"/>
                  </a:cubicBezTo>
                  <a:cubicBezTo>
                    <a:pt x="2345" y="1818"/>
                    <a:pt x="2238" y="1795"/>
                    <a:pt x="2223" y="1780"/>
                  </a:cubicBezTo>
                  <a:cubicBezTo>
                    <a:pt x="2200" y="1765"/>
                    <a:pt x="2161" y="1704"/>
                    <a:pt x="2139" y="1696"/>
                  </a:cubicBezTo>
                  <a:cubicBezTo>
                    <a:pt x="2139" y="1734"/>
                    <a:pt x="2078" y="1780"/>
                    <a:pt x="2116" y="1803"/>
                  </a:cubicBezTo>
                  <a:cubicBezTo>
                    <a:pt x="2169" y="1841"/>
                    <a:pt x="2139" y="1856"/>
                    <a:pt x="2139" y="1902"/>
                  </a:cubicBezTo>
                  <a:cubicBezTo>
                    <a:pt x="2223" y="1902"/>
                    <a:pt x="2276" y="1948"/>
                    <a:pt x="2307" y="2017"/>
                  </a:cubicBezTo>
                  <a:cubicBezTo>
                    <a:pt x="2353" y="2124"/>
                    <a:pt x="2421" y="2085"/>
                    <a:pt x="2505" y="2139"/>
                  </a:cubicBezTo>
                  <a:cubicBezTo>
                    <a:pt x="2566" y="2170"/>
                    <a:pt x="2467" y="2238"/>
                    <a:pt x="2475" y="2246"/>
                  </a:cubicBezTo>
                  <a:cubicBezTo>
                    <a:pt x="2543" y="2299"/>
                    <a:pt x="2543" y="2299"/>
                    <a:pt x="2543" y="2299"/>
                  </a:cubicBezTo>
                  <a:cubicBezTo>
                    <a:pt x="2589" y="2345"/>
                    <a:pt x="2696" y="2475"/>
                    <a:pt x="2696" y="2544"/>
                  </a:cubicBezTo>
                  <a:cubicBezTo>
                    <a:pt x="2666" y="2544"/>
                    <a:pt x="2628" y="2399"/>
                    <a:pt x="2589" y="2376"/>
                  </a:cubicBezTo>
                  <a:cubicBezTo>
                    <a:pt x="2414" y="2269"/>
                    <a:pt x="2414" y="2269"/>
                    <a:pt x="2414" y="2269"/>
                  </a:cubicBezTo>
                  <a:cubicBezTo>
                    <a:pt x="2360" y="2238"/>
                    <a:pt x="2307" y="2292"/>
                    <a:pt x="2261" y="2231"/>
                  </a:cubicBezTo>
                  <a:cubicBezTo>
                    <a:pt x="2238" y="2200"/>
                    <a:pt x="2230" y="2215"/>
                    <a:pt x="2192" y="2215"/>
                  </a:cubicBezTo>
                  <a:cubicBezTo>
                    <a:pt x="2192" y="2292"/>
                    <a:pt x="2269" y="2284"/>
                    <a:pt x="2307" y="2337"/>
                  </a:cubicBezTo>
                  <a:cubicBezTo>
                    <a:pt x="2322" y="2360"/>
                    <a:pt x="2490" y="2483"/>
                    <a:pt x="2436" y="2468"/>
                  </a:cubicBezTo>
                  <a:cubicBezTo>
                    <a:pt x="2391" y="2460"/>
                    <a:pt x="2368" y="2422"/>
                    <a:pt x="2322" y="2422"/>
                  </a:cubicBezTo>
                  <a:cubicBezTo>
                    <a:pt x="2291" y="2414"/>
                    <a:pt x="2253" y="2345"/>
                    <a:pt x="2207" y="2322"/>
                  </a:cubicBezTo>
                  <a:cubicBezTo>
                    <a:pt x="2078" y="2269"/>
                    <a:pt x="2177" y="2391"/>
                    <a:pt x="2078" y="2437"/>
                  </a:cubicBezTo>
                  <a:cubicBezTo>
                    <a:pt x="1955" y="2452"/>
                    <a:pt x="1932" y="2360"/>
                    <a:pt x="1932" y="2261"/>
                  </a:cubicBezTo>
                  <a:cubicBezTo>
                    <a:pt x="1894" y="2254"/>
                    <a:pt x="1825" y="2208"/>
                    <a:pt x="1818" y="2269"/>
                  </a:cubicBezTo>
                  <a:cubicBezTo>
                    <a:pt x="1818" y="2307"/>
                    <a:pt x="1780" y="2368"/>
                    <a:pt x="1810" y="2399"/>
                  </a:cubicBezTo>
                  <a:cubicBezTo>
                    <a:pt x="1894" y="2468"/>
                    <a:pt x="1894" y="2513"/>
                    <a:pt x="1864" y="2605"/>
                  </a:cubicBezTo>
                  <a:cubicBezTo>
                    <a:pt x="1856" y="2628"/>
                    <a:pt x="1864" y="2658"/>
                    <a:pt x="1871" y="2674"/>
                  </a:cubicBezTo>
                  <a:cubicBezTo>
                    <a:pt x="1894" y="2727"/>
                    <a:pt x="1787" y="2689"/>
                    <a:pt x="1772" y="2628"/>
                  </a:cubicBezTo>
                  <a:cubicBezTo>
                    <a:pt x="1764" y="2582"/>
                    <a:pt x="1764" y="2559"/>
                    <a:pt x="1749" y="2521"/>
                  </a:cubicBezTo>
                  <a:cubicBezTo>
                    <a:pt x="1734" y="2483"/>
                    <a:pt x="1749" y="2391"/>
                    <a:pt x="1696" y="2406"/>
                  </a:cubicBezTo>
                  <a:cubicBezTo>
                    <a:pt x="1634" y="2422"/>
                    <a:pt x="1604" y="2437"/>
                    <a:pt x="1543" y="2437"/>
                  </a:cubicBezTo>
                  <a:cubicBezTo>
                    <a:pt x="1543" y="2475"/>
                    <a:pt x="1550" y="2742"/>
                    <a:pt x="1566" y="2750"/>
                  </a:cubicBezTo>
                  <a:cubicBezTo>
                    <a:pt x="1642" y="2819"/>
                    <a:pt x="1742" y="2788"/>
                    <a:pt x="1742" y="2910"/>
                  </a:cubicBezTo>
                  <a:cubicBezTo>
                    <a:pt x="1726" y="2910"/>
                    <a:pt x="1703" y="2880"/>
                    <a:pt x="1673" y="2880"/>
                  </a:cubicBezTo>
                  <a:cubicBezTo>
                    <a:pt x="1558" y="2880"/>
                    <a:pt x="1589" y="2949"/>
                    <a:pt x="1535" y="3025"/>
                  </a:cubicBezTo>
                  <a:cubicBezTo>
                    <a:pt x="1489" y="3109"/>
                    <a:pt x="1604" y="3071"/>
                    <a:pt x="1627" y="3140"/>
                  </a:cubicBezTo>
                  <a:cubicBezTo>
                    <a:pt x="1634" y="3162"/>
                    <a:pt x="1657" y="3224"/>
                    <a:pt x="1680" y="3239"/>
                  </a:cubicBezTo>
                  <a:cubicBezTo>
                    <a:pt x="1742" y="3292"/>
                    <a:pt x="1711" y="3338"/>
                    <a:pt x="1803" y="3338"/>
                  </a:cubicBezTo>
                  <a:cubicBezTo>
                    <a:pt x="1894" y="3338"/>
                    <a:pt x="1902" y="3331"/>
                    <a:pt x="1978" y="3369"/>
                  </a:cubicBezTo>
                  <a:cubicBezTo>
                    <a:pt x="1978" y="3384"/>
                    <a:pt x="1978" y="3384"/>
                    <a:pt x="1978" y="3384"/>
                  </a:cubicBezTo>
                  <a:cubicBezTo>
                    <a:pt x="1940" y="3392"/>
                    <a:pt x="1909" y="3377"/>
                    <a:pt x="1864" y="3384"/>
                  </a:cubicBezTo>
                  <a:cubicBezTo>
                    <a:pt x="1848" y="3384"/>
                    <a:pt x="1848" y="3407"/>
                    <a:pt x="1825" y="3392"/>
                  </a:cubicBezTo>
                  <a:cubicBezTo>
                    <a:pt x="1810" y="3377"/>
                    <a:pt x="1787" y="3377"/>
                    <a:pt x="1772" y="3384"/>
                  </a:cubicBezTo>
                  <a:cubicBezTo>
                    <a:pt x="1772" y="3407"/>
                    <a:pt x="1787" y="3415"/>
                    <a:pt x="1787" y="3438"/>
                  </a:cubicBezTo>
                  <a:cubicBezTo>
                    <a:pt x="1787" y="3476"/>
                    <a:pt x="1726" y="3407"/>
                    <a:pt x="1726" y="3399"/>
                  </a:cubicBezTo>
                  <a:cubicBezTo>
                    <a:pt x="1696" y="3377"/>
                    <a:pt x="1719" y="3361"/>
                    <a:pt x="1696" y="3338"/>
                  </a:cubicBezTo>
                  <a:lnTo>
                    <a:pt x="1696" y="3338"/>
                  </a:lnTo>
                  <a:cubicBezTo>
                    <a:pt x="1680" y="3407"/>
                    <a:pt x="1543" y="3254"/>
                    <a:pt x="1512" y="3246"/>
                  </a:cubicBezTo>
                  <a:lnTo>
                    <a:pt x="1497" y="3246"/>
                  </a:lnTo>
                  <a:cubicBezTo>
                    <a:pt x="1497" y="3246"/>
                    <a:pt x="1497" y="3246"/>
                    <a:pt x="1489" y="3246"/>
                  </a:cubicBezTo>
                  <a:cubicBezTo>
                    <a:pt x="1459" y="3369"/>
                    <a:pt x="1444" y="3544"/>
                    <a:pt x="1467" y="3667"/>
                  </a:cubicBezTo>
                  <a:cubicBezTo>
                    <a:pt x="1482" y="3674"/>
                    <a:pt x="1512" y="3667"/>
                    <a:pt x="1520" y="3674"/>
                  </a:cubicBezTo>
                  <a:cubicBezTo>
                    <a:pt x="1528" y="3697"/>
                    <a:pt x="1512" y="3743"/>
                    <a:pt x="1520" y="3774"/>
                  </a:cubicBezTo>
                  <a:cubicBezTo>
                    <a:pt x="1520" y="3781"/>
                    <a:pt x="1558" y="3911"/>
                    <a:pt x="1566" y="3919"/>
                  </a:cubicBezTo>
                  <a:cubicBezTo>
                    <a:pt x="1596" y="3965"/>
                    <a:pt x="1665" y="3904"/>
                    <a:pt x="1696" y="3881"/>
                  </a:cubicBezTo>
                  <a:cubicBezTo>
                    <a:pt x="1726" y="3865"/>
                    <a:pt x="1795" y="3796"/>
                    <a:pt x="1825" y="3796"/>
                  </a:cubicBezTo>
                  <a:cubicBezTo>
                    <a:pt x="1833" y="3796"/>
                    <a:pt x="1818" y="3842"/>
                    <a:pt x="1848" y="3865"/>
                  </a:cubicBezTo>
                  <a:cubicBezTo>
                    <a:pt x="1971" y="3972"/>
                    <a:pt x="1994" y="3789"/>
                    <a:pt x="2078" y="3758"/>
                  </a:cubicBezTo>
                  <a:cubicBezTo>
                    <a:pt x="2039" y="3812"/>
                    <a:pt x="2039" y="3873"/>
                    <a:pt x="1978" y="3911"/>
                  </a:cubicBezTo>
                  <a:cubicBezTo>
                    <a:pt x="1948" y="3934"/>
                    <a:pt x="1856" y="3995"/>
                    <a:pt x="1818" y="3965"/>
                  </a:cubicBezTo>
                  <a:cubicBezTo>
                    <a:pt x="1757" y="3919"/>
                    <a:pt x="1734" y="4003"/>
                    <a:pt x="1703" y="4049"/>
                  </a:cubicBezTo>
                  <a:cubicBezTo>
                    <a:pt x="1642" y="4125"/>
                    <a:pt x="1719" y="4133"/>
                    <a:pt x="1780" y="4125"/>
                  </a:cubicBezTo>
                  <a:cubicBezTo>
                    <a:pt x="1886" y="4110"/>
                    <a:pt x="1978" y="4148"/>
                    <a:pt x="2055" y="4201"/>
                  </a:cubicBezTo>
                  <a:cubicBezTo>
                    <a:pt x="2085" y="4224"/>
                    <a:pt x="2108" y="4255"/>
                    <a:pt x="2139" y="4278"/>
                  </a:cubicBezTo>
                  <a:cubicBezTo>
                    <a:pt x="2184" y="4308"/>
                    <a:pt x="2108" y="4285"/>
                    <a:pt x="2085" y="4270"/>
                  </a:cubicBezTo>
                  <a:cubicBezTo>
                    <a:pt x="2039" y="4247"/>
                    <a:pt x="1994" y="4148"/>
                    <a:pt x="1940" y="4171"/>
                  </a:cubicBezTo>
                  <a:cubicBezTo>
                    <a:pt x="1894" y="4186"/>
                    <a:pt x="1825" y="4194"/>
                    <a:pt x="1803" y="4232"/>
                  </a:cubicBezTo>
                  <a:cubicBezTo>
                    <a:pt x="1772" y="4301"/>
                    <a:pt x="1864" y="4270"/>
                    <a:pt x="1825" y="4339"/>
                  </a:cubicBezTo>
                  <a:cubicBezTo>
                    <a:pt x="1764" y="4446"/>
                    <a:pt x="1657" y="4507"/>
                    <a:pt x="1864" y="4522"/>
                  </a:cubicBezTo>
                  <a:cubicBezTo>
                    <a:pt x="1932" y="4530"/>
                    <a:pt x="1902" y="4637"/>
                    <a:pt x="2024" y="4637"/>
                  </a:cubicBezTo>
                  <a:cubicBezTo>
                    <a:pt x="2093" y="4637"/>
                    <a:pt x="2009" y="4675"/>
                    <a:pt x="1971" y="4667"/>
                  </a:cubicBezTo>
                  <a:cubicBezTo>
                    <a:pt x="1917" y="4660"/>
                    <a:pt x="1902" y="4599"/>
                    <a:pt x="1841" y="4606"/>
                  </a:cubicBezTo>
                  <a:cubicBezTo>
                    <a:pt x="1833" y="4606"/>
                    <a:pt x="1688" y="4568"/>
                    <a:pt x="1680" y="4606"/>
                  </a:cubicBezTo>
                  <a:cubicBezTo>
                    <a:pt x="1680" y="4644"/>
                    <a:pt x="1596" y="4728"/>
                    <a:pt x="1573" y="4751"/>
                  </a:cubicBezTo>
                  <a:cubicBezTo>
                    <a:pt x="1573" y="4805"/>
                    <a:pt x="1642" y="4858"/>
                    <a:pt x="1688" y="4835"/>
                  </a:cubicBezTo>
                  <a:cubicBezTo>
                    <a:pt x="1749" y="4813"/>
                    <a:pt x="1734" y="4866"/>
                    <a:pt x="1749" y="4904"/>
                  </a:cubicBezTo>
                  <a:cubicBezTo>
                    <a:pt x="1757" y="4927"/>
                    <a:pt x="1871" y="5011"/>
                    <a:pt x="1841" y="5011"/>
                  </a:cubicBezTo>
                  <a:cubicBezTo>
                    <a:pt x="1764" y="5019"/>
                    <a:pt x="1696" y="4996"/>
                    <a:pt x="1673" y="4912"/>
                  </a:cubicBezTo>
                  <a:cubicBezTo>
                    <a:pt x="1642" y="4912"/>
                    <a:pt x="1581" y="4919"/>
                    <a:pt x="1550" y="4912"/>
                  </a:cubicBezTo>
                  <a:cubicBezTo>
                    <a:pt x="1497" y="4896"/>
                    <a:pt x="1505" y="5042"/>
                    <a:pt x="1482" y="5088"/>
                  </a:cubicBezTo>
                  <a:cubicBezTo>
                    <a:pt x="1467" y="5110"/>
                    <a:pt x="1451" y="5126"/>
                    <a:pt x="1436" y="5149"/>
                  </a:cubicBezTo>
                  <a:cubicBezTo>
                    <a:pt x="1413" y="5187"/>
                    <a:pt x="1512" y="5202"/>
                    <a:pt x="1428" y="5225"/>
                  </a:cubicBezTo>
                  <a:cubicBezTo>
                    <a:pt x="1390" y="5240"/>
                    <a:pt x="1337" y="5317"/>
                    <a:pt x="1421" y="5301"/>
                  </a:cubicBezTo>
                  <a:cubicBezTo>
                    <a:pt x="1505" y="5286"/>
                    <a:pt x="1566" y="5255"/>
                    <a:pt x="1650" y="5255"/>
                  </a:cubicBezTo>
                  <a:cubicBezTo>
                    <a:pt x="1650" y="5278"/>
                    <a:pt x="1558" y="5317"/>
                    <a:pt x="1581" y="5340"/>
                  </a:cubicBezTo>
                  <a:cubicBezTo>
                    <a:pt x="1589" y="5347"/>
                    <a:pt x="1696" y="5362"/>
                    <a:pt x="1657" y="5378"/>
                  </a:cubicBezTo>
                  <a:cubicBezTo>
                    <a:pt x="1619" y="5393"/>
                    <a:pt x="1474" y="5424"/>
                    <a:pt x="1467" y="5454"/>
                  </a:cubicBezTo>
                  <a:cubicBezTo>
                    <a:pt x="1459" y="5492"/>
                    <a:pt x="1413" y="5546"/>
                    <a:pt x="1421" y="5584"/>
                  </a:cubicBezTo>
                  <a:cubicBezTo>
                    <a:pt x="1421" y="5599"/>
                    <a:pt x="1421" y="5676"/>
                    <a:pt x="1405" y="5676"/>
                  </a:cubicBezTo>
                  <a:cubicBezTo>
                    <a:pt x="1352" y="5676"/>
                    <a:pt x="1352" y="5553"/>
                    <a:pt x="1291" y="5599"/>
                  </a:cubicBezTo>
                  <a:cubicBezTo>
                    <a:pt x="1230" y="5645"/>
                    <a:pt x="1138" y="5630"/>
                    <a:pt x="1062" y="5630"/>
                  </a:cubicBezTo>
                  <a:cubicBezTo>
                    <a:pt x="962" y="5660"/>
                    <a:pt x="840" y="5683"/>
                    <a:pt x="932" y="5821"/>
                  </a:cubicBezTo>
                  <a:cubicBezTo>
                    <a:pt x="970" y="5897"/>
                    <a:pt x="1130" y="5828"/>
                    <a:pt x="1214" y="5859"/>
                  </a:cubicBezTo>
                  <a:cubicBezTo>
                    <a:pt x="1283" y="5882"/>
                    <a:pt x="1344" y="5859"/>
                    <a:pt x="1413" y="5874"/>
                  </a:cubicBezTo>
                  <a:cubicBezTo>
                    <a:pt x="1512" y="5897"/>
                    <a:pt x="1558" y="5782"/>
                    <a:pt x="1673" y="5782"/>
                  </a:cubicBezTo>
                  <a:cubicBezTo>
                    <a:pt x="1742" y="5782"/>
                    <a:pt x="1818" y="5851"/>
                    <a:pt x="1909" y="5851"/>
                  </a:cubicBezTo>
                  <a:lnTo>
                    <a:pt x="1909" y="5851"/>
                  </a:lnTo>
                  <a:cubicBezTo>
                    <a:pt x="1825" y="5874"/>
                    <a:pt x="1787" y="5874"/>
                    <a:pt x="1703" y="5836"/>
                  </a:cubicBezTo>
                  <a:cubicBezTo>
                    <a:pt x="1596" y="5782"/>
                    <a:pt x="1535" y="5966"/>
                    <a:pt x="1444" y="5912"/>
                  </a:cubicBezTo>
                  <a:cubicBezTo>
                    <a:pt x="1382" y="5874"/>
                    <a:pt x="1291" y="5958"/>
                    <a:pt x="1230" y="5958"/>
                  </a:cubicBezTo>
                  <a:lnTo>
                    <a:pt x="1230" y="5958"/>
                  </a:lnTo>
                  <a:cubicBezTo>
                    <a:pt x="1230" y="5966"/>
                    <a:pt x="1230" y="5966"/>
                    <a:pt x="1230" y="5966"/>
                  </a:cubicBezTo>
                  <a:cubicBezTo>
                    <a:pt x="1283" y="5989"/>
                    <a:pt x="1352" y="6180"/>
                    <a:pt x="1421" y="6226"/>
                  </a:cubicBezTo>
                  <a:cubicBezTo>
                    <a:pt x="1482" y="6271"/>
                    <a:pt x="1566" y="6287"/>
                    <a:pt x="1642" y="6310"/>
                  </a:cubicBezTo>
                  <a:cubicBezTo>
                    <a:pt x="1673" y="6317"/>
                    <a:pt x="1726" y="6378"/>
                    <a:pt x="1734" y="6378"/>
                  </a:cubicBezTo>
                  <a:cubicBezTo>
                    <a:pt x="1886" y="6386"/>
                    <a:pt x="2017" y="6126"/>
                    <a:pt x="2093" y="6027"/>
                  </a:cubicBezTo>
                  <a:cubicBezTo>
                    <a:pt x="2146" y="6012"/>
                    <a:pt x="2207" y="5928"/>
                    <a:pt x="2253" y="5889"/>
                  </a:cubicBezTo>
                  <a:cubicBezTo>
                    <a:pt x="2284" y="5859"/>
                    <a:pt x="2291" y="5821"/>
                    <a:pt x="2322" y="5798"/>
                  </a:cubicBezTo>
                  <a:cubicBezTo>
                    <a:pt x="2337" y="5775"/>
                    <a:pt x="2353" y="5821"/>
                    <a:pt x="2391" y="5790"/>
                  </a:cubicBezTo>
                  <a:cubicBezTo>
                    <a:pt x="2406" y="5775"/>
                    <a:pt x="2414" y="5729"/>
                    <a:pt x="2429" y="5706"/>
                  </a:cubicBezTo>
                  <a:cubicBezTo>
                    <a:pt x="2452" y="5660"/>
                    <a:pt x="2658" y="5446"/>
                    <a:pt x="2597" y="5416"/>
                  </a:cubicBezTo>
                  <a:cubicBezTo>
                    <a:pt x="2513" y="5385"/>
                    <a:pt x="2398" y="5401"/>
                    <a:pt x="2299" y="5378"/>
                  </a:cubicBezTo>
                  <a:cubicBezTo>
                    <a:pt x="2345" y="5347"/>
                    <a:pt x="2673" y="5385"/>
                    <a:pt x="2650" y="5431"/>
                  </a:cubicBezTo>
                  <a:cubicBezTo>
                    <a:pt x="2612" y="5523"/>
                    <a:pt x="2551" y="5614"/>
                    <a:pt x="2498" y="5699"/>
                  </a:cubicBezTo>
                  <a:cubicBezTo>
                    <a:pt x="2459" y="5752"/>
                    <a:pt x="2391" y="5798"/>
                    <a:pt x="2482" y="5805"/>
                  </a:cubicBezTo>
                  <a:cubicBezTo>
                    <a:pt x="2521" y="5813"/>
                    <a:pt x="2421" y="5889"/>
                    <a:pt x="2414" y="5897"/>
                  </a:cubicBezTo>
                  <a:cubicBezTo>
                    <a:pt x="2322" y="5951"/>
                    <a:pt x="2322" y="5951"/>
                    <a:pt x="2322" y="5951"/>
                  </a:cubicBezTo>
                  <a:cubicBezTo>
                    <a:pt x="2276" y="5974"/>
                    <a:pt x="2337" y="5958"/>
                    <a:pt x="2345" y="5981"/>
                  </a:cubicBezTo>
                  <a:cubicBezTo>
                    <a:pt x="2345" y="5996"/>
                    <a:pt x="2330" y="6012"/>
                    <a:pt x="2322" y="6027"/>
                  </a:cubicBezTo>
                  <a:lnTo>
                    <a:pt x="2322" y="6027"/>
                  </a:lnTo>
                  <a:cubicBezTo>
                    <a:pt x="2337" y="6050"/>
                    <a:pt x="2345" y="6080"/>
                    <a:pt x="2368" y="6103"/>
                  </a:cubicBezTo>
                  <a:cubicBezTo>
                    <a:pt x="2383" y="6111"/>
                    <a:pt x="2398" y="6096"/>
                    <a:pt x="2406" y="6096"/>
                  </a:cubicBezTo>
                  <a:cubicBezTo>
                    <a:pt x="2436" y="6096"/>
                    <a:pt x="2459" y="6111"/>
                    <a:pt x="2482" y="6111"/>
                  </a:cubicBezTo>
                  <a:cubicBezTo>
                    <a:pt x="2498" y="6111"/>
                    <a:pt x="2498" y="6088"/>
                    <a:pt x="2498" y="6080"/>
                  </a:cubicBezTo>
                  <a:cubicBezTo>
                    <a:pt x="2505" y="6057"/>
                    <a:pt x="2482" y="6027"/>
                    <a:pt x="2498" y="6012"/>
                  </a:cubicBezTo>
                  <a:cubicBezTo>
                    <a:pt x="2528" y="5996"/>
                    <a:pt x="2566" y="6012"/>
                    <a:pt x="2589" y="6027"/>
                  </a:cubicBezTo>
                  <a:cubicBezTo>
                    <a:pt x="2605" y="6027"/>
                    <a:pt x="2582" y="6050"/>
                    <a:pt x="2589" y="6057"/>
                  </a:cubicBezTo>
                  <a:cubicBezTo>
                    <a:pt x="2612" y="6073"/>
                    <a:pt x="2635" y="6057"/>
                    <a:pt x="2658" y="6065"/>
                  </a:cubicBezTo>
                  <a:cubicBezTo>
                    <a:pt x="2673" y="6065"/>
                    <a:pt x="2696" y="6065"/>
                    <a:pt x="2696" y="6080"/>
                  </a:cubicBezTo>
                  <a:cubicBezTo>
                    <a:pt x="2696" y="6111"/>
                    <a:pt x="2658" y="6126"/>
                    <a:pt x="2650" y="6157"/>
                  </a:cubicBezTo>
                  <a:cubicBezTo>
                    <a:pt x="2650" y="6180"/>
                    <a:pt x="2681" y="6195"/>
                    <a:pt x="2673" y="6218"/>
                  </a:cubicBezTo>
                  <a:cubicBezTo>
                    <a:pt x="2673" y="6233"/>
                    <a:pt x="2650" y="6233"/>
                    <a:pt x="2650" y="6249"/>
                  </a:cubicBezTo>
                  <a:cubicBezTo>
                    <a:pt x="2650" y="6264"/>
                    <a:pt x="2658" y="6287"/>
                    <a:pt x="2673" y="6294"/>
                  </a:cubicBezTo>
                  <a:cubicBezTo>
                    <a:pt x="2689" y="6302"/>
                    <a:pt x="2704" y="6302"/>
                    <a:pt x="2719" y="6302"/>
                  </a:cubicBezTo>
                  <a:cubicBezTo>
                    <a:pt x="2750" y="6302"/>
                    <a:pt x="2780" y="6294"/>
                    <a:pt x="2811" y="6279"/>
                  </a:cubicBezTo>
                  <a:cubicBezTo>
                    <a:pt x="2834" y="6271"/>
                    <a:pt x="2857" y="6241"/>
                    <a:pt x="2880" y="6218"/>
                  </a:cubicBezTo>
                  <a:cubicBezTo>
                    <a:pt x="2895" y="6203"/>
                    <a:pt x="2895" y="6180"/>
                    <a:pt x="2918" y="6172"/>
                  </a:cubicBezTo>
                  <a:cubicBezTo>
                    <a:pt x="2956" y="6164"/>
                    <a:pt x="2994" y="6195"/>
                    <a:pt x="3025" y="6195"/>
                  </a:cubicBezTo>
                  <a:cubicBezTo>
                    <a:pt x="3055" y="6203"/>
                    <a:pt x="3093" y="6203"/>
                    <a:pt x="3124" y="6187"/>
                  </a:cubicBezTo>
                  <a:cubicBezTo>
                    <a:pt x="3147" y="6180"/>
                    <a:pt x="3155" y="6157"/>
                    <a:pt x="3178" y="6149"/>
                  </a:cubicBezTo>
                  <a:cubicBezTo>
                    <a:pt x="3200" y="6141"/>
                    <a:pt x="3231" y="6157"/>
                    <a:pt x="3246" y="6149"/>
                  </a:cubicBezTo>
                  <a:cubicBezTo>
                    <a:pt x="3269" y="6141"/>
                    <a:pt x="3277" y="6103"/>
                    <a:pt x="3300" y="6096"/>
                  </a:cubicBezTo>
                  <a:cubicBezTo>
                    <a:pt x="3330" y="6080"/>
                    <a:pt x="3376" y="6080"/>
                    <a:pt x="3414" y="6073"/>
                  </a:cubicBezTo>
                  <a:lnTo>
                    <a:pt x="3414" y="6073"/>
                  </a:lnTo>
                  <a:cubicBezTo>
                    <a:pt x="3414" y="6042"/>
                    <a:pt x="3437" y="5996"/>
                    <a:pt x="3414" y="5966"/>
                  </a:cubicBezTo>
                  <a:cubicBezTo>
                    <a:pt x="3399" y="5951"/>
                    <a:pt x="3368" y="5996"/>
                    <a:pt x="3345" y="6004"/>
                  </a:cubicBezTo>
                  <a:cubicBezTo>
                    <a:pt x="3322" y="6004"/>
                    <a:pt x="3284" y="6012"/>
                    <a:pt x="3261" y="5989"/>
                  </a:cubicBezTo>
                  <a:cubicBezTo>
                    <a:pt x="3246" y="5966"/>
                    <a:pt x="3239" y="5920"/>
                    <a:pt x="3261" y="5905"/>
                  </a:cubicBezTo>
                  <a:cubicBezTo>
                    <a:pt x="3292" y="5882"/>
                    <a:pt x="3338" y="5905"/>
                    <a:pt x="3376" y="5897"/>
                  </a:cubicBezTo>
                  <a:cubicBezTo>
                    <a:pt x="3414" y="5889"/>
                    <a:pt x="3445" y="5882"/>
                    <a:pt x="3475" y="5866"/>
                  </a:cubicBezTo>
                  <a:cubicBezTo>
                    <a:pt x="3483" y="5859"/>
                    <a:pt x="3475" y="5844"/>
                    <a:pt x="3475" y="5828"/>
                  </a:cubicBezTo>
                  <a:cubicBezTo>
                    <a:pt x="3468" y="5821"/>
                    <a:pt x="3445" y="5821"/>
                    <a:pt x="3452" y="5813"/>
                  </a:cubicBezTo>
                  <a:cubicBezTo>
                    <a:pt x="3452" y="5782"/>
                    <a:pt x="3475" y="5767"/>
                    <a:pt x="3483" y="5737"/>
                  </a:cubicBezTo>
                  <a:cubicBezTo>
                    <a:pt x="3491" y="5714"/>
                    <a:pt x="3475" y="5691"/>
                    <a:pt x="3483" y="5668"/>
                  </a:cubicBezTo>
                  <a:cubicBezTo>
                    <a:pt x="3498" y="5645"/>
                    <a:pt x="3529" y="5653"/>
                    <a:pt x="3544" y="5637"/>
                  </a:cubicBezTo>
                  <a:cubicBezTo>
                    <a:pt x="3567" y="5614"/>
                    <a:pt x="3559" y="5561"/>
                    <a:pt x="3590" y="5546"/>
                  </a:cubicBezTo>
                  <a:cubicBezTo>
                    <a:pt x="3613" y="5538"/>
                    <a:pt x="3628" y="5576"/>
                    <a:pt x="3643" y="5592"/>
                  </a:cubicBezTo>
                  <a:cubicBezTo>
                    <a:pt x="3666" y="5607"/>
                    <a:pt x="3682" y="5653"/>
                    <a:pt x="3704" y="5637"/>
                  </a:cubicBezTo>
                  <a:cubicBezTo>
                    <a:pt x="3766" y="5599"/>
                    <a:pt x="3773" y="5515"/>
                    <a:pt x="3827" y="5477"/>
                  </a:cubicBezTo>
                  <a:cubicBezTo>
                    <a:pt x="3842" y="5462"/>
                    <a:pt x="3865" y="5507"/>
                    <a:pt x="3880" y="5500"/>
                  </a:cubicBezTo>
                  <a:cubicBezTo>
                    <a:pt x="3903" y="5485"/>
                    <a:pt x="3903" y="5446"/>
                    <a:pt x="3926" y="5424"/>
                  </a:cubicBezTo>
                  <a:cubicBezTo>
                    <a:pt x="3941" y="5408"/>
                    <a:pt x="3972" y="5408"/>
                    <a:pt x="3987" y="5408"/>
                  </a:cubicBezTo>
                  <a:cubicBezTo>
                    <a:pt x="4010" y="5408"/>
                    <a:pt x="4025" y="5416"/>
                    <a:pt x="4041" y="5408"/>
                  </a:cubicBezTo>
                  <a:cubicBezTo>
                    <a:pt x="4056" y="5401"/>
                    <a:pt x="4064" y="5385"/>
                    <a:pt x="4079" y="5370"/>
                  </a:cubicBezTo>
                  <a:cubicBezTo>
                    <a:pt x="4086" y="5362"/>
                    <a:pt x="4102" y="5362"/>
                    <a:pt x="4109" y="5347"/>
                  </a:cubicBezTo>
                  <a:cubicBezTo>
                    <a:pt x="4109" y="5332"/>
                    <a:pt x="4086" y="5324"/>
                    <a:pt x="4086" y="5309"/>
                  </a:cubicBezTo>
                  <a:cubicBezTo>
                    <a:pt x="4094" y="5294"/>
                    <a:pt x="4102" y="5271"/>
                    <a:pt x="4117" y="5271"/>
                  </a:cubicBezTo>
                  <a:cubicBezTo>
                    <a:pt x="4170" y="5271"/>
                    <a:pt x="4208" y="5309"/>
                    <a:pt x="4254" y="5309"/>
                  </a:cubicBezTo>
                  <a:cubicBezTo>
                    <a:pt x="4285" y="5317"/>
                    <a:pt x="4316" y="5294"/>
                    <a:pt x="4346" y="5294"/>
                  </a:cubicBezTo>
                  <a:cubicBezTo>
                    <a:pt x="4361" y="5294"/>
                    <a:pt x="4361" y="5324"/>
                    <a:pt x="4369" y="5324"/>
                  </a:cubicBezTo>
                  <a:cubicBezTo>
                    <a:pt x="4384" y="5324"/>
                    <a:pt x="4392" y="5301"/>
                    <a:pt x="4407" y="5294"/>
                  </a:cubicBezTo>
                  <a:cubicBezTo>
                    <a:pt x="4415" y="5294"/>
                    <a:pt x="4422" y="5317"/>
                    <a:pt x="4438" y="5309"/>
                  </a:cubicBezTo>
                  <a:cubicBezTo>
                    <a:pt x="4453" y="5301"/>
                    <a:pt x="4453" y="5278"/>
                    <a:pt x="4461" y="5255"/>
                  </a:cubicBezTo>
                  <a:cubicBezTo>
                    <a:pt x="4461" y="5232"/>
                    <a:pt x="4445" y="5210"/>
                    <a:pt x="4453" y="5187"/>
                  </a:cubicBezTo>
                  <a:cubicBezTo>
                    <a:pt x="4461" y="5171"/>
                    <a:pt x="4476" y="5156"/>
                    <a:pt x="4491" y="5156"/>
                  </a:cubicBezTo>
                  <a:cubicBezTo>
                    <a:pt x="4514" y="5164"/>
                    <a:pt x="4529" y="5187"/>
                    <a:pt x="4545" y="5202"/>
                  </a:cubicBezTo>
                  <a:cubicBezTo>
                    <a:pt x="4560" y="5210"/>
                    <a:pt x="4568" y="5225"/>
                    <a:pt x="4583" y="5232"/>
                  </a:cubicBezTo>
                  <a:cubicBezTo>
                    <a:pt x="4598" y="5232"/>
                    <a:pt x="4613" y="5232"/>
                    <a:pt x="4629" y="5225"/>
                  </a:cubicBezTo>
                  <a:cubicBezTo>
                    <a:pt x="4644" y="5217"/>
                    <a:pt x="4644" y="5187"/>
                    <a:pt x="4659" y="5187"/>
                  </a:cubicBezTo>
                  <a:cubicBezTo>
                    <a:pt x="4675" y="5179"/>
                    <a:pt x="4690" y="5194"/>
                    <a:pt x="4705" y="5202"/>
                  </a:cubicBezTo>
                  <a:lnTo>
                    <a:pt x="4705" y="5202"/>
                  </a:lnTo>
                  <a:cubicBezTo>
                    <a:pt x="4728" y="5156"/>
                    <a:pt x="4758" y="5126"/>
                    <a:pt x="4774" y="5080"/>
                  </a:cubicBezTo>
                  <a:cubicBezTo>
                    <a:pt x="4789" y="5042"/>
                    <a:pt x="4789" y="4996"/>
                    <a:pt x="4797" y="4957"/>
                  </a:cubicBezTo>
                  <a:cubicBezTo>
                    <a:pt x="4797" y="4942"/>
                    <a:pt x="4789" y="4927"/>
                    <a:pt x="4789" y="4912"/>
                  </a:cubicBezTo>
                  <a:cubicBezTo>
                    <a:pt x="4797" y="4896"/>
                    <a:pt x="4812" y="4881"/>
                    <a:pt x="4804" y="4874"/>
                  </a:cubicBezTo>
                  <a:cubicBezTo>
                    <a:pt x="4804" y="4851"/>
                    <a:pt x="4774" y="4828"/>
                    <a:pt x="4789" y="4805"/>
                  </a:cubicBezTo>
                  <a:cubicBezTo>
                    <a:pt x="4797" y="4782"/>
                    <a:pt x="4835" y="4782"/>
                    <a:pt x="4858" y="4774"/>
                  </a:cubicBezTo>
                  <a:cubicBezTo>
                    <a:pt x="4865" y="4767"/>
                    <a:pt x="4873" y="4759"/>
                    <a:pt x="4881" y="4751"/>
                  </a:cubicBezTo>
                  <a:lnTo>
                    <a:pt x="4881" y="4751"/>
                  </a:lnTo>
                  <a:cubicBezTo>
                    <a:pt x="4919" y="4705"/>
                    <a:pt x="4957" y="4652"/>
                    <a:pt x="5003" y="4621"/>
                  </a:cubicBezTo>
                  <a:cubicBezTo>
                    <a:pt x="5026" y="4606"/>
                    <a:pt x="5056" y="4629"/>
                    <a:pt x="5087" y="4614"/>
                  </a:cubicBezTo>
                  <a:cubicBezTo>
                    <a:pt x="5117" y="4606"/>
                    <a:pt x="5148" y="4583"/>
                    <a:pt x="5179" y="4553"/>
                  </a:cubicBezTo>
                  <a:cubicBezTo>
                    <a:pt x="5194" y="4530"/>
                    <a:pt x="5179" y="4492"/>
                    <a:pt x="5202" y="4476"/>
                  </a:cubicBezTo>
                  <a:cubicBezTo>
                    <a:pt x="5240" y="4446"/>
                    <a:pt x="5293" y="4476"/>
                    <a:pt x="5324" y="4453"/>
                  </a:cubicBezTo>
                  <a:cubicBezTo>
                    <a:pt x="5347" y="4438"/>
                    <a:pt x="5339" y="4400"/>
                    <a:pt x="5347" y="4377"/>
                  </a:cubicBezTo>
                  <a:cubicBezTo>
                    <a:pt x="5354" y="4346"/>
                    <a:pt x="5369" y="4316"/>
                    <a:pt x="5362" y="4285"/>
                  </a:cubicBezTo>
                  <a:cubicBezTo>
                    <a:pt x="5362" y="4270"/>
                    <a:pt x="5324" y="4285"/>
                    <a:pt x="5316" y="4263"/>
                  </a:cubicBezTo>
                  <a:cubicBezTo>
                    <a:pt x="5308" y="4224"/>
                    <a:pt x="5347" y="4171"/>
                    <a:pt x="5331" y="4125"/>
                  </a:cubicBezTo>
                  <a:cubicBezTo>
                    <a:pt x="5324" y="4102"/>
                    <a:pt x="5263" y="4117"/>
                    <a:pt x="5263" y="4087"/>
                  </a:cubicBezTo>
                  <a:cubicBezTo>
                    <a:pt x="5263" y="4049"/>
                    <a:pt x="5308" y="4026"/>
                    <a:pt x="5331" y="3988"/>
                  </a:cubicBezTo>
                  <a:cubicBezTo>
                    <a:pt x="5362" y="3942"/>
                    <a:pt x="5415" y="3904"/>
                    <a:pt x="5423" y="3850"/>
                  </a:cubicBezTo>
                  <a:cubicBezTo>
                    <a:pt x="5431" y="3804"/>
                    <a:pt x="5408" y="3766"/>
                    <a:pt x="5377" y="3728"/>
                  </a:cubicBezTo>
                  <a:cubicBezTo>
                    <a:pt x="5362" y="3705"/>
                    <a:pt x="5324" y="3713"/>
                    <a:pt x="5301" y="3697"/>
                  </a:cubicBezTo>
                  <a:cubicBezTo>
                    <a:pt x="5278" y="3674"/>
                    <a:pt x="5270" y="3629"/>
                    <a:pt x="5247" y="3621"/>
                  </a:cubicBezTo>
                  <a:cubicBezTo>
                    <a:pt x="5225" y="3613"/>
                    <a:pt x="5217" y="3644"/>
                    <a:pt x="5194" y="3652"/>
                  </a:cubicBezTo>
                  <a:cubicBezTo>
                    <a:pt x="5156" y="3659"/>
                    <a:pt x="5110" y="3644"/>
                    <a:pt x="5072" y="3659"/>
                  </a:cubicBezTo>
                  <a:cubicBezTo>
                    <a:pt x="5049" y="3667"/>
                    <a:pt x="5056" y="3713"/>
                    <a:pt x="5033" y="3713"/>
                  </a:cubicBezTo>
                  <a:cubicBezTo>
                    <a:pt x="5003" y="3720"/>
                    <a:pt x="4957" y="3713"/>
                    <a:pt x="4942" y="3690"/>
                  </a:cubicBezTo>
                  <a:cubicBezTo>
                    <a:pt x="4919" y="3667"/>
                    <a:pt x="4942" y="3636"/>
                    <a:pt x="4942" y="3613"/>
                  </a:cubicBezTo>
                  <a:cubicBezTo>
                    <a:pt x="4942" y="3552"/>
                    <a:pt x="4942" y="3491"/>
                    <a:pt x="4927" y="3438"/>
                  </a:cubicBezTo>
                  <a:cubicBezTo>
                    <a:pt x="4927" y="3422"/>
                    <a:pt x="4904" y="3415"/>
                    <a:pt x="4904" y="3399"/>
                  </a:cubicBezTo>
                  <a:cubicBezTo>
                    <a:pt x="4904" y="3369"/>
                    <a:pt x="4919" y="3331"/>
                    <a:pt x="4911" y="3300"/>
                  </a:cubicBezTo>
                  <a:cubicBezTo>
                    <a:pt x="4904" y="3269"/>
                    <a:pt x="4865" y="3254"/>
                    <a:pt x="4858" y="3231"/>
                  </a:cubicBezTo>
                  <a:cubicBezTo>
                    <a:pt x="4835" y="3178"/>
                    <a:pt x="4827" y="3117"/>
                    <a:pt x="4812" y="305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3" name="Freeform 195"/>
            <p:cNvSpPr>
              <a:spLocks noChangeArrowheads="1"/>
            </p:cNvSpPr>
            <p:nvPr/>
          </p:nvSpPr>
          <p:spPr bwMode="auto">
            <a:xfrm>
              <a:off x="3624027" y="2027238"/>
              <a:ext cx="866719" cy="1846262"/>
            </a:xfrm>
            <a:custGeom>
              <a:avLst/>
              <a:gdLst>
                <a:gd name="T0" fmla="*/ 764 w 2407"/>
                <a:gd name="T1" fmla="*/ 2368 h 5127"/>
                <a:gd name="T2" fmla="*/ 772 w 2407"/>
                <a:gd name="T3" fmla="*/ 2429 h 5127"/>
                <a:gd name="T4" fmla="*/ 710 w 2407"/>
                <a:gd name="T5" fmla="*/ 2414 h 5127"/>
                <a:gd name="T6" fmla="*/ 191 w 2407"/>
                <a:gd name="T7" fmla="*/ 4645 h 5127"/>
                <a:gd name="T8" fmla="*/ 390 w 2407"/>
                <a:gd name="T9" fmla="*/ 4354 h 5127"/>
                <a:gd name="T10" fmla="*/ 275 w 2407"/>
                <a:gd name="T11" fmla="*/ 4698 h 5127"/>
                <a:gd name="T12" fmla="*/ 61 w 2407"/>
                <a:gd name="T13" fmla="*/ 5072 h 5127"/>
                <a:gd name="T14" fmla="*/ 46 w 2407"/>
                <a:gd name="T15" fmla="*/ 5019 h 5127"/>
                <a:gd name="T16" fmla="*/ 0 w 2407"/>
                <a:gd name="T17" fmla="*/ 5065 h 5127"/>
                <a:gd name="T18" fmla="*/ 53 w 2407"/>
                <a:gd name="T19" fmla="*/ 5110 h 5127"/>
                <a:gd name="T20" fmla="*/ 611 w 2407"/>
                <a:gd name="T21" fmla="*/ 4262 h 5127"/>
                <a:gd name="T22" fmla="*/ 558 w 2407"/>
                <a:gd name="T23" fmla="*/ 4285 h 5127"/>
                <a:gd name="T24" fmla="*/ 581 w 2407"/>
                <a:gd name="T25" fmla="*/ 4370 h 5127"/>
                <a:gd name="T26" fmla="*/ 611 w 2407"/>
                <a:gd name="T27" fmla="*/ 4262 h 5127"/>
                <a:gd name="T28" fmla="*/ 947 w 2407"/>
                <a:gd name="T29" fmla="*/ 2651 h 5127"/>
                <a:gd name="T30" fmla="*/ 833 w 2407"/>
                <a:gd name="T31" fmla="*/ 2926 h 5127"/>
                <a:gd name="T32" fmla="*/ 710 w 2407"/>
                <a:gd name="T33" fmla="*/ 3262 h 5127"/>
                <a:gd name="T34" fmla="*/ 710 w 2407"/>
                <a:gd name="T35" fmla="*/ 3568 h 5127"/>
                <a:gd name="T36" fmla="*/ 619 w 2407"/>
                <a:gd name="T37" fmla="*/ 3850 h 5127"/>
                <a:gd name="T38" fmla="*/ 703 w 2407"/>
                <a:gd name="T39" fmla="*/ 4194 h 5127"/>
                <a:gd name="T40" fmla="*/ 382 w 2407"/>
                <a:gd name="T41" fmla="*/ 3942 h 5127"/>
                <a:gd name="T42" fmla="*/ 390 w 2407"/>
                <a:gd name="T43" fmla="*/ 3476 h 5127"/>
                <a:gd name="T44" fmla="*/ 413 w 2407"/>
                <a:gd name="T45" fmla="*/ 3170 h 5127"/>
                <a:gd name="T46" fmla="*/ 298 w 2407"/>
                <a:gd name="T47" fmla="*/ 2597 h 5127"/>
                <a:gd name="T48" fmla="*/ 611 w 2407"/>
                <a:gd name="T49" fmla="*/ 2559 h 5127"/>
                <a:gd name="T50" fmla="*/ 657 w 2407"/>
                <a:gd name="T51" fmla="*/ 2300 h 5127"/>
                <a:gd name="T52" fmla="*/ 665 w 2407"/>
                <a:gd name="T53" fmla="*/ 2238 h 5127"/>
                <a:gd name="T54" fmla="*/ 718 w 2407"/>
                <a:gd name="T55" fmla="*/ 2300 h 5127"/>
                <a:gd name="T56" fmla="*/ 1031 w 2407"/>
                <a:gd name="T57" fmla="*/ 1834 h 5127"/>
                <a:gd name="T58" fmla="*/ 947 w 2407"/>
                <a:gd name="T59" fmla="*/ 1895 h 5127"/>
                <a:gd name="T60" fmla="*/ 978 w 2407"/>
                <a:gd name="T61" fmla="*/ 1917 h 5127"/>
                <a:gd name="T62" fmla="*/ 1054 w 2407"/>
                <a:gd name="T63" fmla="*/ 1849 h 5127"/>
                <a:gd name="T64" fmla="*/ 2047 w 2407"/>
                <a:gd name="T65" fmla="*/ 1543 h 5127"/>
                <a:gd name="T66" fmla="*/ 2039 w 2407"/>
                <a:gd name="T67" fmla="*/ 1177 h 5127"/>
                <a:gd name="T68" fmla="*/ 2169 w 2407"/>
                <a:gd name="T69" fmla="*/ 986 h 5127"/>
                <a:gd name="T70" fmla="*/ 2406 w 2407"/>
                <a:gd name="T71" fmla="*/ 810 h 5127"/>
                <a:gd name="T72" fmla="*/ 2208 w 2407"/>
                <a:gd name="T73" fmla="*/ 955 h 5127"/>
                <a:gd name="T74" fmla="*/ 2231 w 2407"/>
                <a:gd name="T75" fmla="*/ 718 h 5127"/>
                <a:gd name="T76" fmla="*/ 2337 w 2407"/>
                <a:gd name="T77" fmla="*/ 291 h 5127"/>
                <a:gd name="T78" fmla="*/ 2162 w 2407"/>
                <a:gd name="T79" fmla="*/ 130 h 5127"/>
                <a:gd name="T80" fmla="*/ 1619 w 2407"/>
                <a:gd name="T81" fmla="*/ 566 h 5127"/>
                <a:gd name="T82" fmla="*/ 1444 w 2407"/>
                <a:gd name="T83" fmla="*/ 963 h 5127"/>
                <a:gd name="T84" fmla="*/ 1314 w 2407"/>
                <a:gd name="T85" fmla="*/ 871 h 5127"/>
                <a:gd name="T86" fmla="*/ 1260 w 2407"/>
                <a:gd name="T87" fmla="*/ 963 h 5127"/>
                <a:gd name="T88" fmla="*/ 978 w 2407"/>
                <a:gd name="T89" fmla="*/ 909 h 5127"/>
                <a:gd name="T90" fmla="*/ 886 w 2407"/>
                <a:gd name="T91" fmla="*/ 1138 h 5127"/>
                <a:gd name="T92" fmla="*/ 939 w 2407"/>
                <a:gd name="T93" fmla="*/ 1429 h 5127"/>
                <a:gd name="T94" fmla="*/ 840 w 2407"/>
                <a:gd name="T95" fmla="*/ 1574 h 5127"/>
                <a:gd name="T96" fmla="*/ 1283 w 2407"/>
                <a:gd name="T97" fmla="*/ 1849 h 5127"/>
                <a:gd name="T98" fmla="*/ 886 w 2407"/>
                <a:gd name="T99" fmla="*/ 2093 h 5127"/>
                <a:gd name="T100" fmla="*/ 1085 w 2407"/>
                <a:gd name="T101" fmla="*/ 2391 h 5127"/>
                <a:gd name="T102" fmla="*/ 1360 w 2407"/>
                <a:gd name="T103" fmla="*/ 2162 h 5127"/>
                <a:gd name="T104" fmla="*/ 1398 w 2407"/>
                <a:gd name="T105" fmla="*/ 1979 h 5127"/>
                <a:gd name="T106" fmla="*/ 1551 w 2407"/>
                <a:gd name="T107" fmla="*/ 2017 h 5127"/>
                <a:gd name="T108" fmla="*/ 1658 w 2407"/>
                <a:gd name="T109" fmla="*/ 1811 h 5127"/>
                <a:gd name="T110" fmla="*/ 1902 w 2407"/>
                <a:gd name="T111" fmla="*/ 1612 h 5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7" h="5127">
                  <a:moveTo>
                    <a:pt x="710" y="2414"/>
                  </a:moveTo>
                  <a:lnTo>
                    <a:pt x="710" y="2414"/>
                  </a:lnTo>
                  <a:cubicBezTo>
                    <a:pt x="718" y="2407"/>
                    <a:pt x="749" y="2368"/>
                    <a:pt x="764" y="2368"/>
                  </a:cubicBezTo>
                  <a:cubicBezTo>
                    <a:pt x="779" y="2368"/>
                    <a:pt x="810" y="2368"/>
                    <a:pt x="810" y="2384"/>
                  </a:cubicBezTo>
                  <a:cubicBezTo>
                    <a:pt x="810" y="2399"/>
                    <a:pt x="817" y="2407"/>
                    <a:pt x="802" y="2414"/>
                  </a:cubicBezTo>
                  <a:cubicBezTo>
                    <a:pt x="795" y="2414"/>
                    <a:pt x="779" y="2422"/>
                    <a:pt x="772" y="2429"/>
                  </a:cubicBezTo>
                  <a:cubicBezTo>
                    <a:pt x="764" y="2437"/>
                    <a:pt x="764" y="2445"/>
                    <a:pt x="749" y="2452"/>
                  </a:cubicBezTo>
                  <a:cubicBezTo>
                    <a:pt x="733" y="2460"/>
                    <a:pt x="710" y="2475"/>
                    <a:pt x="695" y="2452"/>
                  </a:cubicBezTo>
                  <a:cubicBezTo>
                    <a:pt x="710" y="2414"/>
                    <a:pt x="710" y="2414"/>
                    <a:pt x="710" y="2414"/>
                  </a:cubicBezTo>
                  <a:close/>
                  <a:moveTo>
                    <a:pt x="191" y="4759"/>
                  </a:moveTo>
                  <a:lnTo>
                    <a:pt x="191" y="4759"/>
                  </a:lnTo>
                  <a:cubicBezTo>
                    <a:pt x="184" y="4721"/>
                    <a:pt x="153" y="4668"/>
                    <a:pt x="191" y="4645"/>
                  </a:cubicBezTo>
                  <a:cubicBezTo>
                    <a:pt x="245" y="4606"/>
                    <a:pt x="267" y="4522"/>
                    <a:pt x="313" y="4476"/>
                  </a:cubicBezTo>
                  <a:cubicBezTo>
                    <a:pt x="328" y="4461"/>
                    <a:pt x="336" y="4423"/>
                    <a:pt x="336" y="4393"/>
                  </a:cubicBezTo>
                  <a:cubicBezTo>
                    <a:pt x="336" y="4362"/>
                    <a:pt x="351" y="4362"/>
                    <a:pt x="390" y="4354"/>
                  </a:cubicBezTo>
                  <a:cubicBezTo>
                    <a:pt x="390" y="4400"/>
                    <a:pt x="336" y="4446"/>
                    <a:pt x="382" y="4484"/>
                  </a:cubicBezTo>
                  <a:cubicBezTo>
                    <a:pt x="481" y="4560"/>
                    <a:pt x="359" y="4583"/>
                    <a:pt x="328" y="4652"/>
                  </a:cubicBezTo>
                  <a:cubicBezTo>
                    <a:pt x="321" y="4683"/>
                    <a:pt x="290" y="4675"/>
                    <a:pt x="275" y="4698"/>
                  </a:cubicBezTo>
                  <a:cubicBezTo>
                    <a:pt x="267" y="4721"/>
                    <a:pt x="260" y="4744"/>
                    <a:pt x="237" y="4767"/>
                  </a:cubicBezTo>
                  <a:cubicBezTo>
                    <a:pt x="191" y="4759"/>
                    <a:pt x="191" y="4759"/>
                    <a:pt x="191" y="4759"/>
                  </a:cubicBezTo>
                  <a:close/>
                  <a:moveTo>
                    <a:pt x="61" y="5072"/>
                  </a:moveTo>
                  <a:lnTo>
                    <a:pt x="61" y="5072"/>
                  </a:lnTo>
                  <a:cubicBezTo>
                    <a:pt x="69" y="5057"/>
                    <a:pt x="69" y="5034"/>
                    <a:pt x="61" y="5011"/>
                  </a:cubicBezTo>
                  <a:cubicBezTo>
                    <a:pt x="61" y="5011"/>
                    <a:pt x="53" y="5019"/>
                    <a:pt x="46" y="5019"/>
                  </a:cubicBezTo>
                  <a:cubicBezTo>
                    <a:pt x="38" y="5019"/>
                    <a:pt x="38" y="5019"/>
                    <a:pt x="31" y="5026"/>
                  </a:cubicBezTo>
                  <a:cubicBezTo>
                    <a:pt x="15" y="5026"/>
                    <a:pt x="0" y="5034"/>
                    <a:pt x="0" y="5042"/>
                  </a:cubicBezTo>
                  <a:cubicBezTo>
                    <a:pt x="0" y="5049"/>
                    <a:pt x="0" y="5057"/>
                    <a:pt x="0" y="5065"/>
                  </a:cubicBezTo>
                  <a:cubicBezTo>
                    <a:pt x="0" y="5072"/>
                    <a:pt x="0" y="5072"/>
                    <a:pt x="8" y="5080"/>
                  </a:cubicBezTo>
                  <a:cubicBezTo>
                    <a:pt x="8" y="5087"/>
                    <a:pt x="8" y="5103"/>
                    <a:pt x="8" y="5110"/>
                  </a:cubicBezTo>
                  <a:cubicBezTo>
                    <a:pt x="15" y="5126"/>
                    <a:pt x="38" y="5110"/>
                    <a:pt x="53" y="5110"/>
                  </a:cubicBezTo>
                  <a:cubicBezTo>
                    <a:pt x="61" y="5072"/>
                    <a:pt x="61" y="5072"/>
                    <a:pt x="61" y="5072"/>
                  </a:cubicBezTo>
                  <a:close/>
                  <a:moveTo>
                    <a:pt x="611" y="4262"/>
                  </a:moveTo>
                  <a:lnTo>
                    <a:pt x="611" y="4262"/>
                  </a:lnTo>
                  <a:cubicBezTo>
                    <a:pt x="603" y="4262"/>
                    <a:pt x="596" y="4262"/>
                    <a:pt x="588" y="4262"/>
                  </a:cubicBezTo>
                  <a:cubicBezTo>
                    <a:pt x="581" y="4262"/>
                    <a:pt x="565" y="4262"/>
                    <a:pt x="558" y="4262"/>
                  </a:cubicBezTo>
                  <a:cubicBezTo>
                    <a:pt x="558" y="4270"/>
                    <a:pt x="558" y="4270"/>
                    <a:pt x="558" y="4285"/>
                  </a:cubicBezTo>
                  <a:cubicBezTo>
                    <a:pt x="558" y="4293"/>
                    <a:pt x="550" y="4293"/>
                    <a:pt x="558" y="4301"/>
                  </a:cubicBezTo>
                  <a:cubicBezTo>
                    <a:pt x="558" y="4316"/>
                    <a:pt x="565" y="4324"/>
                    <a:pt x="565" y="4339"/>
                  </a:cubicBezTo>
                  <a:cubicBezTo>
                    <a:pt x="565" y="4347"/>
                    <a:pt x="565" y="4377"/>
                    <a:pt x="581" y="4370"/>
                  </a:cubicBezTo>
                  <a:cubicBezTo>
                    <a:pt x="596" y="4370"/>
                    <a:pt x="596" y="4354"/>
                    <a:pt x="596" y="4347"/>
                  </a:cubicBezTo>
                  <a:cubicBezTo>
                    <a:pt x="603" y="4331"/>
                    <a:pt x="603" y="4316"/>
                    <a:pt x="611" y="4293"/>
                  </a:cubicBezTo>
                  <a:cubicBezTo>
                    <a:pt x="611" y="4262"/>
                    <a:pt x="611" y="4262"/>
                    <a:pt x="611" y="4262"/>
                  </a:cubicBezTo>
                  <a:close/>
                  <a:moveTo>
                    <a:pt x="833" y="2536"/>
                  </a:moveTo>
                  <a:lnTo>
                    <a:pt x="833" y="2536"/>
                  </a:lnTo>
                  <a:cubicBezTo>
                    <a:pt x="924" y="2582"/>
                    <a:pt x="1008" y="2529"/>
                    <a:pt x="947" y="2651"/>
                  </a:cubicBezTo>
                  <a:cubicBezTo>
                    <a:pt x="894" y="2742"/>
                    <a:pt x="924" y="2727"/>
                    <a:pt x="825" y="2758"/>
                  </a:cubicBezTo>
                  <a:cubicBezTo>
                    <a:pt x="833" y="2788"/>
                    <a:pt x="878" y="2788"/>
                    <a:pt x="871" y="2826"/>
                  </a:cubicBezTo>
                  <a:cubicBezTo>
                    <a:pt x="863" y="2857"/>
                    <a:pt x="856" y="2895"/>
                    <a:pt x="833" y="2926"/>
                  </a:cubicBezTo>
                  <a:cubicBezTo>
                    <a:pt x="810" y="2964"/>
                    <a:pt x="795" y="3094"/>
                    <a:pt x="787" y="3147"/>
                  </a:cubicBezTo>
                  <a:cubicBezTo>
                    <a:pt x="772" y="3216"/>
                    <a:pt x="710" y="3140"/>
                    <a:pt x="726" y="3209"/>
                  </a:cubicBezTo>
                  <a:cubicBezTo>
                    <a:pt x="733" y="3232"/>
                    <a:pt x="703" y="3254"/>
                    <a:pt x="710" y="3262"/>
                  </a:cubicBezTo>
                  <a:cubicBezTo>
                    <a:pt x="733" y="3315"/>
                    <a:pt x="779" y="3384"/>
                    <a:pt x="710" y="3430"/>
                  </a:cubicBezTo>
                  <a:cubicBezTo>
                    <a:pt x="695" y="3445"/>
                    <a:pt x="619" y="3430"/>
                    <a:pt x="634" y="3461"/>
                  </a:cubicBezTo>
                  <a:cubicBezTo>
                    <a:pt x="657" y="3491"/>
                    <a:pt x="703" y="3529"/>
                    <a:pt x="710" y="3568"/>
                  </a:cubicBezTo>
                  <a:cubicBezTo>
                    <a:pt x="687" y="3613"/>
                    <a:pt x="749" y="3636"/>
                    <a:pt x="741" y="3667"/>
                  </a:cubicBezTo>
                  <a:cubicBezTo>
                    <a:pt x="741" y="3690"/>
                    <a:pt x="680" y="3713"/>
                    <a:pt x="665" y="3743"/>
                  </a:cubicBezTo>
                  <a:cubicBezTo>
                    <a:pt x="649" y="3781"/>
                    <a:pt x="642" y="3820"/>
                    <a:pt x="619" y="3850"/>
                  </a:cubicBezTo>
                  <a:cubicBezTo>
                    <a:pt x="588" y="3896"/>
                    <a:pt x="581" y="3873"/>
                    <a:pt x="619" y="3911"/>
                  </a:cubicBezTo>
                  <a:cubicBezTo>
                    <a:pt x="657" y="3942"/>
                    <a:pt x="665" y="4049"/>
                    <a:pt x="642" y="4095"/>
                  </a:cubicBezTo>
                  <a:cubicBezTo>
                    <a:pt x="626" y="4110"/>
                    <a:pt x="695" y="4171"/>
                    <a:pt x="703" y="4194"/>
                  </a:cubicBezTo>
                  <a:cubicBezTo>
                    <a:pt x="726" y="4285"/>
                    <a:pt x="642" y="4217"/>
                    <a:pt x="611" y="4209"/>
                  </a:cubicBezTo>
                  <a:cubicBezTo>
                    <a:pt x="550" y="4194"/>
                    <a:pt x="443" y="4270"/>
                    <a:pt x="420" y="4163"/>
                  </a:cubicBezTo>
                  <a:cubicBezTo>
                    <a:pt x="405" y="4095"/>
                    <a:pt x="405" y="4010"/>
                    <a:pt x="382" y="3942"/>
                  </a:cubicBezTo>
                  <a:cubicBezTo>
                    <a:pt x="374" y="3919"/>
                    <a:pt x="367" y="3888"/>
                    <a:pt x="351" y="3873"/>
                  </a:cubicBezTo>
                  <a:cubicBezTo>
                    <a:pt x="344" y="3865"/>
                    <a:pt x="420" y="3629"/>
                    <a:pt x="428" y="3590"/>
                  </a:cubicBezTo>
                  <a:cubicBezTo>
                    <a:pt x="428" y="3552"/>
                    <a:pt x="413" y="3506"/>
                    <a:pt x="390" y="3476"/>
                  </a:cubicBezTo>
                  <a:cubicBezTo>
                    <a:pt x="336" y="3407"/>
                    <a:pt x="405" y="3438"/>
                    <a:pt x="428" y="3369"/>
                  </a:cubicBezTo>
                  <a:cubicBezTo>
                    <a:pt x="451" y="3346"/>
                    <a:pt x="458" y="3323"/>
                    <a:pt x="451" y="3300"/>
                  </a:cubicBezTo>
                  <a:cubicBezTo>
                    <a:pt x="420" y="3300"/>
                    <a:pt x="390" y="3193"/>
                    <a:pt x="413" y="3170"/>
                  </a:cubicBezTo>
                  <a:cubicBezTo>
                    <a:pt x="504" y="3094"/>
                    <a:pt x="451" y="2964"/>
                    <a:pt x="359" y="2911"/>
                  </a:cubicBezTo>
                  <a:cubicBezTo>
                    <a:pt x="336" y="2895"/>
                    <a:pt x="206" y="2804"/>
                    <a:pt x="214" y="2796"/>
                  </a:cubicBezTo>
                  <a:cubicBezTo>
                    <a:pt x="252" y="2750"/>
                    <a:pt x="260" y="2659"/>
                    <a:pt x="298" y="2597"/>
                  </a:cubicBezTo>
                  <a:cubicBezTo>
                    <a:pt x="344" y="2536"/>
                    <a:pt x="359" y="2590"/>
                    <a:pt x="413" y="2597"/>
                  </a:cubicBezTo>
                  <a:cubicBezTo>
                    <a:pt x="451" y="2605"/>
                    <a:pt x="474" y="2559"/>
                    <a:pt x="497" y="2536"/>
                  </a:cubicBezTo>
                  <a:cubicBezTo>
                    <a:pt x="542" y="2498"/>
                    <a:pt x="565" y="2613"/>
                    <a:pt x="611" y="2559"/>
                  </a:cubicBezTo>
                  <a:cubicBezTo>
                    <a:pt x="642" y="2536"/>
                    <a:pt x="726" y="2483"/>
                    <a:pt x="772" y="2521"/>
                  </a:cubicBezTo>
                  <a:cubicBezTo>
                    <a:pt x="833" y="2536"/>
                    <a:pt x="833" y="2536"/>
                    <a:pt x="833" y="2536"/>
                  </a:cubicBezTo>
                  <a:close/>
                  <a:moveTo>
                    <a:pt x="657" y="2300"/>
                  </a:moveTo>
                  <a:lnTo>
                    <a:pt x="657" y="2300"/>
                  </a:lnTo>
                  <a:cubicBezTo>
                    <a:pt x="649" y="2300"/>
                    <a:pt x="634" y="2277"/>
                    <a:pt x="634" y="2269"/>
                  </a:cubicBezTo>
                  <a:cubicBezTo>
                    <a:pt x="634" y="2246"/>
                    <a:pt x="642" y="2246"/>
                    <a:pt x="665" y="2238"/>
                  </a:cubicBezTo>
                  <a:cubicBezTo>
                    <a:pt x="672" y="2231"/>
                    <a:pt x="695" y="2223"/>
                    <a:pt x="703" y="2223"/>
                  </a:cubicBezTo>
                  <a:cubicBezTo>
                    <a:pt x="726" y="2231"/>
                    <a:pt x="733" y="2261"/>
                    <a:pt x="733" y="2277"/>
                  </a:cubicBezTo>
                  <a:cubicBezTo>
                    <a:pt x="733" y="2292"/>
                    <a:pt x="733" y="2292"/>
                    <a:pt x="718" y="2300"/>
                  </a:cubicBezTo>
                  <a:cubicBezTo>
                    <a:pt x="710" y="2300"/>
                    <a:pt x="687" y="2300"/>
                    <a:pt x="672" y="2300"/>
                  </a:cubicBezTo>
                  <a:cubicBezTo>
                    <a:pt x="657" y="2300"/>
                    <a:pt x="657" y="2300"/>
                    <a:pt x="657" y="2300"/>
                  </a:cubicBezTo>
                  <a:close/>
                  <a:moveTo>
                    <a:pt x="1031" y="1834"/>
                  </a:moveTo>
                  <a:lnTo>
                    <a:pt x="1031" y="1834"/>
                  </a:lnTo>
                  <a:cubicBezTo>
                    <a:pt x="1016" y="1841"/>
                    <a:pt x="993" y="1841"/>
                    <a:pt x="985" y="1864"/>
                  </a:cubicBezTo>
                  <a:cubicBezTo>
                    <a:pt x="978" y="1879"/>
                    <a:pt x="962" y="1887"/>
                    <a:pt x="947" y="1895"/>
                  </a:cubicBezTo>
                  <a:cubicBezTo>
                    <a:pt x="939" y="1902"/>
                    <a:pt x="924" y="1887"/>
                    <a:pt x="924" y="1910"/>
                  </a:cubicBezTo>
                  <a:cubicBezTo>
                    <a:pt x="917" y="1917"/>
                    <a:pt x="909" y="1979"/>
                    <a:pt x="932" y="1956"/>
                  </a:cubicBezTo>
                  <a:cubicBezTo>
                    <a:pt x="939" y="1940"/>
                    <a:pt x="955" y="1917"/>
                    <a:pt x="978" y="1917"/>
                  </a:cubicBezTo>
                  <a:cubicBezTo>
                    <a:pt x="993" y="1917"/>
                    <a:pt x="993" y="1917"/>
                    <a:pt x="1008" y="1933"/>
                  </a:cubicBezTo>
                  <a:cubicBezTo>
                    <a:pt x="1024" y="1956"/>
                    <a:pt x="1047" y="1940"/>
                    <a:pt x="1047" y="1917"/>
                  </a:cubicBezTo>
                  <a:cubicBezTo>
                    <a:pt x="1054" y="1895"/>
                    <a:pt x="1054" y="1879"/>
                    <a:pt x="1054" y="1849"/>
                  </a:cubicBezTo>
                  <a:cubicBezTo>
                    <a:pt x="1031" y="1834"/>
                    <a:pt x="1031" y="1834"/>
                    <a:pt x="1031" y="1834"/>
                  </a:cubicBezTo>
                  <a:close/>
                  <a:moveTo>
                    <a:pt x="2047" y="1543"/>
                  </a:moveTo>
                  <a:lnTo>
                    <a:pt x="2047" y="1543"/>
                  </a:lnTo>
                  <a:cubicBezTo>
                    <a:pt x="2047" y="1505"/>
                    <a:pt x="2047" y="1505"/>
                    <a:pt x="2047" y="1505"/>
                  </a:cubicBezTo>
                  <a:cubicBezTo>
                    <a:pt x="2070" y="1467"/>
                    <a:pt x="2024" y="1253"/>
                    <a:pt x="1986" y="1230"/>
                  </a:cubicBezTo>
                  <a:cubicBezTo>
                    <a:pt x="1978" y="1223"/>
                    <a:pt x="2032" y="1184"/>
                    <a:pt x="2039" y="1177"/>
                  </a:cubicBezTo>
                  <a:cubicBezTo>
                    <a:pt x="2062" y="1146"/>
                    <a:pt x="2039" y="1062"/>
                    <a:pt x="2032" y="1032"/>
                  </a:cubicBezTo>
                  <a:cubicBezTo>
                    <a:pt x="2017" y="963"/>
                    <a:pt x="2123" y="1100"/>
                    <a:pt x="2123" y="1009"/>
                  </a:cubicBezTo>
                  <a:cubicBezTo>
                    <a:pt x="2123" y="971"/>
                    <a:pt x="2139" y="986"/>
                    <a:pt x="2169" y="986"/>
                  </a:cubicBezTo>
                  <a:lnTo>
                    <a:pt x="2169" y="986"/>
                  </a:lnTo>
                  <a:cubicBezTo>
                    <a:pt x="2208" y="1138"/>
                    <a:pt x="2345" y="993"/>
                    <a:pt x="2368" y="909"/>
                  </a:cubicBezTo>
                  <a:cubicBezTo>
                    <a:pt x="2375" y="886"/>
                    <a:pt x="2406" y="825"/>
                    <a:pt x="2406" y="810"/>
                  </a:cubicBezTo>
                  <a:cubicBezTo>
                    <a:pt x="2406" y="802"/>
                    <a:pt x="2375" y="818"/>
                    <a:pt x="2368" y="810"/>
                  </a:cubicBezTo>
                  <a:cubicBezTo>
                    <a:pt x="2353" y="841"/>
                    <a:pt x="2307" y="841"/>
                    <a:pt x="2292" y="879"/>
                  </a:cubicBezTo>
                  <a:cubicBezTo>
                    <a:pt x="2276" y="917"/>
                    <a:pt x="2246" y="948"/>
                    <a:pt x="2208" y="955"/>
                  </a:cubicBezTo>
                  <a:cubicBezTo>
                    <a:pt x="2116" y="993"/>
                    <a:pt x="2085" y="909"/>
                    <a:pt x="2108" y="841"/>
                  </a:cubicBezTo>
                  <a:cubicBezTo>
                    <a:pt x="2108" y="779"/>
                    <a:pt x="2162" y="825"/>
                    <a:pt x="2169" y="779"/>
                  </a:cubicBezTo>
                  <a:cubicBezTo>
                    <a:pt x="2185" y="734"/>
                    <a:pt x="2177" y="734"/>
                    <a:pt x="2231" y="718"/>
                  </a:cubicBezTo>
                  <a:cubicBezTo>
                    <a:pt x="2253" y="718"/>
                    <a:pt x="2299" y="581"/>
                    <a:pt x="2353" y="566"/>
                  </a:cubicBezTo>
                  <a:cubicBezTo>
                    <a:pt x="2353" y="558"/>
                    <a:pt x="2353" y="558"/>
                    <a:pt x="2353" y="558"/>
                  </a:cubicBezTo>
                  <a:cubicBezTo>
                    <a:pt x="2185" y="520"/>
                    <a:pt x="2360" y="367"/>
                    <a:pt x="2337" y="291"/>
                  </a:cubicBezTo>
                  <a:cubicBezTo>
                    <a:pt x="2314" y="245"/>
                    <a:pt x="2337" y="252"/>
                    <a:pt x="2337" y="207"/>
                  </a:cubicBezTo>
                  <a:cubicBezTo>
                    <a:pt x="2330" y="176"/>
                    <a:pt x="2261" y="130"/>
                    <a:pt x="2246" y="92"/>
                  </a:cubicBezTo>
                  <a:cubicBezTo>
                    <a:pt x="2200" y="0"/>
                    <a:pt x="2192" y="92"/>
                    <a:pt x="2162" y="130"/>
                  </a:cubicBezTo>
                  <a:cubicBezTo>
                    <a:pt x="2100" y="207"/>
                    <a:pt x="1978" y="237"/>
                    <a:pt x="1910" y="306"/>
                  </a:cubicBezTo>
                  <a:cubicBezTo>
                    <a:pt x="1871" y="344"/>
                    <a:pt x="1803" y="459"/>
                    <a:pt x="1764" y="482"/>
                  </a:cubicBezTo>
                  <a:cubicBezTo>
                    <a:pt x="1742" y="512"/>
                    <a:pt x="1665" y="573"/>
                    <a:pt x="1619" y="566"/>
                  </a:cubicBezTo>
                  <a:cubicBezTo>
                    <a:pt x="1543" y="566"/>
                    <a:pt x="1566" y="573"/>
                    <a:pt x="1497" y="611"/>
                  </a:cubicBezTo>
                  <a:cubicBezTo>
                    <a:pt x="1398" y="665"/>
                    <a:pt x="1299" y="680"/>
                    <a:pt x="1345" y="818"/>
                  </a:cubicBezTo>
                  <a:cubicBezTo>
                    <a:pt x="1360" y="848"/>
                    <a:pt x="1444" y="955"/>
                    <a:pt x="1444" y="963"/>
                  </a:cubicBezTo>
                  <a:cubicBezTo>
                    <a:pt x="1428" y="963"/>
                    <a:pt x="1406" y="963"/>
                    <a:pt x="1390" y="963"/>
                  </a:cubicBezTo>
                  <a:cubicBezTo>
                    <a:pt x="1390" y="963"/>
                    <a:pt x="1390" y="963"/>
                    <a:pt x="1383" y="963"/>
                  </a:cubicBezTo>
                  <a:cubicBezTo>
                    <a:pt x="1383" y="940"/>
                    <a:pt x="1329" y="886"/>
                    <a:pt x="1314" y="871"/>
                  </a:cubicBezTo>
                  <a:cubicBezTo>
                    <a:pt x="1299" y="856"/>
                    <a:pt x="1245" y="764"/>
                    <a:pt x="1230" y="779"/>
                  </a:cubicBezTo>
                  <a:cubicBezTo>
                    <a:pt x="1222" y="787"/>
                    <a:pt x="1207" y="833"/>
                    <a:pt x="1214" y="848"/>
                  </a:cubicBezTo>
                  <a:cubicBezTo>
                    <a:pt x="1237" y="879"/>
                    <a:pt x="1260" y="925"/>
                    <a:pt x="1260" y="963"/>
                  </a:cubicBezTo>
                  <a:cubicBezTo>
                    <a:pt x="1237" y="963"/>
                    <a:pt x="1199" y="986"/>
                    <a:pt x="1192" y="986"/>
                  </a:cubicBezTo>
                  <a:cubicBezTo>
                    <a:pt x="1176" y="940"/>
                    <a:pt x="1153" y="902"/>
                    <a:pt x="1100" y="909"/>
                  </a:cubicBezTo>
                  <a:cubicBezTo>
                    <a:pt x="1024" y="925"/>
                    <a:pt x="1008" y="833"/>
                    <a:pt x="978" y="909"/>
                  </a:cubicBezTo>
                  <a:cubicBezTo>
                    <a:pt x="970" y="932"/>
                    <a:pt x="939" y="971"/>
                    <a:pt x="955" y="1001"/>
                  </a:cubicBezTo>
                  <a:cubicBezTo>
                    <a:pt x="993" y="1070"/>
                    <a:pt x="909" y="1024"/>
                    <a:pt x="894" y="1047"/>
                  </a:cubicBezTo>
                  <a:cubicBezTo>
                    <a:pt x="886" y="1070"/>
                    <a:pt x="894" y="1116"/>
                    <a:pt x="886" y="1138"/>
                  </a:cubicBezTo>
                  <a:cubicBezTo>
                    <a:pt x="878" y="1161"/>
                    <a:pt x="848" y="1192"/>
                    <a:pt x="848" y="1215"/>
                  </a:cubicBezTo>
                  <a:cubicBezTo>
                    <a:pt x="848" y="1246"/>
                    <a:pt x="886" y="1268"/>
                    <a:pt x="863" y="1307"/>
                  </a:cubicBezTo>
                  <a:cubicBezTo>
                    <a:pt x="833" y="1375"/>
                    <a:pt x="924" y="1398"/>
                    <a:pt x="939" y="1429"/>
                  </a:cubicBezTo>
                  <a:cubicBezTo>
                    <a:pt x="939" y="1429"/>
                    <a:pt x="978" y="1513"/>
                    <a:pt x="978" y="1536"/>
                  </a:cubicBezTo>
                  <a:cubicBezTo>
                    <a:pt x="978" y="1566"/>
                    <a:pt x="917" y="1528"/>
                    <a:pt x="901" y="1528"/>
                  </a:cubicBezTo>
                  <a:cubicBezTo>
                    <a:pt x="817" y="1490"/>
                    <a:pt x="733" y="1528"/>
                    <a:pt x="840" y="1574"/>
                  </a:cubicBezTo>
                  <a:cubicBezTo>
                    <a:pt x="901" y="1597"/>
                    <a:pt x="886" y="1589"/>
                    <a:pt x="917" y="1643"/>
                  </a:cubicBezTo>
                  <a:cubicBezTo>
                    <a:pt x="947" y="1711"/>
                    <a:pt x="1008" y="1734"/>
                    <a:pt x="1077" y="1750"/>
                  </a:cubicBezTo>
                  <a:cubicBezTo>
                    <a:pt x="1138" y="1757"/>
                    <a:pt x="1283" y="1765"/>
                    <a:pt x="1283" y="1849"/>
                  </a:cubicBezTo>
                  <a:cubicBezTo>
                    <a:pt x="1276" y="1917"/>
                    <a:pt x="1146" y="1788"/>
                    <a:pt x="1115" y="1948"/>
                  </a:cubicBezTo>
                  <a:cubicBezTo>
                    <a:pt x="1108" y="1986"/>
                    <a:pt x="1054" y="2025"/>
                    <a:pt x="1031" y="2055"/>
                  </a:cubicBezTo>
                  <a:cubicBezTo>
                    <a:pt x="993" y="2109"/>
                    <a:pt x="939" y="2147"/>
                    <a:pt x="886" y="2093"/>
                  </a:cubicBezTo>
                  <a:cubicBezTo>
                    <a:pt x="825" y="2032"/>
                    <a:pt x="863" y="2131"/>
                    <a:pt x="894" y="2170"/>
                  </a:cubicBezTo>
                  <a:cubicBezTo>
                    <a:pt x="1031" y="2330"/>
                    <a:pt x="1031" y="2330"/>
                    <a:pt x="1031" y="2330"/>
                  </a:cubicBezTo>
                  <a:cubicBezTo>
                    <a:pt x="1047" y="2345"/>
                    <a:pt x="1077" y="2376"/>
                    <a:pt x="1085" y="2391"/>
                  </a:cubicBezTo>
                  <a:cubicBezTo>
                    <a:pt x="1085" y="2391"/>
                    <a:pt x="1085" y="2399"/>
                    <a:pt x="1092" y="2399"/>
                  </a:cubicBezTo>
                  <a:cubicBezTo>
                    <a:pt x="1161" y="2399"/>
                    <a:pt x="1253" y="2185"/>
                    <a:pt x="1299" y="2147"/>
                  </a:cubicBezTo>
                  <a:cubicBezTo>
                    <a:pt x="1322" y="2131"/>
                    <a:pt x="1345" y="2170"/>
                    <a:pt x="1360" y="2162"/>
                  </a:cubicBezTo>
                  <a:cubicBezTo>
                    <a:pt x="1367" y="2147"/>
                    <a:pt x="1375" y="2131"/>
                    <a:pt x="1398" y="2116"/>
                  </a:cubicBezTo>
                  <a:cubicBezTo>
                    <a:pt x="1421" y="2101"/>
                    <a:pt x="1482" y="2124"/>
                    <a:pt x="1444" y="2078"/>
                  </a:cubicBezTo>
                  <a:cubicBezTo>
                    <a:pt x="1428" y="2063"/>
                    <a:pt x="1398" y="2002"/>
                    <a:pt x="1398" y="1979"/>
                  </a:cubicBezTo>
                  <a:cubicBezTo>
                    <a:pt x="1337" y="1971"/>
                    <a:pt x="1390" y="1925"/>
                    <a:pt x="1398" y="1902"/>
                  </a:cubicBezTo>
                  <a:cubicBezTo>
                    <a:pt x="1436" y="1902"/>
                    <a:pt x="1482" y="1940"/>
                    <a:pt x="1520" y="1940"/>
                  </a:cubicBezTo>
                  <a:cubicBezTo>
                    <a:pt x="1528" y="1971"/>
                    <a:pt x="1512" y="2002"/>
                    <a:pt x="1551" y="2017"/>
                  </a:cubicBezTo>
                  <a:cubicBezTo>
                    <a:pt x="1635" y="2055"/>
                    <a:pt x="1596" y="1956"/>
                    <a:pt x="1574" y="1902"/>
                  </a:cubicBezTo>
                  <a:cubicBezTo>
                    <a:pt x="1535" y="1795"/>
                    <a:pt x="1635" y="1887"/>
                    <a:pt x="1658" y="1811"/>
                  </a:cubicBezTo>
                  <a:lnTo>
                    <a:pt x="1658" y="1811"/>
                  </a:lnTo>
                  <a:cubicBezTo>
                    <a:pt x="1665" y="1818"/>
                    <a:pt x="1688" y="1834"/>
                    <a:pt x="1688" y="1849"/>
                  </a:cubicBezTo>
                  <a:cubicBezTo>
                    <a:pt x="1742" y="1849"/>
                    <a:pt x="1772" y="1895"/>
                    <a:pt x="1795" y="1811"/>
                  </a:cubicBezTo>
                  <a:cubicBezTo>
                    <a:pt x="1933" y="1788"/>
                    <a:pt x="1887" y="1696"/>
                    <a:pt x="1902" y="1612"/>
                  </a:cubicBezTo>
                  <a:cubicBezTo>
                    <a:pt x="1994" y="1589"/>
                    <a:pt x="1956" y="1658"/>
                    <a:pt x="2047" y="154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4" name="Freeform 196"/>
            <p:cNvSpPr>
              <a:spLocks noChangeArrowheads="1"/>
            </p:cNvSpPr>
            <p:nvPr/>
          </p:nvSpPr>
          <p:spPr bwMode="auto">
            <a:xfrm>
              <a:off x="6024171" y="1084264"/>
              <a:ext cx="593686" cy="727075"/>
            </a:xfrm>
            <a:custGeom>
              <a:avLst/>
              <a:gdLst>
                <a:gd name="T0" fmla="*/ 207 w 1650"/>
                <a:gd name="T1" fmla="*/ 1482 h 2018"/>
                <a:gd name="T2" fmla="*/ 84 w 1650"/>
                <a:gd name="T3" fmla="*/ 1612 h 2018"/>
                <a:gd name="T4" fmla="*/ 321 w 1650"/>
                <a:gd name="T5" fmla="*/ 1887 h 2018"/>
                <a:gd name="T6" fmla="*/ 358 w 1650"/>
                <a:gd name="T7" fmla="*/ 1627 h 2018"/>
                <a:gd name="T8" fmla="*/ 442 w 1650"/>
                <a:gd name="T9" fmla="*/ 1857 h 2018"/>
                <a:gd name="T10" fmla="*/ 344 w 1650"/>
                <a:gd name="T11" fmla="*/ 1818 h 2018"/>
                <a:gd name="T12" fmla="*/ 534 w 1650"/>
                <a:gd name="T13" fmla="*/ 1666 h 2018"/>
                <a:gd name="T14" fmla="*/ 473 w 1650"/>
                <a:gd name="T15" fmla="*/ 1765 h 2018"/>
                <a:gd name="T16" fmla="*/ 534 w 1650"/>
                <a:gd name="T17" fmla="*/ 1734 h 2018"/>
                <a:gd name="T18" fmla="*/ 534 w 1650"/>
                <a:gd name="T19" fmla="*/ 1666 h 2018"/>
                <a:gd name="T20" fmla="*/ 763 w 1650"/>
                <a:gd name="T21" fmla="*/ 1742 h 2018"/>
                <a:gd name="T22" fmla="*/ 702 w 1650"/>
                <a:gd name="T23" fmla="*/ 1887 h 2018"/>
                <a:gd name="T24" fmla="*/ 809 w 1650"/>
                <a:gd name="T25" fmla="*/ 1941 h 2018"/>
                <a:gd name="T26" fmla="*/ 855 w 1650"/>
                <a:gd name="T27" fmla="*/ 1711 h 2018"/>
                <a:gd name="T28" fmla="*/ 801 w 1650"/>
                <a:gd name="T29" fmla="*/ 1612 h 2018"/>
                <a:gd name="T30" fmla="*/ 824 w 1650"/>
                <a:gd name="T31" fmla="*/ 1666 h 2018"/>
                <a:gd name="T32" fmla="*/ 855 w 1650"/>
                <a:gd name="T33" fmla="*/ 1589 h 2018"/>
                <a:gd name="T34" fmla="*/ 595 w 1650"/>
                <a:gd name="T35" fmla="*/ 1085 h 2018"/>
                <a:gd name="T36" fmla="*/ 824 w 1650"/>
                <a:gd name="T37" fmla="*/ 1291 h 2018"/>
                <a:gd name="T38" fmla="*/ 984 w 1650"/>
                <a:gd name="T39" fmla="*/ 1429 h 2018"/>
                <a:gd name="T40" fmla="*/ 641 w 1650"/>
                <a:gd name="T41" fmla="*/ 1406 h 2018"/>
                <a:gd name="T42" fmla="*/ 329 w 1650"/>
                <a:gd name="T43" fmla="*/ 1253 h 2018"/>
                <a:gd name="T44" fmla="*/ 229 w 1650"/>
                <a:gd name="T45" fmla="*/ 1146 h 2018"/>
                <a:gd name="T46" fmla="*/ 130 w 1650"/>
                <a:gd name="T47" fmla="*/ 1116 h 2018"/>
                <a:gd name="T48" fmla="*/ 321 w 1650"/>
                <a:gd name="T49" fmla="*/ 749 h 2018"/>
                <a:gd name="T50" fmla="*/ 618 w 1650"/>
                <a:gd name="T51" fmla="*/ 894 h 2018"/>
                <a:gd name="T52" fmla="*/ 1000 w 1650"/>
                <a:gd name="T53" fmla="*/ 1368 h 2018"/>
                <a:gd name="T54" fmla="*/ 1137 w 1650"/>
                <a:gd name="T55" fmla="*/ 1444 h 2018"/>
                <a:gd name="T56" fmla="*/ 1137 w 1650"/>
                <a:gd name="T57" fmla="*/ 1299 h 2018"/>
                <a:gd name="T58" fmla="*/ 954 w 1650"/>
                <a:gd name="T59" fmla="*/ 978 h 2018"/>
                <a:gd name="T60" fmla="*/ 817 w 1650"/>
                <a:gd name="T61" fmla="*/ 1032 h 2018"/>
                <a:gd name="T62" fmla="*/ 977 w 1650"/>
                <a:gd name="T63" fmla="*/ 1116 h 2018"/>
                <a:gd name="T64" fmla="*/ 992 w 1650"/>
                <a:gd name="T65" fmla="*/ 940 h 2018"/>
                <a:gd name="T66" fmla="*/ 1328 w 1650"/>
                <a:gd name="T67" fmla="*/ 787 h 2018"/>
                <a:gd name="T68" fmla="*/ 1259 w 1650"/>
                <a:gd name="T69" fmla="*/ 818 h 2018"/>
                <a:gd name="T70" fmla="*/ 1275 w 1650"/>
                <a:gd name="T71" fmla="*/ 894 h 2018"/>
                <a:gd name="T72" fmla="*/ 1389 w 1650"/>
                <a:gd name="T73" fmla="*/ 863 h 2018"/>
                <a:gd name="T74" fmla="*/ 610 w 1650"/>
                <a:gd name="T75" fmla="*/ 642 h 2018"/>
                <a:gd name="T76" fmla="*/ 580 w 1650"/>
                <a:gd name="T77" fmla="*/ 795 h 2018"/>
                <a:gd name="T78" fmla="*/ 740 w 1650"/>
                <a:gd name="T79" fmla="*/ 634 h 2018"/>
                <a:gd name="T80" fmla="*/ 824 w 1650"/>
                <a:gd name="T81" fmla="*/ 711 h 2018"/>
                <a:gd name="T82" fmla="*/ 786 w 1650"/>
                <a:gd name="T83" fmla="*/ 749 h 2018"/>
                <a:gd name="T84" fmla="*/ 832 w 1650"/>
                <a:gd name="T85" fmla="*/ 741 h 2018"/>
                <a:gd name="T86" fmla="*/ 1084 w 1650"/>
                <a:gd name="T87" fmla="*/ 505 h 2018"/>
                <a:gd name="T88" fmla="*/ 969 w 1650"/>
                <a:gd name="T89" fmla="*/ 619 h 2018"/>
                <a:gd name="T90" fmla="*/ 1069 w 1650"/>
                <a:gd name="T91" fmla="*/ 764 h 2018"/>
                <a:gd name="T92" fmla="*/ 809 w 1650"/>
                <a:gd name="T93" fmla="*/ 275 h 2018"/>
                <a:gd name="T94" fmla="*/ 679 w 1650"/>
                <a:gd name="T95" fmla="*/ 191 h 2018"/>
                <a:gd name="T96" fmla="*/ 717 w 1650"/>
                <a:gd name="T97" fmla="*/ 375 h 2018"/>
                <a:gd name="T98" fmla="*/ 900 w 1650"/>
                <a:gd name="T99" fmla="*/ 367 h 2018"/>
                <a:gd name="T100" fmla="*/ 878 w 1650"/>
                <a:gd name="T101" fmla="*/ 153 h 2018"/>
                <a:gd name="T102" fmla="*/ 839 w 1650"/>
                <a:gd name="T103" fmla="*/ 77 h 2018"/>
                <a:gd name="T104" fmla="*/ 878 w 1650"/>
                <a:gd name="T105" fmla="*/ 153 h 2018"/>
                <a:gd name="T106" fmla="*/ 1397 w 1650"/>
                <a:gd name="T107" fmla="*/ 283 h 2018"/>
                <a:gd name="T108" fmla="*/ 1214 w 1650"/>
                <a:gd name="T109" fmla="*/ 482 h 2018"/>
                <a:gd name="T110" fmla="*/ 1344 w 1650"/>
                <a:gd name="T111" fmla="*/ 466 h 2018"/>
                <a:gd name="T112" fmla="*/ 1588 w 1650"/>
                <a:gd name="T113" fmla="*/ 291 h 2018"/>
                <a:gd name="T114" fmla="*/ 1565 w 1650"/>
                <a:gd name="T115" fmla="*/ 62 h 2018"/>
                <a:gd name="T116" fmla="*/ 1634 w 1650"/>
                <a:gd name="T117" fmla="*/ 23 h 2018"/>
                <a:gd name="T118" fmla="*/ 1557 w 1650"/>
                <a:gd name="T119" fmla="*/ 77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0" h="2018">
                  <a:moveTo>
                    <a:pt x="358" y="1627"/>
                  </a:moveTo>
                  <a:lnTo>
                    <a:pt x="358" y="1627"/>
                  </a:lnTo>
                  <a:cubicBezTo>
                    <a:pt x="306" y="1597"/>
                    <a:pt x="344" y="1521"/>
                    <a:pt x="268" y="1498"/>
                  </a:cubicBezTo>
                  <a:cubicBezTo>
                    <a:pt x="252" y="1498"/>
                    <a:pt x="214" y="1498"/>
                    <a:pt x="207" y="1482"/>
                  </a:cubicBezTo>
                  <a:cubicBezTo>
                    <a:pt x="176" y="1467"/>
                    <a:pt x="168" y="1398"/>
                    <a:pt x="130" y="1413"/>
                  </a:cubicBezTo>
                  <a:cubicBezTo>
                    <a:pt x="99" y="1429"/>
                    <a:pt x="46" y="1444"/>
                    <a:pt x="31" y="1467"/>
                  </a:cubicBezTo>
                  <a:cubicBezTo>
                    <a:pt x="15" y="1490"/>
                    <a:pt x="0" y="1543"/>
                    <a:pt x="0" y="1574"/>
                  </a:cubicBezTo>
                  <a:cubicBezTo>
                    <a:pt x="0" y="1597"/>
                    <a:pt x="61" y="1589"/>
                    <a:pt x="84" y="1612"/>
                  </a:cubicBezTo>
                  <a:cubicBezTo>
                    <a:pt x="92" y="1627"/>
                    <a:pt x="92" y="1673"/>
                    <a:pt x="99" y="1696"/>
                  </a:cubicBezTo>
                  <a:cubicBezTo>
                    <a:pt x="107" y="1734"/>
                    <a:pt x="168" y="1765"/>
                    <a:pt x="191" y="1803"/>
                  </a:cubicBezTo>
                  <a:cubicBezTo>
                    <a:pt x="207" y="1826"/>
                    <a:pt x="214" y="1872"/>
                    <a:pt x="245" y="1872"/>
                  </a:cubicBezTo>
                  <a:cubicBezTo>
                    <a:pt x="260" y="1864"/>
                    <a:pt x="313" y="1895"/>
                    <a:pt x="321" y="1887"/>
                  </a:cubicBezTo>
                  <a:cubicBezTo>
                    <a:pt x="321" y="1857"/>
                    <a:pt x="290" y="1849"/>
                    <a:pt x="313" y="1811"/>
                  </a:cubicBezTo>
                  <a:cubicBezTo>
                    <a:pt x="329" y="1795"/>
                    <a:pt x="366" y="1788"/>
                    <a:pt x="381" y="1765"/>
                  </a:cubicBezTo>
                  <a:cubicBezTo>
                    <a:pt x="389" y="1734"/>
                    <a:pt x="366" y="1696"/>
                    <a:pt x="366" y="1666"/>
                  </a:cubicBezTo>
                  <a:cubicBezTo>
                    <a:pt x="358" y="1627"/>
                    <a:pt x="358" y="1627"/>
                    <a:pt x="358" y="1627"/>
                  </a:cubicBezTo>
                  <a:close/>
                  <a:moveTo>
                    <a:pt x="458" y="1795"/>
                  </a:moveTo>
                  <a:lnTo>
                    <a:pt x="458" y="1795"/>
                  </a:lnTo>
                  <a:cubicBezTo>
                    <a:pt x="465" y="1818"/>
                    <a:pt x="465" y="1818"/>
                    <a:pt x="465" y="1818"/>
                  </a:cubicBezTo>
                  <a:cubicBezTo>
                    <a:pt x="465" y="1834"/>
                    <a:pt x="458" y="1849"/>
                    <a:pt x="442" y="1857"/>
                  </a:cubicBezTo>
                  <a:cubicBezTo>
                    <a:pt x="427" y="1864"/>
                    <a:pt x="404" y="1857"/>
                    <a:pt x="396" y="1864"/>
                  </a:cubicBezTo>
                  <a:cubicBezTo>
                    <a:pt x="381" y="1872"/>
                    <a:pt x="373" y="1887"/>
                    <a:pt x="366" y="1872"/>
                  </a:cubicBezTo>
                  <a:cubicBezTo>
                    <a:pt x="358" y="1872"/>
                    <a:pt x="336" y="1849"/>
                    <a:pt x="336" y="1841"/>
                  </a:cubicBezTo>
                  <a:cubicBezTo>
                    <a:pt x="336" y="1834"/>
                    <a:pt x="344" y="1818"/>
                    <a:pt x="344" y="1818"/>
                  </a:cubicBezTo>
                  <a:cubicBezTo>
                    <a:pt x="358" y="1803"/>
                    <a:pt x="381" y="1811"/>
                    <a:pt x="404" y="1811"/>
                  </a:cubicBezTo>
                  <a:cubicBezTo>
                    <a:pt x="419" y="1811"/>
                    <a:pt x="427" y="1803"/>
                    <a:pt x="442" y="1803"/>
                  </a:cubicBezTo>
                  <a:cubicBezTo>
                    <a:pt x="450" y="1803"/>
                    <a:pt x="450" y="1803"/>
                    <a:pt x="458" y="1795"/>
                  </a:cubicBezTo>
                  <a:close/>
                  <a:moveTo>
                    <a:pt x="534" y="1666"/>
                  </a:moveTo>
                  <a:lnTo>
                    <a:pt x="534" y="1666"/>
                  </a:lnTo>
                  <a:cubicBezTo>
                    <a:pt x="519" y="1666"/>
                    <a:pt x="511" y="1673"/>
                    <a:pt x="503" y="1673"/>
                  </a:cubicBezTo>
                  <a:cubicBezTo>
                    <a:pt x="480" y="1681"/>
                    <a:pt x="465" y="1696"/>
                    <a:pt x="458" y="1719"/>
                  </a:cubicBezTo>
                  <a:cubicBezTo>
                    <a:pt x="450" y="1734"/>
                    <a:pt x="465" y="1750"/>
                    <a:pt x="473" y="1765"/>
                  </a:cubicBezTo>
                  <a:cubicBezTo>
                    <a:pt x="480" y="1773"/>
                    <a:pt x="503" y="1765"/>
                    <a:pt x="511" y="1773"/>
                  </a:cubicBezTo>
                  <a:cubicBezTo>
                    <a:pt x="519" y="1773"/>
                    <a:pt x="534" y="1773"/>
                    <a:pt x="542" y="1765"/>
                  </a:cubicBezTo>
                  <a:cubicBezTo>
                    <a:pt x="549" y="1765"/>
                    <a:pt x="549" y="1757"/>
                    <a:pt x="549" y="1750"/>
                  </a:cubicBezTo>
                  <a:cubicBezTo>
                    <a:pt x="557" y="1742"/>
                    <a:pt x="542" y="1734"/>
                    <a:pt x="534" y="1734"/>
                  </a:cubicBezTo>
                  <a:cubicBezTo>
                    <a:pt x="526" y="1734"/>
                    <a:pt x="519" y="1719"/>
                    <a:pt x="511" y="1719"/>
                  </a:cubicBezTo>
                  <a:cubicBezTo>
                    <a:pt x="511" y="1711"/>
                    <a:pt x="503" y="1711"/>
                    <a:pt x="511" y="1704"/>
                  </a:cubicBezTo>
                  <a:cubicBezTo>
                    <a:pt x="519" y="1696"/>
                    <a:pt x="526" y="1688"/>
                    <a:pt x="534" y="1681"/>
                  </a:cubicBezTo>
                  <a:cubicBezTo>
                    <a:pt x="534" y="1666"/>
                    <a:pt x="534" y="1666"/>
                    <a:pt x="534" y="1666"/>
                  </a:cubicBezTo>
                  <a:close/>
                  <a:moveTo>
                    <a:pt x="855" y="1711"/>
                  </a:moveTo>
                  <a:lnTo>
                    <a:pt x="855" y="1711"/>
                  </a:lnTo>
                  <a:cubicBezTo>
                    <a:pt x="839" y="1719"/>
                    <a:pt x="839" y="1704"/>
                    <a:pt x="824" y="1704"/>
                  </a:cubicBezTo>
                  <a:cubicBezTo>
                    <a:pt x="801" y="1711"/>
                    <a:pt x="794" y="1742"/>
                    <a:pt x="763" y="1742"/>
                  </a:cubicBezTo>
                  <a:cubicBezTo>
                    <a:pt x="755" y="1742"/>
                    <a:pt x="740" y="1727"/>
                    <a:pt x="732" y="1719"/>
                  </a:cubicBezTo>
                  <a:cubicBezTo>
                    <a:pt x="725" y="1719"/>
                    <a:pt x="679" y="1727"/>
                    <a:pt x="664" y="1727"/>
                  </a:cubicBezTo>
                  <a:cubicBezTo>
                    <a:pt x="648" y="1727"/>
                    <a:pt x="694" y="1765"/>
                    <a:pt x="694" y="1780"/>
                  </a:cubicBezTo>
                  <a:cubicBezTo>
                    <a:pt x="618" y="1803"/>
                    <a:pt x="702" y="1834"/>
                    <a:pt x="702" y="1887"/>
                  </a:cubicBezTo>
                  <a:cubicBezTo>
                    <a:pt x="702" y="1902"/>
                    <a:pt x="694" y="1910"/>
                    <a:pt x="702" y="1933"/>
                  </a:cubicBezTo>
                  <a:cubicBezTo>
                    <a:pt x="702" y="1948"/>
                    <a:pt x="717" y="1956"/>
                    <a:pt x="732" y="1963"/>
                  </a:cubicBezTo>
                  <a:cubicBezTo>
                    <a:pt x="755" y="1986"/>
                    <a:pt x="740" y="2017"/>
                    <a:pt x="786" y="2009"/>
                  </a:cubicBezTo>
                  <a:cubicBezTo>
                    <a:pt x="817" y="2009"/>
                    <a:pt x="809" y="1956"/>
                    <a:pt x="809" y="1941"/>
                  </a:cubicBezTo>
                  <a:cubicBezTo>
                    <a:pt x="809" y="1910"/>
                    <a:pt x="801" y="1902"/>
                    <a:pt x="794" y="1880"/>
                  </a:cubicBezTo>
                  <a:cubicBezTo>
                    <a:pt x="786" y="1857"/>
                    <a:pt x="809" y="1834"/>
                    <a:pt x="824" y="1811"/>
                  </a:cubicBezTo>
                  <a:cubicBezTo>
                    <a:pt x="839" y="1795"/>
                    <a:pt x="847" y="1773"/>
                    <a:pt x="855" y="1742"/>
                  </a:cubicBezTo>
                  <a:cubicBezTo>
                    <a:pt x="855" y="1711"/>
                    <a:pt x="855" y="1711"/>
                    <a:pt x="855" y="1711"/>
                  </a:cubicBezTo>
                  <a:close/>
                  <a:moveTo>
                    <a:pt x="855" y="1589"/>
                  </a:moveTo>
                  <a:lnTo>
                    <a:pt x="855" y="1589"/>
                  </a:lnTo>
                  <a:cubicBezTo>
                    <a:pt x="847" y="1597"/>
                    <a:pt x="839" y="1597"/>
                    <a:pt x="824" y="1605"/>
                  </a:cubicBezTo>
                  <a:cubicBezTo>
                    <a:pt x="817" y="1605"/>
                    <a:pt x="809" y="1605"/>
                    <a:pt x="801" y="1612"/>
                  </a:cubicBezTo>
                  <a:cubicBezTo>
                    <a:pt x="786" y="1627"/>
                    <a:pt x="763" y="1627"/>
                    <a:pt x="748" y="1643"/>
                  </a:cubicBezTo>
                  <a:cubicBezTo>
                    <a:pt x="748" y="1643"/>
                    <a:pt x="748" y="1650"/>
                    <a:pt x="748" y="1658"/>
                  </a:cubicBezTo>
                  <a:cubicBezTo>
                    <a:pt x="763" y="1666"/>
                    <a:pt x="778" y="1673"/>
                    <a:pt x="794" y="1673"/>
                  </a:cubicBezTo>
                  <a:cubicBezTo>
                    <a:pt x="801" y="1666"/>
                    <a:pt x="817" y="1666"/>
                    <a:pt x="824" y="1666"/>
                  </a:cubicBezTo>
                  <a:cubicBezTo>
                    <a:pt x="839" y="1666"/>
                    <a:pt x="847" y="1681"/>
                    <a:pt x="862" y="1673"/>
                  </a:cubicBezTo>
                  <a:cubicBezTo>
                    <a:pt x="870" y="1666"/>
                    <a:pt x="862" y="1658"/>
                    <a:pt x="862" y="1650"/>
                  </a:cubicBezTo>
                  <a:cubicBezTo>
                    <a:pt x="862" y="1635"/>
                    <a:pt x="862" y="1627"/>
                    <a:pt x="870" y="1627"/>
                  </a:cubicBezTo>
                  <a:cubicBezTo>
                    <a:pt x="855" y="1589"/>
                    <a:pt x="855" y="1589"/>
                    <a:pt x="855" y="1589"/>
                  </a:cubicBezTo>
                  <a:close/>
                  <a:moveTo>
                    <a:pt x="618" y="894"/>
                  </a:moveTo>
                  <a:lnTo>
                    <a:pt x="618" y="894"/>
                  </a:lnTo>
                  <a:cubicBezTo>
                    <a:pt x="641" y="948"/>
                    <a:pt x="679" y="971"/>
                    <a:pt x="664" y="1039"/>
                  </a:cubicBezTo>
                  <a:cubicBezTo>
                    <a:pt x="648" y="1131"/>
                    <a:pt x="587" y="1001"/>
                    <a:pt x="595" y="1085"/>
                  </a:cubicBezTo>
                  <a:cubicBezTo>
                    <a:pt x="595" y="1123"/>
                    <a:pt x="549" y="1138"/>
                    <a:pt x="519" y="1146"/>
                  </a:cubicBezTo>
                  <a:cubicBezTo>
                    <a:pt x="519" y="1184"/>
                    <a:pt x="641" y="1200"/>
                    <a:pt x="671" y="1192"/>
                  </a:cubicBezTo>
                  <a:cubicBezTo>
                    <a:pt x="732" y="1169"/>
                    <a:pt x="771" y="1161"/>
                    <a:pt x="832" y="1215"/>
                  </a:cubicBezTo>
                  <a:cubicBezTo>
                    <a:pt x="855" y="1238"/>
                    <a:pt x="817" y="1253"/>
                    <a:pt x="824" y="1291"/>
                  </a:cubicBezTo>
                  <a:cubicBezTo>
                    <a:pt x="824" y="1383"/>
                    <a:pt x="923" y="1261"/>
                    <a:pt x="939" y="1261"/>
                  </a:cubicBezTo>
                  <a:cubicBezTo>
                    <a:pt x="962" y="1261"/>
                    <a:pt x="1000" y="1238"/>
                    <a:pt x="992" y="1276"/>
                  </a:cubicBezTo>
                  <a:cubicBezTo>
                    <a:pt x="984" y="1314"/>
                    <a:pt x="946" y="1299"/>
                    <a:pt x="946" y="1345"/>
                  </a:cubicBezTo>
                  <a:cubicBezTo>
                    <a:pt x="946" y="1391"/>
                    <a:pt x="939" y="1413"/>
                    <a:pt x="984" y="1429"/>
                  </a:cubicBezTo>
                  <a:cubicBezTo>
                    <a:pt x="1030" y="1444"/>
                    <a:pt x="984" y="1658"/>
                    <a:pt x="916" y="1543"/>
                  </a:cubicBezTo>
                  <a:cubicBezTo>
                    <a:pt x="878" y="1475"/>
                    <a:pt x="817" y="1521"/>
                    <a:pt x="786" y="1490"/>
                  </a:cubicBezTo>
                  <a:cubicBezTo>
                    <a:pt x="732" y="1429"/>
                    <a:pt x="740" y="1375"/>
                    <a:pt x="725" y="1307"/>
                  </a:cubicBezTo>
                  <a:cubicBezTo>
                    <a:pt x="710" y="1314"/>
                    <a:pt x="671" y="1391"/>
                    <a:pt x="641" y="1406"/>
                  </a:cubicBezTo>
                  <a:cubicBezTo>
                    <a:pt x="595" y="1421"/>
                    <a:pt x="564" y="1406"/>
                    <a:pt x="519" y="1436"/>
                  </a:cubicBezTo>
                  <a:cubicBezTo>
                    <a:pt x="488" y="1459"/>
                    <a:pt x="458" y="1444"/>
                    <a:pt x="419" y="1444"/>
                  </a:cubicBezTo>
                  <a:cubicBezTo>
                    <a:pt x="343" y="1452"/>
                    <a:pt x="373" y="1452"/>
                    <a:pt x="336" y="1391"/>
                  </a:cubicBezTo>
                  <a:cubicBezTo>
                    <a:pt x="306" y="1352"/>
                    <a:pt x="298" y="1299"/>
                    <a:pt x="329" y="1253"/>
                  </a:cubicBezTo>
                  <a:cubicBezTo>
                    <a:pt x="350" y="1223"/>
                    <a:pt x="344" y="1200"/>
                    <a:pt x="358" y="1161"/>
                  </a:cubicBezTo>
                  <a:cubicBezTo>
                    <a:pt x="358" y="1146"/>
                    <a:pt x="321" y="1039"/>
                    <a:pt x="298" y="1055"/>
                  </a:cubicBezTo>
                  <a:cubicBezTo>
                    <a:pt x="275" y="1062"/>
                    <a:pt x="313" y="1169"/>
                    <a:pt x="313" y="1184"/>
                  </a:cubicBezTo>
                  <a:cubicBezTo>
                    <a:pt x="290" y="1184"/>
                    <a:pt x="245" y="1123"/>
                    <a:pt x="229" y="1146"/>
                  </a:cubicBezTo>
                  <a:cubicBezTo>
                    <a:pt x="222" y="1169"/>
                    <a:pt x="290" y="1261"/>
                    <a:pt x="268" y="1291"/>
                  </a:cubicBezTo>
                  <a:cubicBezTo>
                    <a:pt x="252" y="1322"/>
                    <a:pt x="207" y="1337"/>
                    <a:pt x="176" y="1337"/>
                  </a:cubicBezTo>
                  <a:cubicBezTo>
                    <a:pt x="115" y="1337"/>
                    <a:pt x="130" y="1314"/>
                    <a:pt x="122" y="1269"/>
                  </a:cubicBezTo>
                  <a:cubicBezTo>
                    <a:pt x="107" y="1207"/>
                    <a:pt x="122" y="1177"/>
                    <a:pt x="130" y="1116"/>
                  </a:cubicBezTo>
                  <a:cubicBezTo>
                    <a:pt x="138" y="1093"/>
                    <a:pt x="145" y="1070"/>
                    <a:pt x="145" y="1039"/>
                  </a:cubicBezTo>
                  <a:cubicBezTo>
                    <a:pt x="153" y="994"/>
                    <a:pt x="138" y="948"/>
                    <a:pt x="138" y="902"/>
                  </a:cubicBezTo>
                  <a:cubicBezTo>
                    <a:pt x="161" y="848"/>
                    <a:pt x="145" y="825"/>
                    <a:pt x="214" y="787"/>
                  </a:cubicBezTo>
                  <a:cubicBezTo>
                    <a:pt x="245" y="772"/>
                    <a:pt x="290" y="757"/>
                    <a:pt x="321" y="749"/>
                  </a:cubicBezTo>
                  <a:cubicBezTo>
                    <a:pt x="389" y="726"/>
                    <a:pt x="404" y="772"/>
                    <a:pt x="458" y="795"/>
                  </a:cubicBezTo>
                  <a:cubicBezTo>
                    <a:pt x="480" y="810"/>
                    <a:pt x="503" y="810"/>
                    <a:pt x="526" y="818"/>
                  </a:cubicBezTo>
                  <a:cubicBezTo>
                    <a:pt x="549" y="833"/>
                    <a:pt x="572" y="848"/>
                    <a:pt x="595" y="863"/>
                  </a:cubicBezTo>
                  <a:cubicBezTo>
                    <a:pt x="618" y="894"/>
                    <a:pt x="618" y="894"/>
                    <a:pt x="618" y="894"/>
                  </a:cubicBezTo>
                  <a:close/>
                  <a:moveTo>
                    <a:pt x="1122" y="1299"/>
                  </a:moveTo>
                  <a:lnTo>
                    <a:pt x="1122" y="1299"/>
                  </a:lnTo>
                  <a:cubicBezTo>
                    <a:pt x="1107" y="1314"/>
                    <a:pt x="1084" y="1322"/>
                    <a:pt x="1069" y="1337"/>
                  </a:cubicBezTo>
                  <a:cubicBezTo>
                    <a:pt x="1053" y="1345"/>
                    <a:pt x="984" y="1337"/>
                    <a:pt x="1000" y="1368"/>
                  </a:cubicBezTo>
                  <a:cubicBezTo>
                    <a:pt x="1023" y="1391"/>
                    <a:pt x="1030" y="1421"/>
                    <a:pt x="1038" y="1459"/>
                  </a:cubicBezTo>
                  <a:lnTo>
                    <a:pt x="1038" y="1459"/>
                  </a:lnTo>
                  <a:cubicBezTo>
                    <a:pt x="1046" y="1459"/>
                    <a:pt x="1053" y="1452"/>
                    <a:pt x="1061" y="1444"/>
                  </a:cubicBezTo>
                  <a:cubicBezTo>
                    <a:pt x="1084" y="1436"/>
                    <a:pt x="1114" y="1444"/>
                    <a:pt x="1137" y="1444"/>
                  </a:cubicBezTo>
                  <a:cubicBezTo>
                    <a:pt x="1137" y="1436"/>
                    <a:pt x="1137" y="1429"/>
                    <a:pt x="1137" y="1429"/>
                  </a:cubicBezTo>
                  <a:cubicBezTo>
                    <a:pt x="1145" y="1406"/>
                    <a:pt x="1130" y="1383"/>
                    <a:pt x="1130" y="1360"/>
                  </a:cubicBezTo>
                  <a:cubicBezTo>
                    <a:pt x="1130" y="1352"/>
                    <a:pt x="1137" y="1337"/>
                    <a:pt x="1137" y="1330"/>
                  </a:cubicBezTo>
                  <a:cubicBezTo>
                    <a:pt x="1145" y="1314"/>
                    <a:pt x="1137" y="1314"/>
                    <a:pt x="1137" y="1299"/>
                  </a:cubicBezTo>
                  <a:cubicBezTo>
                    <a:pt x="1122" y="1299"/>
                    <a:pt x="1122" y="1299"/>
                    <a:pt x="1122" y="1299"/>
                  </a:cubicBezTo>
                  <a:close/>
                  <a:moveTo>
                    <a:pt x="992" y="940"/>
                  </a:moveTo>
                  <a:lnTo>
                    <a:pt x="992" y="940"/>
                  </a:lnTo>
                  <a:cubicBezTo>
                    <a:pt x="969" y="940"/>
                    <a:pt x="969" y="963"/>
                    <a:pt x="954" y="978"/>
                  </a:cubicBezTo>
                  <a:cubicBezTo>
                    <a:pt x="946" y="1001"/>
                    <a:pt x="931" y="1024"/>
                    <a:pt x="900" y="1024"/>
                  </a:cubicBezTo>
                  <a:cubicBezTo>
                    <a:pt x="878" y="1024"/>
                    <a:pt x="839" y="1001"/>
                    <a:pt x="832" y="978"/>
                  </a:cubicBezTo>
                  <a:lnTo>
                    <a:pt x="832" y="978"/>
                  </a:lnTo>
                  <a:cubicBezTo>
                    <a:pt x="832" y="1001"/>
                    <a:pt x="824" y="1009"/>
                    <a:pt x="817" y="1032"/>
                  </a:cubicBezTo>
                  <a:cubicBezTo>
                    <a:pt x="809" y="1039"/>
                    <a:pt x="794" y="1062"/>
                    <a:pt x="809" y="1077"/>
                  </a:cubicBezTo>
                  <a:cubicBezTo>
                    <a:pt x="824" y="1085"/>
                    <a:pt x="839" y="1085"/>
                    <a:pt x="855" y="1093"/>
                  </a:cubicBezTo>
                  <a:cubicBezTo>
                    <a:pt x="885" y="1100"/>
                    <a:pt x="900" y="1108"/>
                    <a:pt x="923" y="1131"/>
                  </a:cubicBezTo>
                  <a:cubicBezTo>
                    <a:pt x="946" y="1146"/>
                    <a:pt x="962" y="1138"/>
                    <a:pt x="977" y="1116"/>
                  </a:cubicBezTo>
                  <a:cubicBezTo>
                    <a:pt x="992" y="1093"/>
                    <a:pt x="969" y="1062"/>
                    <a:pt x="969" y="1039"/>
                  </a:cubicBezTo>
                  <a:cubicBezTo>
                    <a:pt x="969" y="1024"/>
                    <a:pt x="977" y="1016"/>
                    <a:pt x="977" y="1009"/>
                  </a:cubicBezTo>
                  <a:cubicBezTo>
                    <a:pt x="984" y="1001"/>
                    <a:pt x="992" y="986"/>
                    <a:pt x="1000" y="971"/>
                  </a:cubicBezTo>
                  <a:cubicBezTo>
                    <a:pt x="992" y="940"/>
                    <a:pt x="992" y="940"/>
                    <a:pt x="992" y="940"/>
                  </a:cubicBezTo>
                  <a:close/>
                  <a:moveTo>
                    <a:pt x="1389" y="841"/>
                  </a:moveTo>
                  <a:lnTo>
                    <a:pt x="1389" y="841"/>
                  </a:lnTo>
                  <a:cubicBezTo>
                    <a:pt x="1367" y="856"/>
                    <a:pt x="1282" y="856"/>
                    <a:pt x="1298" y="818"/>
                  </a:cubicBezTo>
                  <a:cubicBezTo>
                    <a:pt x="1305" y="795"/>
                    <a:pt x="1305" y="802"/>
                    <a:pt x="1328" y="787"/>
                  </a:cubicBezTo>
                  <a:cubicBezTo>
                    <a:pt x="1336" y="780"/>
                    <a:pt x="1328" y="764"/>
                    <a:pt x="1321" y="764"/>
                  </a:cubicBezTo>
                  <a:cubicBezTo>
                    <a:pt x="1305" y="764"/>
                    <a:pt x="1282" y="772"/>
                    <a:pt x="1282" y="757"/>
                  </a:cubicBezTo>
                  <a:cubicBezTo>
                    <a:pt x="1282" y="734"/>
                    <a:pt x="1252" y="688"/>
                    <a:pt x="1244" y="734"/>
                  </a:cubicBezTo>
                  <a:cubicBezTo>
                    <a:pt x="1244" y="757"/>
                    <a:pt x="1252" y="795"/>
                    <a:pt x="1259" y="818"/>
                  </a:cubicBezTo>
                  <a:cubicBezTo>
                    <a:pt x="1275" y="879"/>
                    <a:pt x="1236" y="833"/>
                    <a:pt x="1206" y="871"/>
                  </a:cubicBezTo>
                  <a:cubicBezTo>
                    <a:pt x="1198" y="879"/>
                    <a:pt x="1175" y="932"/>
                    <a:pt x="1168" y="948"/>
                  </a:cubicBezTo>
                  <a:cubicBezTo>
                    <a:pt x="1168" y="971"/>
                    <a:pt x="1198" y="971"/>
                    <a:pt x="1206" y="948"/>
                  </a:cubicBezTo>
                  <a:cubicBezTo>
                    <a:pt x="1214" y="917"/>
                    <a:pt x="1236" y="886"/>
                    <a:pt x="1275" y="894"/>
                  </a:cubicBezTo>
                  <a:cubicBezTo>
                    <a:pt x="1321" y="894"/>
                    <a:pt x="1321" y="940"/>
                    <a:pt x="1313" y="971"/>
                  </a:cubicBezTo>
                  <a:cubicBezTo>
                    <a:pt x="1328" y="971"/>
                    <a:pt x="1336" y="955"/>
                    <a:pt x="1359" y="948"/>
                  </a:cubicBezTo>
                  <a:cubicBezTo>
                    <a:pt x="1367" y="948"/>
                    <a:pt x="1428" y="948"/>
                    <a:pt x="1405" y="932"/>
                  </a:cubicBezTo>
                  <a:cubicBezTo>
                    <a:pt x="1397" y="917"/>
                    <a:pt x="1367" y="879"/>
                    <a:pt x="1389" y="863"/>
                  </a:cubicBezTo>
                  <a:cubicBezTo>
                    <a:pt x="1389" y="841"/>
                    <a:pt x="1389" y="841"/>
                    <a:pt x="1389" y="841"/>
                  </a:cubicBezTo>
                  <a:close/>
                  <a:moveTo>
                    <a:pt x="710" y="642"/>
                  </a:moveTo>
                  <a:lnTo>
                    <a:pt x="710" y="642"/>
                  </a:lnTo>
                  <a:cubicBezTo>
                    <a:pt x="679" y="665"/>
                    <a:pt x="641" y="673"/>
                    <a:pt x="610" y="642"/>
                  </a:cubicBezTo>
                  <a:cubicBezTo>
                    <a:pt x="587" y="611"/>
                    <a:pt x="618" y="596"/>
                    <a:pt x="572" y="581"/>
                  </a:cubicBezTo>
                  <a:cubicBezTo>
                    <a:pt x="534" y="573"/>
                    <a:pt x="542" y="589"/>
                    <a:pt x="534" y="619"/>
                  </a:cubicBezTo>
                  <a:cubicBezTo>
                    <a:pt x="519" y="642"/>
                    <a:pt x="496" y="650"/>
                    <a:pt x="496" y="688"/>
                  </a:cubicBezTo>
                  <a:cubicBezTo>
                    <a:pt x="503" y="719"/>
                    <a:pt x="557" y="772"/>
                    <a:pt x="580" y="795"/>
                  </a:cubicBezTo>
                  <a:cubicBezTo>
                    <a:pt x="610" y="818"/>
                    <a:pt x="633" y="818"/>
                    <a:pt x="664" y="810"/>
                  </a:cubicBezTo>
                  <a:cubicBezTo>
                    <a:pt x="687" y="810"/>
                    <a:pt x="717" y="810"/>
                    <a:pt x="717" y="795"/>
                  </a:cubicBezTo>
                  <a:cubicBezTo>
                    <a:pt x="732" y="764"/>
                    <a:pt x="710" y="726"/>
                    <a:pt x="725" y="703"/>
                  </a:cubicBezTo>
                  <a:cubicBezTo>
                    <a:pt x="732" y="688"/>
                    <a:pt x="763" y="657"/>
                    <a:pt x="740" y="634"/>
                  </a:cubicBezTo>
                  <a:cubicBezTo>
                    <a:pt x="710" y="642"/>
                    <a:pt x="710" y="642"/>
                    <a:pt x="710" y="642"/>
                  </a:cubicBezTo>
                  <a:close/>
                  <a:moveTo>
                    <a:pt x="832" y="741"/>
                  </a:moveTo>
                  <a:lnTo>
                    <a:pt x="832" y="741"/>
                  </a:lnTo>
                  <a:cubicBezTo>
                    <a:pt x="832" y="734"/>
                    <a:pt x="824" y="719"/>
                    <a:pt x="824" y="711"/>
                  </a:cubicBezTo>
                  <a:cubicBezTo>
                    <a:pt x="817" y="703"/>
                    <a:pt x="824" y="696"/>
                    <a:pt x="817" y="688"/>
                  </a:cubicBezTo>
                  <a:cubicBezTo>
                    <a:pt x="809" y="680"/>
                    <a:pt x="794" y="673"/>
                    <a:pt x="778" y="680"/>
                  </a:cubicBezTo>
                  <a:cubicBezTo>
                    <a:pt x="771" y="688"/>
                    <a:pt x="763" y="711"/>
                    <a:pt x="771" y="719"/>
                  </a:cubicBezTo>
                  <a:cubicBezTo>
                    <a:pt x="771" y="734"/>
                    <a:pt x="778" y="741"/>
                    <a:pt x="786" y="749"/>
                  </a:cubicBezTo>
                  <a:cubicBezTo>
                    <a:pt x="786" y="764"/>
                    <a:pt x="794" y="780"/>
                    <a:pt x="794" y="787"/>
                  </a:cubicBezTo>
                  <a:cubicBezTo>
                    <a:pt x="794" y="795"/>
                    <a:pt x="794" y="802"/>
                    <a:pt x="801" y="802"/>
                  </a:cubicBezTo>
                  <a:cubicBezTo>
                    <a:pt x="809" y="802"/>
                    <a:pt x="824" y="787"/>
                    <a:pt x="824" y="780"/>
                  </a:cubicBezTo>
                  <a:cubicBezTo>
                    <a:pt x="832" y="741"/>
                    <a:pt x="832" y="741"/>
                    <a:pt x="832" y="741"/>
                  </a:cubicBezTo>
                  <a:close/>
                  <a:moveTo>
                    <a:pt x="1069" y="657"/>
                  </a:moveTo>
                  <a:lnTo>
                    <a:pt x="1069" y="657"/>
                  </a:lnTo>
                  <a:cubicBezTo>
                    <a:pt x="1053" y="611"/>
                    <a:pt x="1076" y="581"/>
                    <a:pt x="1084" y="543"/>
                  </a:cubicBezTo>
                  <a:cubicBezTo>
                    <a:pt x="1092" y="520"/>
                    <a:pt x="1107" y="520"/>
                    <a:pt x="1084" y="505"/>
                  </a:cubicBezTo>
                  <a:cubicBezTo>
                    <a:pt x="1076" y="489"/>
                    <a:pt x="1061" y="466"/>
                    <a:pt x="1061" y="451"/>
                  </a:cubicBezTo>
                  <a:cubicBezTo>
                    <a:pt x="1023" y="451"/>
                    <a:pt x="1038" y="535"/>
                    <a:pt x="1038" y="558"/>
                  </a:cubicBezTo>
                  <a:cubicBezTo>
                    <a:pt x="1030" y="573"/>
                    <a:pt x="1023" y="627"/>
                    <a:pt x="1023" y="634"/>
                  </a:cubicBezTo>
                  <a:cubicBezTo>
                    <a:pt x="1007" y="650"/>
                    <a:pt x="977" y="634"/>
                    <a:pt x="969" y="619"/>
                  </a:cubicBezTo>
                  <a:cubicBezTo>
                    <a:pt x="954" y="596"/>
                    <a:pt x="962" y="634"/>
                    <a:pt x="962" y="642"/>
                  </a:cubicBezTo>
                  <a:cubicBezTo>
                    <a:pt x="969" y="665"/>
                    <a:pt x="984" y="680"/>
                    <a:pt x="992" y="696"/>
                  </a:cubicBezTo>
                  <a:cubicBezTo>
                    <a:pt x="1000" y="711"/>
                    <a:pt x="1000" y="741"/>
                    <a:pt x="1000" y="757"/>
                  </a:cubicBezTo>
                  <a:cubicBezTo>
                    <a:pt x="1023" y="757"/>
                    <a:pt x="1046" y="764"/>
                    <a:pt x="1069" y="764"/>
                  </a:cubicBezTo>
                  <a:cubicBezTo>
                    <a:pt x="1069" y="734"/>
                    <a:pt x="1061" y="711"/>
                    <a:pt x="1061" y="680"/>
                  </a:cubicBezTo>
                  <a:cubicBezTo>
                    <a:pt x="1069" y="657"/>
                    <a:pt x="1069" y="657"/>
                    <a:pt x="1069" y="657"/>
                  </a:cubicBezTo>
                  <a:close/>
                  <a:moveTo>
                    <a:pt x="809" y="275"/>
                  </a:moveTo>
                  <a:lnTo>
                    <a:pt x="809" y="275"/>
                  </a:lnTo>
                  <a:cubicBezTo>
                    <a:pt x="786" y="260"/>
                    <a:pt x="732" y="237"/>
                    <a:pt x="717" y="214"/>
                  </a:cubicBezTo>
                  <a:cubicBezTo>
                    <a:pt x="710" y="207"/>
                    <a:pt x="732" y="199"/>
                    <a:pt x="740" y="184"/>
                  </a:cubicBezTo>
                  <a:cubicBezTo>
                    <a:pt x="740" y="169"/>
                    <a:pt x="740" y="146"/>
                    <a:pt x="740" y="130"/>
                  </a:cubicBezTo>
                  <a:cubicBezTo>
                    <a:pt x="725" y="130"/>
                    <a:pt x="694" y="184"/>
                    <a:pt x="679" y="191"/>
                  </a:cubicBezTo>
                  <a:cubicBezTo>
                    <a:pt x="641" y="207"/>
                    <a:pt x="618" y="184"/>
                    <a:pt x="580" y="184"/>
                  </a:cubicBezTo>
                  <a:cubicBezTo>
                    <a:pt x="580" y="199"/>
                    <a:pt x="625" y="230"/>
                    <a:pt x="625" y="252"/>
                  </a:cubicBezTo>
                  <a:cubicBezTo>
                    <a:pt x="641" y="298"/>
                    <a:pt x="610" y="321"/>
                    <a:pt x="656" y="352"/>
                  </a:cubicBezTo>
                  <a:cubicBezTo>
                    <a:pt x="687" y="367"/>
                    <a:pt x="710" y="428"/>
                    <a:pt x="717" y="375"/>
                  </a:cubicBezTo>
                  <a:cubicBezTo>
                    <a:pt x="732" y="306"/>
                    <a:pt x="786" y="329"/>
                    <a:pt x="824" y="359"/>
                  </a:cubicBezTo>
                  <a:cubicBezTo>
                    <a:pt x="862" y="390"/>
                    <a:pt x="855" y="428"/>
                    <a:pt x="870" y="474"/>
                  </a:cubicBezTo>
                  <a:cubicBezTo>
                    <a:pt x="878" y="474"/>
                    <a:pt x="885" y="436"/>
                    <a:pt x="893" y="428"/>
                  </a:cubicBezTo>
                  <a:cubicBezTo>
                    <a:pt x="908" y="413"/>
                    <a:pt x="939" y="390"/>
                    <a:pt x="900" y="367"/>
                  </a:cubicBezTo>
                  <a:cubicBezTo>
                    <a:pt x="878" y="352"/>
                    <a:pt x="855" y="321"/>
                    <a:pt x="847" y="291"/>
                  </a:cubicBezTo>
                  <a:cubicBezTo>
                    <a:pt x="809" y="275"/>
                    <a:pt x="809" y="275"/>
                    <a:pt x="809" y="275"/>
                  </a:cubicBezTo>
                  <a:close/>
                  <a:moveTo>
                    <a:pt x="878" y="153"/>
                  </a:moveTo>
                  <a:lnTo>
                    <a:pt x="878" y="153"/>
                  </a:lnTo>
                  <a:cubicBezTo>
                    <a:pt x="870" y="184"/>
                    <a:pt x="870" y="184"/>
                    <a:pt x="870" y="184"/>
                  </a:cubicBezTo>
                  <a:cubicBezTo>
                    <a:pt x="839" y="230"/>
                    <a:pt x="847" y="138"/>
                    <a:pt x="817" y="130"/>
                  </a:cubicBezTo>
                  <a:cubicBezTo>
                    <a:pt x="817" y="123"/>
                    <a:pt x="809" y="115"/>
                    <a:pt x="817" y="107"/>
                  </a:cubicBezTo>
                  <a:cubicBezTo>
                    <a:pt x="824" y="92"/>
                    <a:pt x="832" y="85"/>
                    <a:pt x="839" y="77"/>
                  </a:cubicBezTo>
                  <a:cubicBezTo>
                    <a:pt x="847" y="62"/>
                    <a:pt x="855" y="31"/>
                    <a:pt x="878" y="31"/>
                  </a:cubicBezTo>
                  <a:lnTo>
                    <a:pt x="878" y="31"/>
                  </a:lnTo>
                  <a:cubicBezTo>
                    <a:pt x="885" y="54"/>
                    <a:pt x="885" y="69"/>
                    <a:pt x="870" y="85"/>
                  </a:cubicBezTo>
                  <a:cubicBezTo>
                    <a:pt x="862" y="100"/>
                    <a:pt x="862" y="138"/>
                    <a:pt x="878" y="153"/>
                  </a:cubicBezTo>
                  <a:close/>
                  <a:moveTo>
                    <a:pt x="1580" y="260"/>
                  </a:moveTo>
                  <a:lnTo>
                    <a:pt x="1580" y="260"/>
                  </a:lnTo>
                  <a:cubicBezTo>
                    <a:pt x="1527" y="275"/>
                    <a:pt x="1450" y="405"/>
                    <a:pt x="1397" y="405"/>
                  </a:cubicBezTo>
                  <a:cubicBezTo>
                    <a:pt x="1290" y="405"/>
                    <a:pt x="1397" y="344"/>
                    <a:pt x="1397" y="283"/>
                  </a:cubicBezTo>
                  <a:cubicBezTo>
                    <a:pt x="1374" y="291"/>
                    <a:pt x="1367" y="314"/>
                    <a:pt x="1328" y="314"/>
                  </a:cubicBezTo>
                  <a:cubicBezTo>
                    <a:pt x="1313" y="314"/>
                    <a:pt x="1328" y="344"/>
                    <a:pt x="1328" y="359"/>
                  </a:cubicBezTo>
                  <a:cubicBezTo>
                    <a:pt x="1321" y="390"/>
                    <a:pt x="1305" y="390"/>
                    <a:pt x="1282" y="398"/>
                  </a:cubicBezTo>
                  <a:cubicBezTo>
                    <a:pt x="1236" y="421"/>
                    <a:pt x="1229" y="451"/>
                    <a:pt x="1214" y="482"/>
                  </a:cubicBezTo>
                  <a:cubicBezTo>
                    <a:pt x="1206" y="512"/>
                    <a:pt x="1160" y="520"/>
                    <a:pt x="1160" y="535"/>
                  </a:cubicBezTo>
                  <a:cubicBezTo>
                    <a:pt x="1160" y="550"/>
                    <a:pt x="1160" y="627"/>
                    <a:pt x="1175" y="604"/>
                  </a:cubicBezTo>
                  <a:cubicBezTo>
                    <a:pt x="1191" y="566"/>
                    <a:pt x="1244" y="466"/>
                    <a:pt x="1298" y="482"/>
                  </a:cubicBezTo>
                  <a:cubicBezTo>
                    <a:pt x="1321" y="489"/>
                    <a:pt x="1328" y="474"/>
                    <a:pt x="1344" y="466"/>
                  </a:cubicBezTo>
                  <a:cubicBezTo>
                    <a:pt x="1382" y="444"/>
                    <a:pt x="1389" y="497"/>
                    <a:pt x="1420" y="444"/>
                  </a:cubicBezTo>
                  <a:cubicBezTo>
                    <a:pt x="1443" y="413"/>
                    <a:pt x="1450" y="413"/>
                    <a:pt x="1481" y="398"/>
                  </a:cubicBezTo>
                  <a:cubicBezTo>
                    <a:pt x="1519" y="375"/>
                    <a:pt x="1519" y="344"/>
                    <a:pt x="1565" y="344"/>
                  </a:cubicBezTo>
                  <a:cubicBezTo>
                    <a:pt x="1641" y="344"/>
                    <a:pt x="1603" y="337"/>
                    <a:pt x="1588" y="291"/>
                  </a:cubicBezTo>
                  <a:cubicBezTo>
                    <a:pt x="1580" y="260"/>
                    <a:pt x="1580" y="260"/>
                    <a:pt x="1580" y="260"/>
                  </a:cubicBezTo>
                  <a:close/>
                  <a:moveTo>
                    <a:pt x="1557" y="77"/>
                  </a:moveTo>
                  <a:lnTo>
                    <a:pt x="1557" y="77"/>
                  </a:lnTo>
                  <a:cubicBezTo>
                    <a:pt x="1565" y="77"/>
                    <a:pt x="1565" y="69"/>
                    <a:pt x="1565" y="62"/>
                  </a:cubicBezTo>
                  <a:cubicBezTo>
                    <a:pt x="1573" y="54"/>
                    <a:pt x="1573" y="16"/>
                    <a:pt x="1588" y="16"/>
                  </a:cubicBezTo>
                  <a:cubicBezTo>
                    <a:pt x="1603" y="16"/>
                    <a:pt x="1611" y="16"/>
                    <a:pt x="1626" y="8"/>
                  </a:cubicBezTo>
                  <a:cubicBezTo>
                    <a:pt x="1626" y="8"/>
                    <a:pt x="1649" y="0"/>
                    <a:pt x="1649" y="8"/>
                  </a:cubicBezTo>
                  <a:cubicBezTo>
                    <a:pt x="1649" y="8"/>
                    <a:pt x="1641" y="16"/>
                    <a:pt x="1634" y="23"/>
                  </a:cubicBezTo>
                  <a:cubicBezTo>
                    <a:pt x="1626" y="31"/>
                    <a:pt x="1611" y="39"/>
                    <a:pt x="1611" y="46"/>
                  </a:cubicBezTo>
                  <a:cubicBezTo>
                    <a:pt x="1611" y="62"/>
                    <a:pt x="1634" y="85"/>
                    <a:pt x="1619" y="100"/>
                  </a:cubicBezTo>
                  <a:cubicBezTo>
                    <a:pt x="1603" y="123"/>
                    <a:pt x="1588" y="92"/>
                    <a:pt x="1565" y="100"/>
                  </a:cubicBezTo>
                  <a:lnTo>
                    <a:pt x="1557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5" name="Freeform 197"/>
            <p:cNvSpPr>
              <a:spLocks noChangeArrowheads="1"/>
            </p:cNvSpPr>
            <p:nvPr/>
          </p:nvSpPr>
          <p:spPr bwMode="auto">
            <a:xfrm>
              <a:off x="8000479" y="1116013"/>
              <a:ext cx="773063" cy="1122362"/>
            </a:xfrm>
            <a:custGeom>
              <a:avLst/>
              <a:gdLst>
                <a:gd name="T0" fmla="*/ 8 w 2147"/>
                <a:gd name="T1" fmla="*/ 2260 h 3117"/>
                <a:gd name="T2" fmla="*/ 107 w 2147"/>
                <a:gd name="T3" fmla="*/ 2306 h 3117"/>
                <a:gd name="T4" fmla="*/ 1971 w 2147"/>
                <a:gd name="T5" fmla="*/ 442 h 3117"/>
                <a:gd name="T6" fmla="*/ 2055 w 2147"/>
                <a:gd name="T7" fmla="*/ 259 h 3117"/>
                <a:gd name="T8" fmla="*/ 2100 w 2147"/>
                <a:gd name="T9" fmla="*/ 61 h 3117"/>
                <a:gd name="T10" fmla="*/ 1948 w 2147"/>
                <a:gd name="T11" fmla="*/ 7 h 3117"/>
                <a:gd name="T12" fmla="*/ 1856 w 2147"/>
                <a:gd name="T13" fmla="*/ 267 h 3117"/>
                <a:gd name="T14" fmla="*/ 1803 w 2147"/>
                <a:gd name="T15" fmla="*/ 504 h 3117"/>
                <a:gd name="T16" fmla="*/ 2017 w 2147"/>
                <a:gd name="T17" fmla="*/ 511 h 3117"/>
                <a:gd name="T18" fmla="*/ 1742 w 2147"/>
                <a:gd name="T19" fmla="*/ 909 h 3117"/>
                <a:gd name="T20" fmla="*/ 1665 w 2147"/>
                <a:gd name="T21" fmla="*/ 1138 h 3117"/>
                <a:gd name="T22" fmla="*/ 1489 w 2147"/>
                <a:gd name="T23" fmla="*/ 1031 h 3117"/>
                <a:gd name="T24" fmla="*/ 1497 w 2147"/>
                <a:gd name="T25" fmla="*/ 626 h 3117"/>
                <a:gd name="T26" fmla="*/ 1688 w 2147"/>
                <a:gd name="T27" fmla="*/ 366 h 3117"/>
                <a:gd name="T28" fmla="*/ 1719 w 2147"/>
                <a:gd name="T29" fmla="*/ 649 h 3117"/>
                <a:gd name="T30" fmla="*/ 1726 w 2147"/>
                <a:gd name="T31" fmla="*/ 748 h 3117"/>
                <a:gd name="T32" fmla="*/ 1902 w 2147"/>
                <a:gd name="T33" fmla="*/ 870 h 3117"/>
                <a:gd name="T34" fmla="*/ 1887 w 2147"/>
                <a:gd name="T35" fmla="*/ 702 h 3117"/>
                <a:gd name="T36" fmla="*/ 2062 w 2147"/>
                <a:gd name="T37" fmla="*/ 786 h 3117"/>
                <a:gd name="T38" fmla="*/ 2093 w 2147"/>
                <a:gd name="T39" fmla="*/ 855 h 3117"/>
                <a:gd name="T40" fmla="*/ 1978 w 2147"/>
                <a:gd name="T41" fmla="*/ 878 h 3117"/>
                <a:gd name="T42" fmla="*/ 932 w 2147"/>
                <a:gd name="T43" fmla="*/ 1168 h 3117"/>
                <a:gd name="T44" fmla="*/ 1054 w 2147"/>
                <a:gd name="T45" fmla="*/ 1260 h 3117"/>
                <a:gd name="T46" fmla="*/ 1100 w 2147"/>
                <a:gd name="T47" fmla="*/ 1474 h 3117"/>
                <a:gd name="T48" fmla="*/ 1153 w 2147"/>
                <a:gd name="T49" fmla="*/ 1405 h 3117"/>
                <a:gd name="T50" fmla="*/ 1230 w 2147"/>
                <a:gd name="T51" fmla="*/ 1145 h 3117"/>
                <a:gd name="T52" fmla="*/ 1253 w 2147"/>
                <a:gd name="T53" fmla="*/ 824 h 3117"/>
                <a:gd name="T54" fmla="*/ 1123 w 2147"/>
                <a:gd name="T55" fmla="*/ 748 h 3117"/>
                <a:gd name="T56" fmla="*/ 1046 w 2147"/>
                <a:gd name="T57" fmla="*/ 1084 h 3117"/>
                <a:gd name="T58" fmla="*/ 856 w 2147"/>
                <a:gd name="T59" fmla="*/ 1092 h 3117"/>
                <a:gd name="T60" fmla="*/ 856 w 2147"/>
                <a:gd name="T61" fmla="*/ 1153 h 3117"/>
                <a:gd name="T62" fmla="*/ 1436 w 2147"/>
                <a:gd name="T63" fmla="*/ 2719 h 3117"/>
                <a:gd name="T64" fmla="*/ 1436 w 2147"/>
                <a:gd name="T65" fmla="*/ 2482 h 3117"/>
                <a:gd name="T66" fmla="*/ 1505 w 2147"/>
                <a:gd name="T67" fmla="*/ 2222 h 3117"/>
                <a:gd name="T68" fmla="*/ 1428 w 2147"/>
                <a:gd name="T69" fmla="*/ 1985 h 3117"/>
                <a:gd name="T70" fmla="*/ 1535 w 2147"/>
                <a:gd name="T71" fmla="*/ 1901 h 3117"/>
                <a:gd name="T72" fmla="*/ 1619 w 2147"/>
                <a:gd name="T73" fmla="*/ 1680 h 3117"/>
                <a:gd name="T74" fmla="*/ 1627 w 2147"/>
                <a:gd name="T75" fmla="*/ 1565 h 3117"/>
                <a:gd name="T76" fmla="*/ 1680 w 2147"/>
                <a:gd name="T77" fmla="*/ 1275 h 3117"/>
                <a:gd name="T78" fmla="*/ 1428 w 2147"/>
                <a:gd name="T79" fmla="*/ 1328 h 3117"/>
                <a:gd name="T80" fmla="*/ 1329 w 2147"/>
                <a:gd name="T81" fmla="*/ 1168 h 3117"/>
                <a:gd name="T82" fmla="*/ 1245 w 2147"/>
                <a:gd name="T83" fmla="*/ 1527 h 3117"/>
                <a:gd name="T84" fmla="*/ 1023 w 2147"/>
                <a:gd name="T85" fmla="*/ 1703 h 3117"/>
                <a:gd name="T86" fmla="*/ 672 w 2147"/>
                <a:gd name="T87" fmla="*/ 1787 h 3117"/>
                <a:gd name="T88" fmla="*/ 856 w 2147"/>
                <a:gd name="T89" fmla="*/ 2039 h 3117"/>
                <a:gd name="T90" fmla="*/ 901 w 2147"/>
                <a:gd name="T91" fmla="*/ 2054 h 3117"/>
                <a:gd name="T92" fmla="*/ 1046 w 2147"/>
                <a:gd name="T93" fmla="*/ 2222 h 3117"/>
                <a:gd name="T94" fmla="*/ 1138 w 2147"/>
                <a:gd name="T95" fmla="*/ 2085 h 3117"/>
                <a:gd name="T96" fmla="*/ 1306 w 2147"/>
                <a:gd name="T97" fmla="*/ 2123 h 3117"/>
                <a:gd name="T98" fmla="*/ 1298 w 2147"/>
                <a:gd name="T99" fmla="*/ 2482 h 3117"/>
                <a:gd name="T100" fmla="*/ 1199 w 2147"/>
                <a:gd name="T101" fmla="*/ 2864 h 3117"/>
                <a:gd name="T102" fmla="*/ 1291 w 2147"/>
                <a:gd name="T103" fmla="*/ 3085 h 3117"/>
                <a:gd name="T104" fmla="*/ 1329 w 2147"/>
                <a:gd name="T105" fmla="*/ 2910 h 3117"/>
                <a:gd name="T106" fmla="*/ 1581 w 2147"/>
                <a:gd name="T107" fmla="*/ 2245 h 3117"/>
                <a:gd name="T108" fmla="*/ 1612 w 2147"/>
                <a:gd name="T109" fmla="*/ 2146 h 3117"/>
                <a:gd name="T110" fmla="*/ 1749 w 2147"/>
                <a:gd name="T111" fmla="*/ 2237 h 3117"/>
                <a:gd name="T112" fmla="*/ 1612 w 2147"/>
                <a:gd name="T113" fmla="*/ 2345 h 3117"/>
                <a:gd name="T114" fmla="*/ 1787 w 2147"/>
                <a:gd name="T115" fmla="*/ 1649 h 3117"/>
                <a:gd name="T116" fmla="*/ 1764 w 2147"/>
                <a:gd name="T117" fmla="*/ 1542 h 3117"/>
                <a:gd name="T118" fmla="*/ 1879 w 2147"/>
                <a:gd name="T119" fmla="*/ 1481 h 3117"/>
                <a:gd name="T120" fmla="*/ 1787 w 2147"/>
                <a:gd name="T121" fmla="*/ 1649 h 3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47" h="3117">
                  <a:moveTo>
                    <a:pt x="53" y="2329"/>
                  </a:moveTo>
                  <a:lnTo>
                    <a:pt x="53" y="2329"/>
                  </a:lnTo>
                  <a:cubicBezTo>
                    <a:pt x="53" y="2314"/>
                    <a:pt x="38" y="2299"/>
                    <a:pt x="31" y="2291"/>
                  </a:cubicBezTo>
                  <a:cubicBezTo>
                    <a:pt x="23" y="2283"/>
                    <a:pt x="0" y="2276"/>
                    <a:pt x="8" y="2260"/>
                  </a:cubicBezTo>
                  <a:cubicBezTo>
                    <a:pt x="15" y="2253"/>
                    <a:pt x="23" y="2245"/>
                    <a:pt x="31" y="2237"/>
                  </a:cubicBezTo>
                  <a:cubicBezTo>
                    <a:pt x="38" y="2222"/>
                    <a:pt x="38" y="2222"/>
                    <a:pt x="46" y="2214"/>
                  </a:cubicBezTo>
                  <a:cubicBezTo>
                    <a:pt x="61" y="2199"/>
                    <a:pt x="84" y="2207"/>
                    <a:pt x="92" y="2222"/>
                  </a:cubicBezTo>
                  <a:cubicBezTo>
                    <a:pt x="114" y="2253"/>
                    <a:pt x="107" y="2276"/>
                    <a:pt x="107" y="2306"/>
                  </a:cubicBezTo>
                  <a:cubicBezTo>
                    <a:pt x="107" y="2322"/>
                    <a:pt x="107" y="2329"/>
                    <a:pt x="107" y="2337"/>
                  </a:cubicBezTo>
                  <a:cubicBezTo>
                    <a:pt x="107" y="2360"/>
                    <a:pt x="76" y="2345"/>
                    <a:pt x="69" y="2345"/>
                  </a:cubicBezTo>
                  <a:cubicBezTo>
                    <a:pt x="53" y="2329"/>
                    <a:pt x="53" y="2329"/>
                    <a:pt x="53" y="2329"/>
                  </a:cubicBezTo>
                  <a:close/>
                  <a:moveTo>
                    <a:pt x="1971" y="442"/>
                  </a:moveTo>
                  <a:lnTo>
                    <a:pt x="1971" y="442"/>
                  </a:lnTo>
                  <a:cubicBezTo>
                    <a:pt x="1986" y="397"/>
                    <a:pt x="2032" y="374"/>
                    <a:pt x="2055" y="336"/>
                  </a:cubicBezTo>
                  <a:cubicBezTo>
                    <a:pt x="2078" y="282"/>
                    <a:pt x="1986" y="290"/>
                    <a:pt x="1994" y="282"/>
                  </a:cubicBezTo>
                  <a:cubicBezTo>
                    <a:pt x="2001" y="274"/>
                    <a:pt x="2039" y="267"/>
                    <a:pt x="2055" y="259"/>
                  </a:cubicBezTo>
                  <a:cubicBezTo>
                    <a:pt x="2085" y="252"/>
                    <a:pt x="2047" y="206"/>
                    <a:pt x="2032" y="198"/>
                  </a:cubicBezTo>
                  <a:cubicBezTo>
                    <a:pt x="2032" y="190"/>
                    <a:pt x="2146" y="221"/>
                    <a:pt x="2100" y="145"/>
                  </a:cubicBezTo>
                  <a:cubicBezTo>
                    <a:pt x="2093" y="122"/>
                    <a:pt x="2039" y="106"/>
                    <a:pt x="2100" y="91"/>
                  </a:cubicBezTo>
                  <a:cubicBezTo>
                    <a:pt x="2139" y="91"/>
                    <a:pt x="2131" y="76"/>
                    <a:pt x="2100" y="61"/>
                  </a:cubicBezTo>
                  <a:cubicBezTo>
                    <a:pt x="2024" y="22"/>
                    <a:pt x="2024" y="22"/>
                    <a:pt x="2024" y="22"/>
                  </a:cubicBezTo>
                  <a:cubicBezTo>
                    <a:pt x="1986" y="7"/>
                    <a:pt x="1986" y="114"/>
                    <a:pt x="1963" y="122"/>
                  </a:cubicBezTo>
                  <a:cubicBezTo>
                    <a:pt x="1963" y="99"/>
                    <a:pt x="1963" y="76"/>
                    <a:pt x="1963" y="61"/>
                  </a:cubicBezTo>
                  <a:cubicBezTo>
                    <a:pt x="1963" y="53"/>
                    <a:pt x="1963" y="0"/>
                    <a:pt x="1948" y="7"/>
                  </a:cubicBezTo>
                  <a:cubicBezTo>
                    <a:pt x="1925" y="15"/>
                    <a:pt x="1902" y="68"/>
                    <a:pt x="1894" y="91"/>
                  </a:cubicBezTo>
                  <a:cubicBezTo>
                    <a:pt x="1879" y="114"/>
                    <a:pt x="1841" y="152"/>
                    <a:pt x="1841" y="167"/>
                  </a:cubicBezTo>
                  <a:cubicBezTo>
                    <a:pt x="1841" y="175"/>
                    <a:pt x="1856" y="198"/>
                    <a:pt x="1856" y="213"/>
                  </a:cubicBezTo>
                  <a:cubicBezTo>
                    <a:pt x="1864" y="229"/>
                    <a:pt x="1864" y="252"/>
                    <a:pt x="1856" y="267"/>
                  </a:cubicBezTo>
                  <a:cubicBezTo>
                    <a:pt x="1856" y="320"/>
                    <a:pt x="1810" y="351"/>
                    <a:pt x="1825" y="404"/>
                  </a:cubicBezTo>
                  <a:cubicBezTo>
                    <a:pt x="1833" y="427"/>
                    <a:pt x="1803" y="404"/>
                    <a:pt x="1810" y="427"/>
                  </a:cubicBezTo>
                  <a:cubicBezTo>
                    <a:pt x="1810" y="442"/>
                    <a:pt x="1818" y="458"/>
                    <a:pt x="1810" y="473"/>
                  </a:cubicBezTo>
                  <a:cubicBezTo>
                    <a:pt x="1803" y="488"/>
                    <a:pt x="1795" y="488"/>
                    <a:pt x="1803" y="504"/>
                  </a:cubicBezTo>
                  <a:cubicBezTo>
                    <a:pt x="1818" y="542"/>
                    <a:pt x="1825" y="542"/>
                    <a:pt x="1864" y="519"/>
                  </a:cubicBezTo>
                  <a:cubicBezTo>
                    <a:pt x="1879" y="511"/>
                    <a:pt x="1902" y="511"/>
                    <a:pt x="1925" y="519"/>
                  </a:cubicBezTo>
                  <a:cubicBezTo>
                    <a:pt x="1932" y="526"/>
                    <a:pt x="1948" y="534"/>
                    <a:pt x="1955" y="534"/>
                  </a:cubicBezTo>
                  <a:cubicBezTo>
                    <a:pt x="1971" y="534"/>
                    <a:pt x="2009" y="526"/>
                    <a:pt x="2017" y="511"/>
                  </a:cubicBezTo>
                  <a:cubicBezTo>
                    <a:pt x="2024" y="504"/>
                    <a:pt x="1971" y="481"/>
                    <a:pt x="1971" y="465"/>
                  </a:cubicBezTo>
                  <a:cubicBezTo>
                    <a:pt x="1971" y="442"/>
                    <a:pt x="1971" y="442"/>
                    <a:pt x="1971" y="442"/>
                  </a:cubicBezTo>
                  <a:close/>
                  <a:moveTo>
                    <a:pt x="1742" y="909"/>
                  </a:moveTo>
                  <a:lnTo>
                    <a:pt x="1742" y="909"/>
                  </a:lnTo>
                  <a:cubicBezTo>
                    <a:pt x="1742" y="924"/>
                    <a:pt x="1742" y="924"/>
                    <a:pt x="1742" y="924"/>
                  </a:cubicBezTo>
                  <a:cubicBezTo>
                    <a:pt x="1742" y="947"/>
                    <a:pt x="1719" y="962"/>
                    <a:pt x="1696" y="970"/>
                  </a:cubicBezTo>
                  <a:cubicBezTo>
                    <a:pt x="1680" y="985"/>
                    <a:pt x="1711" y="1023"/>
                    <a:pt x="1719" y="1038"/>
                  </a:cubicBezTo>
                  <a:cubicBezTo>
                    <a:pt x="1734" y="1069"/>
                    <a:pt x="1711" y="1138"/>
                    <a:pt x="1665" y="1138"/>
                  </a:cubicBezTo>
                  <a:cubicBezTo>
                    <a:pt x="1650" y="1138"/>
                    <a:pt x="1604" y="1115"/>
                    <a:pt x="1596" y="1122"/>
                  </a:cubicBezTo>
                  <a:cubicBezTo>
                    <a:pt x="1581" y="1130"/>
                    <a:pt x="1604" y="1145"/>
                    <a:pt x="1596" y="1161"/>
                  </a:cubicBezTo>
                  <a:lnTo>
                    <a:pt x="1596" y="1161"/>
                  </a:lnTo>
                  <a:cubicBezTo>
                    <a:pt x="1535" y="1122"/>
                    <a:pt x="1497" y="1115"/>
                    <a:pt x="1489" y="1031"/>
                  </a:cubicBezTo>
                  <a:cubicBezTo>
                    <a:pt x="1489" y="1015"/>
                    <a:pt x="1474" y="1000"/>
                    <a:pt x="1474" y="977"/>
                  </a:cubicBezTo>
                  <a:cubicBezTo>
                    <a:pt x="1467" y="954"/>
                    <a:pt x="1467" y="924"/>
                    <a:pt x="1467" y="893"/>
                  </a:cubicBezTo>
                  <a:cubicBezTo>
                    <a:pt x="1467" y="832"/>
                    <a:pt x="1428" y="817"/>
                    <a:pt x="1444" y="748"/>
                  </a:cubicBezTo>
                  <a:cubicBezTo>
                    <a:pt x="1459" y="710"/>
                    <a:pt x="1489" y="664"/>
                    <a:pt x="1497" y="626"/>
                  </a:cubicBezTo>
                  <a:cubicBezTo>
                    <a:pt x="1505" y="588"/>
                    <a:pt x="1535" y="618"/>
                    <a:pt x="1543" y="595"/>
                  </a:cubicBezTo>
                  <a:cubicBezTo>
                    <a:pt x="1558" y="557"/>
                    <a:pt x="1550" y="504"/>
                    <a:pt x="1558" y="465"/>
                  </a:cubicBezTo>
                  <a:cubicBezTo>
                    <a:pt x="1581" y="404"/>
                    <a:pt x="1558" y="366"/>
                    <a:pt x="1635" y="381"/>
                  </a:cubicBezTo>
                  <a:cubicBezTo>
                    <a:pt x="1658" y="381"/>
                    <a:pt x="1673" y="366"/>
                    <a:pt x="1688" y="366"/>
                  </a:cubicBezTo>
                  <a:cubicBezTo>
                    <a:pt x="1787" y="389"/>
                    <a:pt x="1734" y="465"/>
                    <a:pt x="1764" y="526"/>
                  </a:cubicBezTo>
                  <a:cubicBezTo>
                    <a:pt x="1772" y="549"/>
                    <a:pt x="1772" y="572"/>
                    <a:pt x="1772" y="595"/>
                  </a:cubicBezTo>
                  <a:cubicBezTo>
                    <a:pt x="1772" y="618"/>
                    <a:pt x="1772" y="641"/>
                    <a:pt x="1780" y="656"/>
                  </a:cubicBezTo>
                  <a:cubicBezTo>
                    <a:pt x="1795" y="695"/>
                    <a:pt x="1734" y="664"/>
                    <a:pt x="1719" y="649"/>
                  </a:cubicBezTo>
                  <a:cubicBezTo>
                    <a:pt x="1703" y="641"/>
                    <a:pt x="1688" y="595"/>
                    <a:pt x="1673" y="595"/>
                  </a:cubicBezTo>
                  <a:cubicBezTo>
                    <a:pt x="1665" y="595"/>
                    <a:pt x="1665" y="595"/>
                    <a:pt x="1665" y="595"/>
                  </a:cubicBezTo>
                  <a:cubicBezTo>
                    <a:pt x="1665" y="611"/>
                    <a:pt x="1703" y="687"/>
                    <a:pt x="1711" y="695"/>
                  </a:cubicBezTo>
                  <a:cubicBezTo>
                    <a:pt x="1726" y="710"/>
                    <a:pt x="1749" y="725"/>
                    <a:pt x="1726" y="748"/>
                  </a:cubicBezTo>
                  <a:cubicBezTo>
                    <a:pt x="1719" y="763"/>
                    <a:pt x="1688" y="763"/>
                    <a:pt x="1680" y="771"/>
                  </a:cubicBezTo>
                  <a:cubicBezTo>
                    <a:pt x="1665" y="786"/>
                    <a:pt x="1719" y="817"/>
                    <a:pt x="1734" y="824"/>
                  </a:cubicBezTo>
                  <a:cubicBezTo>
                    <a:pt x="1757" y="855"/>
                    <a:pt x="1757" y="878"/>
                    <a:pt x="1742" y="909"/>
                  </a:cubicBezTo>
                  <a:close/>
                  <a:moveTo>
                    <a:pt x="1902" y="870"/>
                  </a:moveTo>
                  <a:lnTo>
                    <a:pt x="1902" y="870"/>
                  </a:lnTo>
                  <a:cubicBezTo>
                    <a:pt x="1894" y="840"/>
                    <a:pt x="1879" y="817"/>
                    <a:pt x="1871" y="786"/>
                  </a:cubicBezTo>
                  <a:cubicBezTo>
                    <a:pt x="1871" y="771"/>
                    <a:pt x="1848" y="740"/>
                    <a:pt x="1848" y="733"/>
                  </a:cubicBezTo>
                  <a:cubicBezTo>
                    <a:pt x="1856" y="725"/>
                    <a:pt x="1879" y="702"/>
                    <a:pt x="1887" y="702"/>
                  </a:cubicBezTo>
                  <a:cubicBezTo>
                    <a:pt x="1917" y="702"/>
                    <a:pt x="1925" y="740"/>
                    <a:pt x="1955" y="695"/>
                  </a:cubicBezTo>
                  <a:cubicBezTo>
                    <a:pt x="1971" y="679"/>
                    <a:pt x="2017" y="695"/>
                    <a:pt x="2032" y="702"/>
                  </a:cubicBezTo>
                  <a:cubicBezTo>
                    <a:pt x="2032" y="717"/>
                    <a:pt x="2039" y="733"/>
                    <a:pt x="2039" y="748"/>
                  </a:cubicBezTo>
                  <a:cubicBezTo>
                    <a:pt x="2047" y="763"/>
                    <a:pt x="2062" y="771"/>
                    <a:pt x="2062" y="786"/>
                  </a:cubicBezTo>
                  <a:cubicBezTo>
                    <a:pt x="2070" y="786"/>
                    <a:pt x="2078" y="763"/>
                    <a:pt x="2093" y="756"/>
                  </a:cubicBezTo>
                  <a:cubicBezTo>
                    <a:pt x="2100" y="748"/>
                    <a:pt x="2116" y="740"/>
                    <a:pt x="2123" y="740"/>
                  </a:cubicBezTo>
                  <a:lnTo>
                    <a:pt x="2123" y="740"/>
                  </a:lnTo>
                  <a:cubicBezTo>
                    <a:pt x="2123" y="786"/>
                    <a:pt x="2093" y="817"/>
                    <a:pt x="2093" y="855"/>
                  </a:cubicBezTo>
                  <a:cubicBezTo>
                    <a:pt x="2093" y="916"/>
                    <a:pt x="2039" y="863"/>
                    <a:pt x="2024" y="840"/>
                  </a:cubicBezTo>
                  <a:cubicBezTo>
                    <a:pt x="2001" y="824"/>
                    <a:pt x="1994" y="832"/>
                    <a:pt x="1971" y="824"/>
                  </a:cubicBezTo>
                  <a:cubicBezTo>
                    <a:pt x="1948" y="809"/>
                    <a:pt x="1948" y="809"/>
                    <a:pt x="1948" y="809"/>
                  </a:cubicBezTo>
                  <a:cubicBezTo>
                    <a:pt x="1910" y="801"/>
                    <a:pt x="1978" y="870"/>
                    <a:pt x="1978" y="878"/>
                  </a:cubicBezTo>
                  <a:cubicBezTo>
                    <a:pt x="1986" y="893"/>
                    <a:pt x="1925" y="924"/>
                    <a:pt x="1910" y="886"/>
                  </a:cubicBezTo>
                  <a:cubicBezTo>
                    <a:pt x="1902" y="870"/>
                    <a:pt x="1902" y="870"/>
                    <a:pt x="1902" y="870"/>
                  </a:cubicBezTo>
                  <a:close/>
                  <a:moveTo>
                    <a:pt x="932" y="1168"/>
                  </a:moveTo>
                  <a:lnTo>
                    <a:pt x="932" y="1168"/>
                  </a:lnTo>
                  <a:cubicBezTo>
                    <a:pt x="1001" y="1168"/>
                    <a:pt x="970" y="1184"/>
                    <a:pt x="970" y="1229"/>
                  </a:cubicBezTo>
                  <a:cubicBezTo>
                    <a:pt x="970" y="1283"/>
                    <a:pt x="1008" y="1222"/>
                    <a:pt x="1016" y="1206"/>
                  </a:cubicBezTo>
                  <a:cubicBezTo>
                    <a:pt x="1016" y="1199"/>
                    <a:pt x="1023" y="1145"/>
                    <a:pt x="1031" y="1153"/>
                  </a:cubicBezTo>
                  <a:cubicBezTo>
                    <a:pt x="1031" y="1168"/>
                    <a:pt x="1046" y="1252"/>
                    <a:pt x="1054" y="1260"/>
                  </a:cubicBezTo>
                  <a:cubicBezTo>
                    <a:pt x="1077" y="1290"/>
                    <a:pt x="1031" y="1328"/>
                    <a:pt x="1062" y="1367"/>
                  </a:cubicBezTo>
                  <a:cubicBezTo>
                    <a:pt x="1085" y="1397"/>
                    <a:pt x="1092" y="1382"/>
                    <a:pt x="1123" y="1390"/>
                  </a:cubicBezTo>
                  <a:cubicBezTo>
                    <a:pt x="1123" y="1405"/>
                    <a:pt x="1108" y="1420"/>
                    <a:pt x="1108" y="1443"/>
                  </a:cubicBezTo>
                  <a:cubicBezTo>
                    <a:pt x="1115" y="1458"/>
                    <a:pt x="1123" y="1481"/>
                    <a:pt x="1100" y="1474"/>
                  </a:cubicBezTo>
                  <a:cubicBezTo>
                    <a:pt x="1054" y="1466"/>
                    <a:pt x="1031" y="1497"/>
                    <a:pt x="1039" y="1542"/>
                  </a:cubicBezTo>
                  <a:cubicBezTo>
                    <a:pt x="1039" y="1611"/>
                    <a:pt x="1161" y="1619"/>
                    <a:pt x="1161" y="1550"/>
                  </a:cubicBezTo>
                  <a:cubicBezTo>
                    <a:pt x="1161" y="1520"/>
                    <a:pt x="1184" y="1458"/>
                    <a:pt x="1161" y="1443"/>
                  </a:cubicBezTo>
                  <a:cubicBezTo>
                    <a:pt x="1161" y="1436"/>
                    <a:pt x="1146" y="1413"/>
                    <a:pt x="1153" y="1405"/>
                  </a:cubicBezTo>
                  <a:cubicBezTo>
                    <a:pt x="1169" y="1397"/>
                    <a:pt x="1184" y="1390"/>
                    <a:pt x="1192" y="1374"/>
                  </a:cubicBezTo>
                  <a:cubicBezTo>
                    <a:pt x="1214" y="1344"/>
                    <a:pt x="1207" y="1290"/>
                    <a:pt x="1230" y="1252"/>
                  </a:cubicBezTo>
                  <a:cubicBezTo>
                    <a:pt x="1245" y="1222"/>
                    <a:pt x="1268" y="1222"/>
                    <a:pt x="1245" y="1184"/>
                  </a:cubicBezTo>
                  <a:cubicBezTo>
                    <a:pt x="1222" y="1168"/>
                    <a:pt x="1230" y="1168"/>
                    <a:pt x="1230" y="1145"/>
                  </a:cubicBezTo>
                  <a:cubicBezTo>
                    <a:pt x="1230" y="1122"/>
                    <a:pt x="1253" y="1061"/>
                    <a:pt x="1237" y="1046"/>
                  </a:cubicBezTo>
                  <a:cubicBezTo>
                    <a:pt x="1230" y="1031"/>
                    <a:pt x="1192" y="1008"/>
                    <a:pt x="1222" y="992"/>
                  </a:cubicBezTo>
                  <a:cubicBezTo>
                    <a:pt x="1268" y="962"/>
                    <a:pt x="1268" y="977"/>
                    <a:pt x="1268" y="924"/>
                  </a:cubicBezTo>
                  <a:cubicBezTo>
                    <a:pt x="1268" y="870"/>
                    <a:pt x="1199" y="847"/>
                    <a:pt x="1253" y="824"/>
                  </a:cubicBezTo>
                  <a:cubicBezTo>
                    <a:pt x="1283" y="817"/>
                    <a:pt x="1275" y="786"/>
                    <a:pt x="1283" y="763"/>
                  </a:cubicBezTo>
                  <a:cubicBezTo>
                    <a:pt x="1283" y="740"/>
                    <a:pt x="1291" y="679"/>
                    <a:pt x="1268" y="695"/>
                  </a:cubicBezTo>
                  <a:cubicBezTo>
                    <a:pt x="1199" y="725"/>
                    <a:pt x="1237" y="717"/>
                    <a:pt x="1230" y="771"/>
                  </a:cubicBezTo>
                  <a:cubicBezTo>
                    <a:pt x="1199" y="771"/>
                    <a:pt x="1153" y="748"/>
                    <a:pt x="1123" y="748"/>
                  </a:cubicBezTo>
                  <a:cubicBezTo>
                    <a:pt x="1108" y="740"/>
                    <a:pt x="1062" y="801"/>
                    <a:pt x="1069" y="817"/>
                  </a:cubicBezTo>
                  <a:cubicBezTo>
                    <a:pt x="1069" y="855"/>
                    <a:pt x="1077" y="855"/>
                    <a:pt x="1054" y="893"/>
                  </a:cubicBezTo>
                  <a:cubicBezTo>
                    <a:pt x="1031" y="909"/>
                    <a:pt x="993" y="947"/>
                    <a:pt x="993" y="970"/>
                  </a:cubicBezTo>
                  <a:cubicBezTo>
                    <a:pt x="993" y="1008"/>
                    <a:pt x="1046" y="1061"/>
                    <a:pt x="1046" y="1084"/>
                  </a:cubicBezTo>
                  <a:cubicBezTo>
                    <a:pt x="1031" y="1084"/>
                    <a:pt x="947" y="992"/>
                    <a:pt x="939" y="985"/>
                  </a:cubicBezTo>
                  <a:cubicBezTo>
                    <a:pt x="939" y="970"/>
                    <a:pt x="939" y="931"/>
                    <a:pt x="924" y="931"/>
                  </a:cubicBezTo>
                  <a:cubicBezTo>
                    <a:pt x="909" y="931"/>
                    <a:pt x="878" y="977"/>
                    <a:pt x="871" y="992"/>
                  </a:cubicBezTo>
                  <a:cubicBezTo>
                    <a:pt x="863" y="1015"/>
                    <a:pt x="856" y="1061"/>
                    <a:pt x="856" y="1092"/>
                  </a:cubicBezTo>
                  <a:cubicBezTo>
                    <a:pt x="833" y="1099"/>
                    <a:pt x="825" y="1061"/>
                    <a:pt x="802" y="1084"/>
                  </a:cubicBezTo>
                  <a:cubicBezTo>
                    <a:pt x="787" y="1099"/>
                    <a:pt x="787" y="1107"/>
                    <a:pt x="787" y="1130"/>
                  </a:cubicBezTo>
                  <a:cubicBezTo>
                    <a:pt x="779" y="1153"/>
                    <a:pt x="771" y="1161"/>
                    <a:pt x="794" y="1176"/>
                  </a:cubicBezTo>
                  <a:cubicBezTo>
                    <a:pt x="817" y="1191"/>
                    <a:pt x="840" y="1161"/>
                    <a:pt x="856" y="1153"/>
                  </a:cubicBezTo>
                  <a:cubicBezTo>
                    <a:pt x="878" y="1145"/>
                    <a:pt x="901" y="1153"/>
                    <a:pt x="917" y="1161"/>
                  </a:cubicBezTo>
                  <a:cubicBezTo>
                    <a:pt x="932" y="1168"/>
                    <a:pt x="932" y="1168"/>
                    <a:pt x="932" y="1168"/>
                  </a:cubicBezTo>
                  <a:close/>
                  <a:moveTo>
                    <a:pt x="1436" y="2719"/>
                  </a:moveTo>
                  <a:lnTo>
                    <a:pt x="1436" y="2719"/>
                  </a:lnTo>
                  <a:cubicBezTo>
                    <a:pt x="1459" y="2681"/>
                    <a:pt x="1352" y="2627"/>
                    <a:pt x="1413" y="2574"/>
                  </a:cubicBezTo>
                  <a:cubicBezTo>
                    <a:pt x="1428" y="2566"/>
                    <a:pt x="1451" y="2566"/>
                    <a:pt x="1467" y="2558"/>
                  </a:cubicBezTo>
                  <a:cubicBezTo>
                    <a:pt x="1467" y="2551"/>
                    <a:pt x="1451" y="2528"/>
                    <a:pt x="1444" y="2520"/>
                  </a:cubicBezTo>
                  <a:cubicBezTo>
                    <a:pt x="1436" y="2512"/>
                    <a:pt x="1436" y="2489"/>
                    <a:pt x="1436" y="2482"/>
                  </a:cubicBezTo>
                  <a:cubicBezTo>
                    <a:pt x="1436" y="2444"/>
                    <a:pt x="1421" y="2413"/>
                    <a:pt x="1421" y="2367"/>
                  </a:cubicBezTo>
                  <a:cubicBezTo>
                    <a:pt x="1428" y="2360"/>
                    <a:pt x="1444" y="2337"/>
                    <a:pt x="1444" y="2329"/>
                  </a:cubicBezTo>
                  <a:cubicBezTo>
                    <a:pt x="1451" y="2314"/>
                    <a:pt x="1436" y="2306"/>
                    <a:pt x="1444" y="2291"/>
                  </a:cubicBezTo>
                  <a:cubicBezTo>
                    <a:pt x="1467" y="2260"/>
                    <a:pt x="1505" y="2268"/>
                    <a:pt x="1505" y="2222"/>
                  </a:cubicBezTo>
                  <a:cubicBezTo>
                    <a:pt x="1505" y="2199"/>
                    <a:pt x="1512" y="2176"/>
                    <a:pt x="1505" y="2153"/>
                  </a:cubicBezTo>
                  <a:cubicBezTo>
                    <a:pt x="1505" y="2131"/>
                    <a:pt x="1467" y="2123"/>
                    <a:pt x="1474" y="2100"/>
                  </a:cubicBezTo>
                  <a:cubicBezTo>
                    <a:pt x="1489" y="2062"/>
                    <a:pt x="1505" y="2054"/>
                    <a:pt x="1467" y="2024"/>
                  </a:cubicBezTo>
                  <a:cubicBezTo>
                    <a:pt x="1451" y="2008"/>
                    <a:pt x="1444" y="2008"/>
                    <a:pt x="1428" y="1985"/>
                  </a:cubicBezTo>
                  <a:cubicBezTo>
                    <a:pt x="1428" y="1970"/>
                    <a:pt x="1406" y="1955"/>
                    <a:pt x="1421" y="1940"/>
                  </a:cubicBezTo>
                  <a:cubicBezTo>
                    <a:pt x="1428" y="1924"/>
                    <a:pt x="1444" y="1917"/>
                    <a:pt x="1451" y="1901"/>
                  </a:cubicBezTo>
                  <a:cubicBezTo>
                    <a:pt x="1474" y="1863"/>
                    <a:pt x="1467" y="1917"/>
                    <a:pt x="1497" y="1932"/>
                  </a:cubicBezTo>
                  <a:cubicBezTo>
                    <a:pt x="1512" y="1932"/>
                    <a:pt x="1528" y="1909"/>
                    <a:pt x="1535" y="1901"/>
                  </a:cubicBezTo>
                  <a:cubicBezTo>
                    <a:pt x="1535" y="1863"/>
                    <a:pt x="1581" y="1871"/>
                    <a:pt x="1581" y="1856"/>
                  </a:cubicBezTo>
                  <a:cubicBezTo>
                    <a:pt x="1596" y="1817"/>
                    <a:pt x="1550" y="1833"/>
                    <a:pt x="1528" y="1810"/>
                  </a:cubicBezTo>
                  <a:cubicBezTo>
                    <a:pt x="1505" y="1787"/>
                    <a:pt x="1589" y="1733"/>
                    <a:pt x="1612" y="1733"/>
                  </a:cubicBezTo>
                  <a:cubicBezTo>
                    <a:pt x="1635" y="1733"/>
                    <a:pt x="1619" y="1695"/>
                    <a:pt x="1619" y="1680"/>
                  </a:cubicBezTo>
                  <a:cubicBezTo>
                    <a:pt x="1627" y="1649"/>
                    <a:pt x="1581" y="1672"/>
                    <a:pt x="1558" y="1665"/>
                  </a:cubicBezTo>
                  <a:cubicBezTo>
                    <a:pt x="1520" y="1649"/>
                    <a:pt x="1528" y="1642"/>
                    <a:pt x="1482" y="1642"/>
                  </a:cubicBezTo>
                  <a:cubicBezTo>
                    <a:pt x="1482" y="1626"/>
                    <a:pt x="1489" y="1596"/>
                    <a:pt x="1505" y="1588"/>
                  </a:cubicBezTo>
                  <a:cubicBezTo>
                    <a:pt x="1535" y="1581"/>
                    <a:pt x="1612" y="1611"/>
                    <a:pt x="1627" y="1565"/>
                  </a:cubicBezTo>
                  <a:cubicBezTo>
                    <a:pt x="1635" y="1542"/>
                    <a:pt x="1635" y="1489"/>
                    <a:pt x="1635" y="1466"/>
                  </a:cubicBezTo>
                  <a:cubicBezTo>
                    <a:pt x="1604" y="1466"/>
                    <a:pt x="1589" y="1474"/>
                    <a:pt x="1566" y="1497"/>
                  </a:cubicBezTo>
                  <a:cubicBezTo>
                    <a:pt x="1535" y="1535"/>
                    <a:pt x="1573" y="1458"/>
                    <a:pt x="1573" y="1451"/>
                  </a:cubicBezTo>
                  <a:cubicBezTo>
                    <a:pt x="1596" y="1420"/>
                    <a:pt x="1680" y="1298"/>
                    <a:pt x="1680" y="1275"/>
                  </a:cubicBezTo>
                  <a:cubicBezTo>
                    <a:pt x="1642" y="1275"/>
                    <a:pt x="1589" y="1351"/>
                    <a:pt x="1581" y="1382"/>
                  </a:cubicBezTo>
                  <a:cubicBezTo>
                    <a:pt x="1573" y="1413"/>
                    <a:pt x="1489" y="1512"/>
                    <a:pt x="1489" y="1420"/>
                  </a:cubicBezTo>
                  <a:cubicBezTo>
                    <a:pt x="1489" y="1367"/>
                    <a:pt x="1451" y="1390"/>
                    <a:pt x="1413" y="1374"/>
                  </a:cubicBezTo>
                  <a:cubicBezTo>
                    <a:pt x="1406" y="1374"/>
                    <a:pt x="1428" y="1336"/>
                    <a:pt x="1428" y="1328"/>
                  </a:cubicBezTo>
                  <a:cubicBezTo>
                    <a:pt x="1451" y="1306"/>
                    <a:pt x="1489" y="1245"/>
                    <a:pt x="1459" y="1222"/>
                  </a:cubicBezTo>
                  <a:cubicBezTo>
                    <a:pt x="1421" y="1199"/>
                    <a:pt x="1436" y="1184"/>
                    <a:pt x="1428" y="1153"/>
                  </a:cubicBezTo>
                  <a:cubicBezTo>
                    <a:pt x="1413" y="1092"/>
                    <a:pt x="1383" y="1145"/>
                    <a:pt x="1360" y="1168"/>
                  </a:cubicBezTo>
                  <a:cubicBezTo>
                    <a:pt x="1352" y="1184"/>
                    <a:pt x="1344" y="1168"/>
                    <a:pt x="1329" y="1168"/>
                  </a:cubicBezTo>
                  <a:cubicBezTo>
                    <a:pt x="1314" y="1168"/>
                    <a:pt x="1314" y="1199"/>
                    <a:pt x="1306" y="1206"/>
                  </a:cubicBezTo>
                  <a:cubicBezTo>
                    <a:pt x="1268" y="1252"/>
                    <a:pt x="1360" y="1260"/>
                    <a:pt x="1337" y="1283"/>
                  </a:cubicBezTo>
                  <a:cubicBezTo>
                    <a:pt x="1291" y="1321"/>
                    <a:pt x="1245" y="1275"/>
                    <a:pt x="1237" y="1367"/>
                  </a:cubicBezTo>
                  <a:cubicBezTo>
                    <a:pt x="1222" y="1420"/>
                    <a:pt x="1184" y="1489"/>
                    <a:pt x="1245" y="1527"/>
                  </a:cubicBezTo>
                  <a:cubicBezTo>
                    <a:pt x="1291" y="1558"/>
                    <a:pt x="1268" y="1542"/>
                    <a:pt x="1245" y="1565"/>
                  </a:cubicBezTo>
                  <a:cubicBezTo>
                    <a:pt x="1214" y="1596"/>
                    <a:pt x="1214" y="1642"/>
                    <a:pt x="1169" y="1672"/>
                  </a:cubicBezTo>
                  <a:cubicBezTo>
                    <a:pt x="1115" y="1703"/>
                    <a:pt x="1077" y="1634"/>
                    <a:pt x="1039" y="1634"/>
                  </a:cubicBezTo>
                  <a:cubicBezTo>
                    <a:pt x="1039" y="1649"/>
                    <a:pt x="1054" y="1695"/>
                    <a:pt x="1023" y="1703"/>
                  </a:cubicBezTo>
                  <a:cubicBezTo>
                    <a:pt x="1008" y="1703"/>
                    <a:pt x="985" y="1688"/>
                    <a:pt x="962" y="1688"/>
                  </a:cubicBezTo>
                  <a:cubicBezTo>
                    <a:pt x="947" y="1688"/>
                    <a:pt x="924" y="1733"/>
                    <a:pt x="901" y="1741"/>
                  </a:cubicBezTo>
                  <a:cubicBezTo>
                    <a:pt x="856" y="1779"/>
                    <a:pt x="833" y="1726"/>
                    <a:pt x="787" y="1718"/>
                  </a:cubicBezTo>
                  <a:cubicBezTo>
                    <a:pt x="764" y="1726"/>
                    <a:pt x="611" y="1733"/>
                    <a:pt x="672" y="1787"/>
                  </a:cubicBezTo>
                  <a:cubicBezTo>
                    <a:pt x="695" y="1810"/>
                    <a:pt x="687" y="1817"/>
                    <a:pt x="672" y="1848"/>
                  </a:cubicBezTo>
                  <a:cubicBezTo>
                    <a:pt x="664" y="1886"/>
                    <a:pt x="672" y="1947"/>
                    <a:pt x="710" y="1962"/>
                  </a:cubicBezTo>
                  <a:cubicBezTo>
                    <a:pt x="726" y="1970"/>
                    <a:pt x="749" y="1970"/>
                    <a:pt x="756" y="1985"/>
                  </a:cubicBezTo>
                  <a:cubicBezTo>
                    <a:pt x="794" y="2077"/>
                    <a:pt x="833" y="1962"/>
                    <a:pt x="856" y="2039"/>
                  </a:cubicBezTo>
                  <a:cubicBezTo>
                    <a:pt x="863" y="2070"/>
                    <a:pt x="886" y="2054"/>
                    <a:pt x="901" y="2031"/>
                  </a:cubicBezTo>
                  <a:cubicBezTo>
                    <a:pt x="917" y="2016"/>
                    <a:pt x="939" y="2001"/>
                    <a:pt x="955" y="1978"/>
                  </a:cubicBezTo>
                  <a:cubicBezTo>
                    <a:pt x="955" y="1978"/>
                    <a:pt x="955" y="1978"/>
                    <a:pt x="962" y="1978"/>
                  </a:cubicBezTo>
                  <a:cubicBezTo>
                    <a:pt x="962" y="2024"/>
                    <a:pt x="932" y="2031"/>
                    <a:pt x="901" y="2054"/>
                  </a:cubicBezTo>
                  <a:cubicBezTo>
                    <a:pt x="894" y="2070"/>
                    <a:pt x="886" y="2092"/>
                    <a:pt x="894" y="2100"/>
                  </a:cubicBezTo>
                  <a:cubicBezTo>
                    <a:pt x="901" y="2131"/>
                    <a:pt x="924" y="2115"/>
                    <a:pt x="947" y="2123"/>
                  </a:cubicBezTo>
                  <a:cubicBezTo>
                    <a:pt x="978" y="2153"/>
                    <a:pt x="955" y="2161"/>
                    <a:pt x="1001" y="2176"/>
                  </a:cubicBezTo>
                  <a:cubicBezTo>
                    <a:pt x="1008" y="2176"/>
                    <a:pt x="1046" y="2214"/>
                    <a:pt x="1046" y="2222"/>
                  </a:cubicBezTo>
                  <a:lnTo>
                    <a:pt x="1046" y="2222"/>
                  </a:lnTo>
                  <a:cubicBezTo>
                    <a:pt x="1046" y="2214"/>
                    <a:pt x="1039" y="2138"/>
                    <a:pt x="1062" y="2138"/>
                  </a:cubicBezTo>
                  <a:cubicBezTo>
                    <a:pt x="1077" y="2146"/>
                    <a:pt x="1108" y="2192"/>
                    <a:pt x="1115" y="2161"/>
                  </a:cubicBezTo>
                  <a:cubicBezTo>
                    <a:pt x="1123" y="2131"/>
                    <a:pt x="1115" y="2100"/>
                    <a:pt x="1138" y="2085"/>
                  </a:cubicBezTo>
                  <a:cubicBezTo>
                    <a:pt x="1153" y="2062"/>
                    <a:pt x="1169" y="2085"/>
                    <a:pt x="1192" y="2077"/>
                  </a:cubicBezTo>
                  <a:cubicBezTo>
                    <a:pt x="1222" y="2062"/>
                    <a:pt x="1253" y="2008"/>
                    <a:pt x="1275" y="1978"/>
                  </a:cubicBezTo>
                  <a:cubicBezTo>
                    <a:pt x="1298" y="1940"/>
                    <a:pt x="1291" y="1993"/>
                    <a:pt x="1291" y="2008"/>
                  </a:cubicBezTo>
                  <a:cubicBezTo>
                    <a:pt x="1291" y="2054"/>
                    <a:pt x="1306" y="2085"/>
                    <a:pt x="1306" y="2123"/>
                  </a:cubicBezTo>
                  <a:cubicBezTo>
                    <a:pt x="1306" y="2169"/>
                    <a:pt x="1291" y="2222"/>
                    <a:pt x="1298" y="2268"/>
                  </a:cubicBezTo>
                  <a:cubicBezTo>
                    <a:pt x="1298" y="2283"/>
                    <a:pt x="1283" y="2322"/>
                    <a:pt x="1283" y="2337"/>
                  </a:cubicBezTo>
                  <a:cubicBezTo>
                    <a:pt x="1329" y="2306"/>
                    <a:pt x="1329" y="2306"/>
                    <a:pt x="1329" y="2306"/>
                  </a:cubicBezTo>
                  <a:cubicBezTo>
                    <a:pt x="1344" y="2329"/>
                    <a:pt x="1314" y="2451"/>
                    <a:pt x="1298" y="2482"/>
                  </a:cubicBezTo>
                  <a:cubicBezTo>
                    <a:pt x="1275" y="2589"/>
                    <a:pt x="1275" y="2589"/>
                    <a:pt x="1275" y="2589"/>
                  </a:cubicBezTo>
                  <a:cubicBezTo>
                    <a:pt x="1260" y="2627"/>
                    <a:pt x="1237" y="2658"/>
                    <a:pt x="1230" y="2696"/>
                  </a:cubicBezTo>
                  <a:cubicBezTo>
                    <a:pt x="1222" y="2749"/>
                    <a:pt x="1245" y="2787"/>
                    <a:pt x="1245" y="2841"/>
                  </a:cubicBezTo>
                  <a:cubicBezTo>
                    <a:pt x="1245" y="2864"/>
                    <a:pt x="1214" y="2856"/>
                    <a:pt x="1199" y="2864"/>
                  </a:cubicBezTo>
                  <a:cubicBezTo>
                    <a:pt x="1176" y="2872"/>
                    <a:pt x="1207" y="2933"/>
                    <a:pt x="1169" y="2948"/>
                  </a:cubicBezTo>
                  <a:cubicBezTo>
                    <a:pt x="1153" y="2956"/>
                    <a:pt x="1138" y="2948"/>
                    <a:pt x="1153" y="2971"/>
                  </a:cubicBezTo>
                  <a:cubicBezTo>
                    <a:pt x="1169" y="2994"/>
                    <a:pt x="1169" y="3062"/>
                    <a:pt x="1199" y="3039"/>
                  </a:cubicBezTo>
                  <a:cubicBezTo>
                    <a:pt x="1253" y="2994"/>
                    <a:pt x="1268" y="3039"/>
                    <a:pt x="1291" y="3085"/>
                  </a:cubicBezTo>
                  <a:cubicBezTo>
                    <a:pt x="1291" y="3093"/>
                    <a:pt x="1306" y="3116"/>
                    <a:pt x="1321" y="3116"/>
                  </a:cubicBezTo>
                  <a:cubicBezTo>
                    <a:pt x="1321" y="3116"/>
                    <a:pt x="1314" y="3078"/>
                    <a:pt x="1314" y="3070"/>
                  </a:cubicBezTo>
                  <a:cubicBezTo>
                    <a:pt x="1314" y="3062"/>
                    <a:pt x="1329" y="3039"/>
                    <a:pt x="1337" y="3024"/>
                  </a:cubicBezTo>
                  <a:cubicBezTo>
                    <a:pt x="1344" y="2986"/>
                    <a:pt x="1321" y="2940"/>
                    <a:pt x="1329" y="2910"/>
                  </a:cubicBezTo>
                  <a:cubicBezTo>
                    <a:pt x="1352" y="2841"/>
                    <a:pt x="1344" y="2818"/>
                    <a:pt x="1344" y="2757"/>
                  </a:cubicBezTo>
                  <a:cubicBezTo>
                    <a:pt x="1344" y="2688"/>
                    <a:pt x="1398" y="2742"/>
                    <a:pt x="1428" y="2734"/>
                  </a:cubicBezTo>
                  <a:cubicBezTo>
                    <a:pt x="1436" y="2719"/>
                    <a:pt x="1436" y="2719"/>
                    <a:pt x="1436" y="2719"/>
                  </a:cubicBezTo>
                  <a:close/>
                  <a:moveTo>
                    <a:pt x="1581" y="2245"/>
                  </a:moveTo>
                  <a:lnTo>
                    <a:pt x="1581" y="2245"/>
                  </a:lnTo>
                  <a:cubicBezTo>
                    <a:pt x="1596" y="2222"/>
                    <a:pt x="1550" y="2176"/>
                    <a:pt x="1550" y="2146"/>
                  </a:cubicBezTo>
                  <a:cubicBezTo>
                    <a:pt x="1550" y="2138"/>
                    <a:pt x="1550" y="2108"/>
                    <a:pt x="1566" y="2115"/>
                  </a:cubicBezTo>
                  <a:cubicBezTo>
                    <a:pt x="1581" y="2131"/>
                    <a:pt x="1596" y="2146"/>
                    <a:pt x="1612" y="2146"/>
                  </a:cubicBezTo>
                  <a:cubicBezTo>
                    <a:pt x="1627" y="2146"/>
                    <a:pt x="1665" y="2100"/>
                    <a:pt x="1658" y="2146"/>
                  </a:cubicBezTo>
                  <a:cubicBezTo>
                    <a:pt x="1658" y="2184"/>
                    <a:pt x="1650" y="2184"/>
                    <a:pt x="1688" y="2192"/>
                  </a:cubicBezTo>
                  <a:cubicBezTo>
                    <a:pt x="1703" y="2199"/>
                    <a:pt x="1703" y="2214"/>
                    <a:pt x="1726" y="2214"/>
                  </a:cubicBezTo>
                  <a:cubicBezTo>
                    <a:pt x="1749" y="2214"/>
                    <a:pt x="1749" y="2214"/>
                    <a:pt x="1749" y="2237"/>
                  </a:cubicBezTo>
                  <a:cubicBezTo>
                    <a:pt x="1749" y="2253"/>
                    <a:pt x="1749" y="2283"/>
                    <a:pt x="1726" y="2268"/>
                  </a:cubicBezTo>
                  <a:cubicBezTo>
                    <a:pt x="1703" y="2245"/>
                    <a:pt x="1696" y="2199"/>
                    <a:pt x="1673" y="2245"/>
                  </a:cubicBezTo>
                  <a:cubicBezTo>
                    <a:pt x="1665" y="2268"/>
                    <a:pt x="1650" y="2283"/>
                    <a:pt x="1658" y="2306"/>
                  </a:cubicBezTo>
                  <a:cubicBezTo>
                    <a:pt x="1658" y="2337"/>
                    <a:pt x="1642" y="2390"/>
                    <a:pt x="1612" y="2345"/>
                  </a:cubicBezTo>
                  <a:cubicBezTo>
                    <a:pt x="1604" y="2329"/>
                    <a:pt x="1604" y="2314"/>
                    <a:pt x="1589" y="2306"/>
                  </a:cubicBezTo>
                  <a:cubicBezTo>
                    <a:pt x="1573" y="2299"/>
                    <a:pt x="1558" y="2283"/>
                    <a:pt x="1573" y="2260"/>
                  </a:cubicBezTo>
                  <a:cubicBezTo>
                    <a:pt x="1581" y="2245"/>
                    <a:pt x="1581" y="2245"/>
                    <a:pt x="1581" y="2245"/>
                  </a:cubicBezTo>
                  <a:close/>
                  <a:moveTo>
                    <a:pt x="1787" y="1649"/>
                  </a:moveTo>
                  <a:lnTo>
                    <a:pt x="1787" y="1649"/>
                  </a:lnTo>
                  <a:cubicBezTo>
                    <a:pt x="1772" y="1665"/>
                    <a:pt x="1742" y="1657"/>
                    <a:pt x="1726" y="1642"/>
                  </a:cubicBezTo>
                  <a:cubicBezTo>
                    <a:pt x="1711" y="1619"/>
                    <a:pt x="1742" y="1611"/>
                    <a:pt x="1742" y="1596"/>
                  </a:cubicBezTo>
                  <a:cubicBezTo>
                    <a:pt x="1749" y="1581"/>
                    <a:pt x="1757" y="1558"/>
                    <a:pt x="1764" y="1542"/>
                  </a:cubicBezTo>
                  <a:cubicBezTo>
                    <a:pt x="1780" y="1535"/>
                    <a:pt x="1787" y="1535"/>
                    <a:pt x="1803" y="1520"/>
                  </a:cubicBezTo>
                  <a:cubicBezTo>
                    <a:pt x="1810" y="1512"/>
                    <a:pt x="1818" y="1497"/>
                    <a:pt x="1825" y="1489"/>
                  </a:cubicBezTo>
                  <a:cubicBezTo>
                    <a:pt x="1833" y="1481"/>
                    <a:pt x="1841" y="1489"/>
                    <a:pt x="1848" y="1489"/>
                  </a:cubicBezTo>
                  <a:cubicBezTo>
                    <a:pt x="1864" y="1489"/>
                    <a:pt x="1871" y="1481"/>
                    <a:pt x="1879" y="1481"/>
                  </a:cubicBezTo>
                  <a:cubicBezTo>
                    <a:pt x="1910" y="1474"/>
                    <a:pt x="1917" y="1474"/>
                    <a:pt x="1894" y="1497"/>
                  </a:cubicBezTo>
                  <a:cubicBezTo>
                    <a:pt x="1879" y="1520"/>
                    <a:pt x="1856" y="1542"/>
                    <a:pt x="1841" y="1565"/>
                  </a:cubicBezTo>
                  <a:cubicBezTo>
                    <a:pt x="1825" y="1588"/>
                    <a:pt x="1810" y="1611"/>
                    <a:pt x="1795" y="1634"/>
                  </a:cubicBezTo>
                  <a:lnTo>
                    <a:pt x="1787" y="164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6" name="Freeform 198"/>
            <p:cNvSpPr>
              <a:spLocks noChangeArrowheads="1"/>
            </p:cNvSpPr>
            <p:nvPr/>
          </p:nvSpPr>
          <p:spPr bwMode="auto">
            <a:xfrm>
              <a:off x="5851144" y="2886076"/>
              <a:ext cx="631784" cy="701675"/>
            </a:xfrm>
            <a:custGeom>
              <a:avLst/>
              <a:gdLst>
                <a:gd name="T0" fmla="*/ 69 w 1757"/>
                <a:gd name="T1" fmla="*/ 1947 h 1948"/>
                <a:gd name="T2" fmla="*/ 199 w 1757"/>
                <a:gd name="T3" fmla="*/ 1932 h 1948"/>
                <a:gd name="T4" fmla="*/ 367 w 1757"/>
                <a:gd name="T5" fmla="*/ 1909 h 1948"/>
                <a:gd name="T6" fmla="*/ 580 w 1757"/>
                <a:gd name="T7" fmla="*/ 1856 h 1948"/>
                <a:gd name="T8" fmla="*/ 718 w 1757"/>
                <a:gd name="T9" fmla="*/ 1810 h 1948"/>
                <a:gd name="T10" fmla="*/ 688 w 1757"/>
                <a:gd name="T11" fmla="*/ 1626 h 1948"/>
                <a:gd name="T12" fmla="*/ 900 w 1757"/>
                <a:gd name="T13" fmla="*/ 1390 h 1948"/>
                <a:gd name="T14" fmla="*/ 1191 w 1757"/>
                <a:gd name="T15" fmla="*/ 1374 h 1948"/>
                <a:gd name="T16" fmla="*/ 1267 w 1757"/>
                <a:gd name="T17" fmla="*/ 1206 h 1948"/>
                <a:gd name="T18" fmla="*/ 1298 w 1757"/>
                <a:gd name="T19" fmla="*/ 1038 h 1948"/>
                <a:gd name="T20" fmla="*/ 1290 w 1757"/>
                <a:gd name="T21" fmla="*/ 855 h 1948"/>
                <a:gd name="T22" fmla="*/ 1259 w 1757"/>
                <a:gd name="T23" fmla="*/ 710 h 1948"/>
                <a:gd name="T24" fmla="*/ 1404 w 1757"/>
                <a:gd name="T25" fmla="*/ 603 h 1948"/>
                <a:gd name="T26" fmla="*/ 1542 w 1757"/>
                <a:gd name="T27" fmla="*/ 656 h 1948"/>
                <a:gd name="T28" fmla="*/ 1656 w 1757"/>
                <a:gd name="T29" fmla="*/ 672 h 1948"/>
                <a:gd name="T30" fmla="*/ 1756 w 1757"/>
                <a:gd name="T31" fmla="*/ 588 h 1948"/>
                <a:gd name="T32" fmla="*/ 1664 w 1757"/>
                <a:gd name="T33" fmla="*/ 573 h 1948"/>
                <a:gd name="T34" fmla="*/ 1603 w 1757"/>
                <a:gd name="T35" fmla="*/ 442 h 1948"/>
                <a:gd name="T36" fmla="*/ 1550 w 1757"/>
                <a:gd name="T37" fmla="*/ 221 h 1948"/>
                <a:gd name="T38" fmla="*/ 1534 w 1757"/>
                <a:gd name="T39" fmla="*/ 137 h 1948"/>
                <a:gd name="T40" fmla="*/ 1175 w 1757"/>
                <a:gd name="T41" fmla="*/ 183 h 1948"/>
                <a:gd name="T42" fmla="*/ 611 w 1757"/>
                <a:gd name="T43" fmla="*/ 23 h 1948"/>
                <a:gd name="T44" fmla="*/ 290 w 1757"/>
                <a:gd name="T45" fmla="*/ 213 h 1948"/>
                <a:gd name="T46" fmla="*/ 145 w 1757"/>
                <a:gd name="T47" fmla="*/ 213 h 1948"/>
                <a:gd name="T48" fmla="*/ 0 w 1757"/>
                <a:gd name="T49" fmla="*/ 252 h 1948"/>
                <a:gd name="T50" fmla="*/ 46 w 1757"/>
                <a:gd name="T51" fmla="*/ 427 h 1948"/>
                <a:gd name="T52" fmla="*/ 92 w 1757"/>
                <a:gd name="T53" fmla="*/ 595 h 1948"/>
                <a:gd name="T54" fmla="*/ 130 w 1757"/>
                <a:gd name="T55" fmla="*/ 809 h 1948"/>
                <a:gd name="T56" fmla="*/ 221 w 1757"/>
                <a:gd name="T57" fmla="*/ 909 h 1948"/>
                <a:gd name="T58" fmla="*/ 382 w 1757"/>
                <a:gd name="T59" fmla="*/ 848 h 1948"/>
                <a:gd name="T60" fmla="*/ 489 w 1757"/>
                <a:gd name="T61" fmla="*/ 893 h 1948"/>
                <a:gd name="T62" fmla="*/ 611 w 1757"/>
                <a:gd name="T63" fmla="*/ 1046 h 1948"/>
                <a:gd name="T64" fmla="*/ 451 w 1757"/>
                <a:gd name="T65" fmla="*/ 1283 h 1948"/>
                <a:gd name="T66" fmla="*/ 504 w 1757"/>
                <a:gd name="T67" fmla="*/ 1459 h 1948"/>
                <a:gd name="T68" fmla="*/ 535 w 1757"/>
                <a:gd name="T69" fmla="*/ 1573 h 1948"/>
                <a:gd name="T70" fmla="*/ 390 w 1757"/>
                <a:gd name="T71" fmla="*/ 1672 h 1948"/>
                <a:gd name="T72" fmla="*/ 275 w 1757"/>
                <a:gd name="T73" fmla="*/ 1810 h 1948"/>
                <a:gd name="T74" fmla="*/ 69 w 1757"/>
                <a:gd name="T75" fmla="*/ 1947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7" h="1948">
                  <a:moveTo>
                    <a:pt x="69" y="1947"/>
                  </a:moveTo>
                  <a:lnTo>
                    <a:pt x="69" y="1947"/>
                  </a:lnTo>
                  <a:cubicBezTo>
                    <a:pt x="107" y="1940"/>
                    <a:pt x="138" y="1917"/>
                    <a:pt x="176" y="1917"/>
                  </a:cubicBezTo>
                  <a:cubicBezTo>
                    <a:pt x="183" y="1917"/>
                    <a:pt x="191" y="1932"/>
                    <a:pt x="199" y="1932"/>
                  </a:cubicBezTo>
                  <a:cubicBezTo>
                    <a:pt x="252" y="1924"/>
                    <a:pt x="290" y="1894"/>
                    <a:pt x="336" y="1886"/>
                  </a:cubicBezTo>
                  <a:cubicBezTo>
                    <a:pt x="351" y="1886"/>
                    <a:pt x="351" y="1909"/>
                    <a:pt x="367" y="1909"/>
                  </a:cubicBezTo>
                  <a:cubicBezTo>
                    <a:pt x="405" y="1917"/>
                    <a:pt x="443" y="1909"/>
                    <a:pt x="481" y="1901"/>
                  </a:cubicBezTo>
                  <a:cubicBezTo>
                    <a:pt x="512" y="1894"/>
                    <a:pt x="542" y="1863"/>
                    <a:pt x="580" y="1856"/>
                  </a:cubicBezTo>
                  <a:cubicBezTo>
                    <a:pt x="603" y="1848"/>
                    <a:pt x="634" y="1863"/>
                    <a:pt x="657" y="1856"/>
                  </a:cubicBezTo>
                  <a:cubicBezTo>
                    <a:pt x="680" y="1848"/>
                    <a:pt x="710" y="1833"/>
                    <a:pt x="718" y="1810"/>
                  </a:cubicBezTo>
                  <a:cubicBezTo>
                    <a:pt x="733" y="1772"/>
                    <a:pt x="703" y="1734"/>
                    <a:pt x="695" y="1695"/>
                  </a:cubicBezTo>
                  <a:cubicBezTo>
                    <a:pt x="695" y="1672"/>
                    <a:pt x="672" y="1642"/>
                    <a:pt x="688" y="1626"/>
                  </a:cubicBezTo>
                  <a:cubicBezTo>
                    <a:pt x="733" y="1596"/>
                    <a:pt x="802" y="1611"/>
                    <a:pt x="839" y="1565"/>
                  </a:cubicBezTo>
                  <a:cubicBezTo>
                    <a:pt x="885" y="1520"/>
                    <a:pt x="854" y="1436"/>
                    <a:pt x="900" y="1390"/>
                  </a:cubicBezTo>
                  <a:cubicBezTo>
                    <a:pt x="946" y="1344"/>
                    <a:pt x="1023" y="1336"/>
                    <a:pt x="1084" y="1336"/>
                  </a:cubicBezTo>
                  <a:cubicBezTo>
                    <a:pt x="1122" y="1329"/>
                    <a:pt x="1160" y="1382"/>
                    <a:pt x="1191" y="1374"/>
                  </a:cubicBezTo>
                  <a:cubicBezTo>
                    <a:pt x="1229" y="1367"/>
                    <a:pt x="1244" y="1321"/>
                    <a:pt x="1267" y="1290"/>
                  </a:cubicBezTo>
                  <a:cubicBezTo>
                    <a:pt x="1267" y="1290"/>
                    <a:pt x="1267" y="1222"/>
                    <a:pt x="1267" y="1206"/>
                  </a:cubicBezTo>
                  <a:cubicBezTo>
                    <a:pt x="1267" y="1191"/>
                    <a:pt x="1267" y="1092"/>
                    <a:pt x="1267" y="1092"/>
                  </a:cubicBezTo>
                  <a:cubicBezTo>
                    <a:pt x="1275" y="1069"/>
                    <a:pt x="1305" y="1054"/>
                    <a:pt x="1298" y="1038"/>
                  </a:cubicBezTo>
                  <a:cubicBezTo>
                    <a:pt x="1275" y="1000"/>
                    <a:pt x="1191" y="1000"/>
                    <a:pt x="1191" y="954"/>
                  </a:cubicBezTo>
                  <a:cubicBezTo>
                    <a:pt x="1183" y="909"/>
                    <a:pt x="1282" y="901"/>
                    <a:pt x="1290" y="855"/>
                  </a:cubicBezTo>
                  <a:cubicBezTo>
                    <a:pt x="1290" y="825"/>
                    <a:pt x="1206" y="848"/>
                    <a:pt x="1198" y="817"/>
                  </a:cubicBezTo>
                  <a:cubicBezTo>
                    <a:pt x="1191" y="779"/>
                    <a:pt x="1229" y="740"/>
                    <a:pt x="1259" y="710"/>
                  </a:cubicBezTo>
                  <a:cubicBezTo>
                    <a:pt x="1282" y="695"/>
                    <a:pt x="1320" y="717"/>
                    <a:pt x="1343" y="702"/>
                  </a:cubicBezTo>
                  <a:cubicBezTo>
                    <a:pt x="1374" y="679"/>
                    <a:pt x="1374" y="626"/>
                    <a:pt x="1404" y="603"/>
                  </a:cubicBezTo>
                  <a:cubicBezTo>
                    <a:pt x="1427" y="588"/>
                    <a:pt x="1458" y="573"/>
                    <a:pt x="1481" y="580"/>
                  </a:cubicBezTo>
                  <a:cubicBezTo>
                    <a:pt x="1511" y="595"/>
                    <a:pt x="1511" y="641"/>
                    <a:pt x="1542" y="656"/>
                  </a:cubicBezTo>
                  <a:cubicBezTo>
                    <a:pt x="1557" y="664"/>
                    <a:pt x="1557" y="626"/>
                    <a:pt x="1565" y="626"/>
                  </a:cubicBezTo>
                  <a:cubicBezTo>
                    <a:pt x="1603" y="626"/>
                    <a:pt x="1626" y="672"/>
                    <a:pt x="1656" y="672"/>
                  </a:cubicBezTo>
                  <a:cubicBezTo>
                    <a:pt x="1687" y="672"/>
                    <a:pt x="1702" y="634"/>
                    <a:pt x="1725" y="618"/>
                  </a:cubicBezTo>
                  <a:cubicBezTo>
                    <a:pt x="1733" y="611"/>
                    <a:pt x="1756" y="603"/>
                    <a:pt x="1756" y="588"/>
                  </a:cubicBezTo>
                  <a:cubicBezTo>
                    <a:pt x="1756" y="573"/>
                    <a:pt x="1733" y="565"/>
                    <a:pt x="1717" y="565"/>
                  </a:cubicBezTo>
                  <a:cubicBezTo>
                    <a:pt x="1702" y="557"/>
                    <a:pt x="1679" y="580"/>
                    <a:pt x="1664" y="573"/>
                  </a:cubicBezTo>
                  <a:cubicBezTo>
                    <a:pt x="1641" y="565"/>
                    <a:pt x="1611" y="557"/>
                    <a:pt x="1595" y="534"/>
                  </a:cubicBezTo>
                  <a:cubicBezTo>
                    <a:pt x="1580" y="504"/>
                    <a:pt x="1618" y="473"/>
                    <a:pt x="1603" y="442"/>
                  </a:cubicBezTo>
                  <a:cubicBezTo>
                    <a:pt x="1580" y="404"/>
                    <a:pt x="1519" y="404"/>
                    <a:pt x="1511" y="366"/>
                  </a:cubicBezTo>
                  <a:cubicBezTo>
                    <a:pt x="1496" y="313"/>
                    <a:pt x="1542" y="267"/>
                    <a:pt x="1550" y="221"/>
                  </a:cubicBezTo>
                  <a:cubicBezTo>
                    <a:pt x="1550" y="175"/>
                    <a:pt x="1542" y="183"/>
                    <a:pt x="1534" y="137"/>
                  </a:cubicBezTo>
                  <a:lnTo>
                    <a:pt x="1534" y="137"/>
                  </a:lnTo>
                  <a:cubicBezTo>
                    <a:pt x="1481" y="122"/>
                    <a:pt x="1420" y="91"/>
                    <a:pt x="1374" y="91"/>
                  </a:cubicBezTo>
                  <a:cubicBezTo>
                    <a:pt x="1290" y="122"/>
                    <a:pt x="1252" y="122"/>
                    <a:pt x="1175" y="183"/>
                  </a:cubicBezTo>
                  <a:cubicBezTo>
                    <a:pt x="1114" y="229"/>
                    <a:pt x="1015" y="175"/>
                    <a:pt x="954" y="152"/>
                  </a:cubicBezTo>
                  <a:cubicBezTo>
                    <a:pt x="877" y="129"/>
                    <a:pt x="672" y="0"/>
                    <a:pt x="611" y="23"/>
                  </a:cubicBezTo>
                  <a:cubicBezTo>
                    <a:pt x="535" y="61"/>
                    <a:pt x="443" y="91"/>
                    <a:pt x="367" y="91"/>
                  </a:cubicBezTo>
                  <a:cubicBezTo>
                    <a:pt x="382" y="145"/>
                    <a:pt x="367" y="213"/>
                    <a:pt x="290" y="213"/>
                  </a:cubicBezTo>
                  <a:cubicBezTo>
                    <a:pt x="206" y="213"/>
                    <a:pt x="183" y="183"/>
                    <a:pt x="183" y="275"/>
                  </a:cubicBezTo>
                  <a:cubicBezTo>
                    <a:pt x="168" y="275"/>
                    <a:pt x="168" y="213"/>
                    <a:pt x="145" y="213"/>
                  </a:cubicBezTo>
                  <a:cubicBezTo>
                    <a:pt x="99" y="213"/>
                    <a:pt x="61" y="221"/>
                    <a:pt x="15" y="244"/>
                  </a:cubicBezTo>
                  <a:cubicBezTo>
                    <a:pt x="15" y="244"/>
                    <a:pt x="8" y="252"/>
                    <a:pt x="0" y="252"/>
                  </a:cubicBezTo>
                  <a:lnTo>
                    <a:pt x="0" y="252"/>
                  </a:lnTo>
                  <a:cubicBezTo>
                    <a:pt x="15" y="313"/>
                    <a:pt x="23" y="374"/>
                    <a:pt x="46" y="427"/>
                  </a:cubicBezTo>
                  <a:cubicBezTo>
                    <a:pt x="53" y="450"/>
                    <a:pt x="92" y="465"/>
                    <a:pt x="99" y="496"/>
                  </a:cubicBezTo>
                  <a:cubicBezTo>
                    <a:pt x="107" y="527"/>
                    <a:pt x="92" y="565"/>
                    <a:pt x="92" y="595"/>
                  </a:cubicBezTo>
                  <a:cubicBezTo>
                    <a:pt x="92" y="611"/>
                    <a:pt x="115" y="618"/>
                    <a:pt x="115" y="634"/>
                  </a:cubicBezTo>
                  <a:cubicBezTo>
                    <a:pt x="130" y="687"/>
                    <a:pt x="130" y="748"/>
                    <a:pt x="130" y="809"/>
                  </a:cubicBezTo>
                  <a:cubicBezTo>
                    <a:pt x="130" y="832"/>
                    <a:pt x="107" y="863"/>
                    <a:pt x="130" y="886"/>
                  </a:cubicBezTo>
                  <a:cubicBezTo>
                    <a:pt x="145" y="909"/>
                    <a:pt x="191" y="916"/>
                    <a:pt x="221" y="909"/>
                  </a:cubicBezTo>
                  <a:cubicBezTo>
                    <a:pt x="244" y="909"/>
                    <a:pt x="237" y="863"/>
                    <a:pt x="260" y="855"/>
                  </a:cubicBezTo>
                  <a:cubicBezTo>
                    <a:pt x="298" y="840"/>
                    <a:pt x="344" y="855"/>
                    <a:pt x="382" y="848"/>
                  </a:cubicBezTo>
                  <a:cubicBezTo>
                    <a:pt x="405" y="840"/>
                    <a:pt x="413" y="809"/>
                    <a:pt x="435" y="817"/>
                  </a:cubicBezTo>
                  <a:cubicBezTo>
                    <a:pt x="458" y="825"/>
                    <a:pt x="466" y="870"/>
                    <a:pt x="489" y="893"/>
                  </a:cubicBezTo>
                  <a:cubicBezTo>
                    <a:pt x="512" y="909"/>
                    <a:pt x="550" y="901"/>
                    <a:pt x="565" y="924"/>
                  </a:cubicBezTo>
                  <a:cubicBezTo>
                    <a:pt x="596" y="962"/>
                    <a:pt x="619" y="1000"/>
                    <a:pt x="611" y="1046"/>
                  </a:cubicBezTo>
                  <a:cubicBezTo>
                    <a:pt x="603" y="1100"/>
                    <a:pt x="550" y="1138"/>
                    <a:pt x="519" y="1184"/>
                  </a:cubicBezTo>
                  <a:cubicBezTo>
                    <a:pt x="496" y="1222"/>
                    <a:pt x="451" y="1245"/>
                    <a:pt x="451" y="1283"/>
                  </a:cubicBezTo>
                  <a:cubicBezTo>
                    <a:pt x="451" y="1313"/>
                    <a:pt x="512" y="1298"/>
                    <a:pt x="519" y="1321"/>
                  </a:cubicBezTo>
                  <a:cubicBezTo>
                    <a:pt x="535" y="1367"/>
                    <a:pt x="496" y="1420"/>
                    <a:pt x="504" y="1459"/>
                  </a:cubicBezTo>
                  <a:cubicBezTo>
                    <a:pt x="512" y="1481"/>
                    <a:pt x="550" y="1466"/>
                    <a:pt x="550" y="1481"/>
                  </a:cubicBezTo>
                  <a:cubicBezTo>
                    <a:pt x="557" y="1512"/>
                    <a:pt x="542" y="1542"/>
                    <a:pt x="535" y="1573"/>
                  </a:cubicBezTo>
                  <a:cubicBezTo>
                    <a:pt x="527" y="1596"/>
                    <a:pt x="535" y="1634"/>
                    <a:pt x="512" y="1649"/>
                  </a:cubicBezTo>
                  <a:cubicBezTo>
                    <a:pt x="481" y="1672"/>
                    <a:pt x="428" y="1642"/>
                    <a:pt x="390" y="1672"/>
                  </a:cubicBezTo>
                  <a:cubicBezTo>
                    <a:pt x="367" y="1688"/>
                    <a:pt x="382" y="1726"/>
                    <a:pt x="367" y="1749"/>
                  </a:cubicBezTo>
                  <a:cubicBezTo>
                    <a:pt x="336" y="1779"/>
                    <a:pt x="305" y="1802"/>
                    <a:pt x="275" y="1810"/>
                  </a:cubicBezTo>
                  <a:cubicBezTo>
                    <a:pt x="244" y="1825"/>
                    <a:pt x="214" y="1802"/>
                    <a:pt x="191" y="1817"/>
                  </a:cubicBezTo>
                  <a:cubicBezTo>
                    <a:pt x="145" y="1848"/>
                    <a:pt x="107" y="1901"/>
                    <a:pt x="69" y="19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F7E9BE40-DBF3-9786-D7C8-21FA4AE8D85C}"/>
              </a:ext>
            </a:extLst>
          </p:cNvPr>
          <p:cNvGrpSpPr>
            <a:grpSpLocks/>
          </p:cNvGrpSpPr>
          <p:nvPr/>
        </p:nvGrpSpPr>
        <p:grpSpPr>
          <a:xfrm>
            <a:off x="8182521" y="4803692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BCC5B307-49DD-E2EA-80BE-12DC9DC64AC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0" name="Ellipse 98">
              <a:extLst>
                <a:ext uri="{FF2B5EF4-FFF2-40B4-BE49-F238E27FC236}">
                  <a16:creationId xmlns:a16="http://schemas.microsoft.com/office/drawing/2014/main" id="{852AEF09-7379-9086-C971-B4F63251F09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12" name="Text Placeholder 15">
            <a:extLst>
              <a:ext uri="{FF2B5EF4-FFF2-40B4-BE49-F238E27FC236}">
                <a16:creationId xmlns:a16="http://schemas.microsoft.com/office/drawing/2014/main" id="{53FAF004-80C6-4607-33DE-3C37FDDB01E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213" name="Title 1">
            <a:extLst>
              <a:ext uri="{FF2B5EF4-FFF2-40B4-BE49-F238E27FC236}">
                <a16:creationId xmlns:a16="http://schemas.microsoft.com/office/drawing/2014/main" id="{EFFD6BA3-8875-4792-B4DD-9DC832739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14" name="Inhaltsplatzhalter 2">
            <a:extLst>
              <a:ext uri="{FF2B5EF4-FFF2-40B4-BE49-F238E27FC236}">
                <a16:creationId xmlns:a16="http://schemas.microsoft.com/office/drawing/2014/main" id="{FA19F683-7DAA-49F4-BF12-6883AD602938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1064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6:14:41Z</dcterms:created>
  <dcterms:modified xsi:type="dcterms:W3CDTF">2025-09-04T06:15:01Z</dcterms:modified>
</cp:coreProperties>
</file>